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heme/theme2.xml" ContentType="application/vnd.openxmlformats-officedocument.theme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comments/modernComment_7FFFCE2D_7C443B10.xml" ContentType="application/vnd.ms-powerpoint.comment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comments/modernComment_7FFFCE1E_A8CADD34.xml" ContentType="application/vnd.ms-powerpoint.comment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notesSlides/notesSlide7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slides/slide280.xml" ContentType="application/vnd.openxmlformats-officedocument.presentationml.slide+xml"/>
  <Override PartName="/ppt/slides/slide310.xml" ContentType="application/vnd.openxmlformats-officedocument.presentationml.slide+xml"/>
  <Override PartName="/ppt/slides/slide190.xml" ContentType="application/vnd.openxmlformats-officedocument.presentationml.slide+xml"/>
  <Override PartName="/ppt/slides/slide140.xml" ContentType="application/vnd.openxmlformats-officedocument.presentationml.slide+xml"/>
  <Override PartName="/ppt/slides/slide200.xml" ContentType="application/vnd.openxmlformats-officedocument.presentationml.slide+xml"/>
  <Override PartName="/ppt/slides/slide250.xml" ContentType="application/vnd.openxmlformats-officedocument.presentationml.slide+xml"/>
  <Override PartName="/ppt/slides/slide260.xml" ContentType="application/vnd.openxmlformats-officedocument.presentationml.slide+xml"/>
  <Override PartName="/ppt/slides/slide270.xml" ContentType="application/vnd.openxmlformats-officedocument.presentationml.slide+xml"/>
  <Override PartName="/ppt/slideLayouts/slideLayout330.xml" ContentType="application/vnd.openxmlformats-officedocument.presentationml.slideLayout+xml"/>
  <Override PartName="/ppt/notesSlides/notesSlide70.xml" ContentType="application/vnd.openxmlformats-officedocument.presentationml.notesSlide+xml"/>
  <Override PartName="/ppt/slideLayouts/slideLayout720.xml" ContentType="application/vnd.openxmlformats-officedocument.presentationml.slideLayout+xml"/>
  <Override PartName="/ppt/slideLayouts/slideLayout310.xml" ContentType="application/vnd.openxmlformats-officedocument.presentationml.slideLayout+xml"/>
  <Override PartName="/ppt/diagrams/layout30.xml" ContentType="application/vnd.openxmlformats-officedocument.drawingml.diagramLayout+xml"/>
  <Override PartName="/ppt/diagrams/data30.xml" ContentType="application/vnd.openxmlformats-officedocument.drawingml.diagramData+xml"/>
  <Override PartName="/ppt/diagrams/drawing30.xml" ContentType="application/vnd.ms-office.drawingml.diagramDrawing+xml"/>
  <Override PartName="/ppt/diagrams/colors30.xml" ContentType="application/vnd.openxmlformats-officedocument.drawingml.diagramColors+xml"/>
  <Override PartName="/ppt/diagrams/quickStyle30.xml" ContentType="application/vnd.openxmlformats-officedocument.drawingml.diagramStyle+xml"/>
  <Override PartName="/ppt/notesSlides/notesSlide60.xml" ContentType="application/vnd.openxmlformats-officedocument.presentationml.notesSlide+xml"/>
  <Override PartName="/ppt/diagrams/layout40.xml" ContentType="application/vnd.openxmlformats-officedocument.drawingml.diagramLayout+xml"/>
  <Override PartName="/ppt/diagrams/data40.xml" ContentType="application/vnd.openxmlformats-officedocument.drawingml.diagramData+xml"/>
  <Override PartName="/ppt/diagrams/drawing40.xml" ContentType="application/vnd.ms-office.drawingml.diagramDrawing+xml"/>
  <Override PartName="/ppt/diagrams/colors40.xml" ContentType="application/vnd.openxmlformats-officedocument.drawingml.diagramColors+xml"/>
  <Override PartName="/ppt/diagrams/quickStyle40.xml" ContentType="application/vnd.openxmlformats-officedocument.drawingml.diagramStyle+xml"/>
  <Override PartName="/ppt/diagrams/layout50.xml" ContentType="application/vnd.openxmlformats-officedocument.drawingml.diagramLayout+xml"/>
  <Override PartName="/ppt/diagrams/data50.xml" ContentType="application/vnd.openxmlformats-officedocument.drawingml.diagramData+xml"/>
  <Override PartName="/ppt/diagrams/drawing50.xml" ContentType="application/vnd.ms-office.drawingml.diagramDrawing+xml"/>
  <Override PartName="/ppt/diagrams/colors50.xml" ContentType="application/vnd.openxmlformats-officedocument.drawingml.diagramColors+xml"/>
  <Override PartName="/ppt/diagrams/quickStyle50.xml" ContentType="application/vnd.openxmlformats-officedocument.drawingml.diagramStyle+xml"/>
  <Override PartName="/ppt/slideMasters/slideMaster10.xml" ContentType="application/vnd.openxmlformats-officedocument.presentationml.slideMaster+xml"/>
  <Override PartName="/ppt/notesMasters/notesMaster10.xml" ContentType="application/vnd.openxmlformats-officedocument.presentationml.notesMaster+xml"/>
  <Override PartName="/ppt/slideMasters/slideMaster30.xml" ContentType="application/vnd.openxmlformats-officedocument.presentationml.slideMaster+xml"/>
  <Override PartName="/ppt/slideLayouts/slideLayout130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340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6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320.xml" ContentType="application/vnd.openxmlformats-officedocument.presentationml.slideLayout+xml"/>
  <Override PartName="/ppt/slideLayouts/slideLayout510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311.xml" ContentType="application/vnd.openxmlformats-officedocument.presentationml.slideLayout+xml"/>
  <Override PartName="/ppt/slideLayouts/slideLayout410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300.xml" ContentType="application/vnd.openxmlformats-officedocument.presentationml.slideLayout+xml"/>
  <Override PartName="/ppt/theme/theme10.xml" ContentType="application/vnd.openxmlformats-officedocument.theme+xml"/>
  <Override PartName="/ppt/theme/theme40.xml" ContentType="application/vnd.openxmlformats-officedocument.theme+xml"/>
  <Override PartName="/ppt/slideLayouts/slideLayout530.xml" ContentType="application/vnd.openxmlformats-officedocument.presentationml.slideLayout+xml"/>
  <Override PartName="/ppt/slideLayouts/slideLayout580.xml" ContentType="application/vnd.openxmlformats-officedocument.presentationml.slideLayout+xml"/>
  <Override PartName="/ppt/slideLayouts/slideLayout630.xml" ContentType="application/vnd.openxmlformats-officedocument.presentationml.slideLayout+xml"/>
  <Override PartName="/ppt/slideLayouts/slideLayout710.xml" ContentType="application/vnd.openxmlformats-officedocument.presentationml.slideLayout+xml"/>
  <Override PartName="/ppt/slideLayouts/slideLayout480.xml" ContentType="application/vnd.openxmlformats-officedocument.presentationml.slideLayout+xml"/>
  <Override PartName="/ppt/slideLayouts/slideLayout660.xml" ContentType="application/vnd.openxmlformats-officedocument.presentationml.slideLayout+xml"/>
  <Override PartName="/ppt/slideLayouts/slideLayout520.xml" ContentType="application/vnd.openxmlformats-officedocument.presentationml.slideLayout+xml"/>
  <Override PartName="/ppt/slideLayouts/slideLayout570.xml" ContentType="application/vnd.openxmlformats-officedocument.presentationml.slideLayout+xml"/>
  <Override PartName="/ppt/slideLayouts/slideLayout620.xml" ContentType="application/vnd.openxmlformats-officedocument.presentationml.slideLayout+xml"/>
  <Override PartName="/ppt/slideLayouts/slideLayout700.xml" ContentType="application/vnd.openxmlformats-officedocument.presentationml.slideLayout+xml"/>
  <Override PartName="/ppt/slideLayouts/slideLayout470.xml" ContentType="application/vnd.openxmlformats-officedocument.presentationml.slideLayout+xml"/>
  <Override PartName="/ppt/slideLayouts/slideLayout611.xml" ContentType="application/vnd.openxmlformats-officedocument.presentationml.slideLayout+xml"/>
  <Override PartName="/ppt/slideLayouts/slideLayout650.xml" ContentType="application/vnd.openxmlformats-officedocument.presentationml.slideLayout+xml"/>
  <Override PartName="/ppt/theme/theme30.xml" ContentType="application/vnd.openxmlformats-officedocument.theme+xml"/>
  <Override PartName="/ppt/slideLayouts/slideLayout460.xml" ContentType="application/vnd.openxmlformats-officedocument.presentationml.slideLayout+xml"/>
  <Override PartName="/ppt/slideLayouts/slideLayout511.xml" ContentType="application/vnd.openxmlformats-officedocument.presentationml.slideLayout+xml"/>
  <Override PartName="/ppt/slideLayouts/slideLayout560.xml" ContentType="application/vnd.openxmlformats-officedocument.presentationml.slideLayout+xml"/>
  <Override PartName="/ppt/slideLayouts/slideLayout690.xml" ContentType="application/vnd.openxmlformats-officedocument.presentationml.slideLayout+xml"/>
  <Override PartName="/ppt/slideLayouts/slideLayout500.xml" ContentType="application/vnd.openxmlformats-officedocument.presentationml.slideLayout+xml"/>
  <Override PartName="/ppt/slideLayouts/slideLayout600.xml" ContentType="application/vnd.openxmlformats-officedocument.presentationml.slideLayout+xml"/>
  <Override PartName="/ppt/slideLayouts/slideLayout680.xml" ContentType="application/vnd.openxmlformats-officedocument.presentationml.slideLayout+xml"/>
  <Override PartName="/ppt/slideLayouts/slideLayout730.xml" ContentType="application/vnd.openxmlformats-officedocument.presentationml.slideLayout+xml"/>
  <Override PartName="/ppt/slideLayouts/slideLayout550.xml" ContentType="application/vnd.openxmlformats-officedocument.presentationml.slideLayout+xml"/>
  <Override PartName="/ppt/slideLayouts/slideLayout640.xml" ContentType="application/vnd.openxmlformats-officedocument.presentationml.slideLayout+xml"/>
  <Override PartName="/ppt/slideLayouts/slideLayout490.xml" ContentType="application/vnd.openxmlformats-officedocument.presentationml.slideLayout+xml"/>
  <Override PartName="/ppt/slideLayouts/slideLayout540.xml" ContentType="application/vnd.openxmlformats-officedocument.presentationml.slideLayout+xml"/>
  <Override PartName="/ppt/slideLayouts/slideLayout590.xml" ContentType="application/vnd.openxmlformats-officedocument.presentationml.slideLayout+xml"/>
  <Override PartName="/ppt/slideLayouts/slideLayout670.xml" ContentType="application/vnd.openxmlformats-officedocument.presentationml.slideLayout+xml"/>
  <Override PartName="/ppt/tags/tag10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48" r:id="rId4"/>
    <p:sldMasterId id="2147483973" r:id="rId5"/>
    <p:sldMasterId id="2147483991" r:id="rId6"/>
  </p:sldMasterIdLst>
  <p:notesMasterIdLst>
    <p:notesMasterId r:id="rId38"/>
  </p:notesMasterIdLst>
  <p:handoutMasterIdLst>
    <p:handoutMasterId r:id="rId39"/>
  </p:handoutMasterIdLst>
  <p:sldIdLst>
    <p:sldId id="256" r:id="rId7"/>
    <p:sldId id="2147470905" r:id="rId8"/>
    <p:sldId id="2147470897" r:id="rId9"/>
    <p:sldId id="257" r:id="rId10"/>
    <p:sldId id="2147470894" r:id="rId11"/>
    <p:sldId id="2147470904" r:id="rId12"/>
    <p:sldId id="2147470899" r:id="rId13"/>
    <p:sldId id="886" r:id="rId14"/>
    <p:sldId id="2147470891" r:id="rId15"/>
    <p:sldId id="2147470892" r:id="rId16"/>
    <p:sldId id="2147470893" r:id="rId17"/>
    <p:sldId id="2147470902" r:id="rId18"/>
    <p:sldId id="2147470900" r:id="rId19"/>
    <p:sldId id="2147470883" r:id="rId20"/>
    <p:sldId id="2147470885" r:id="rId21"/>
    <p:sldId id="2147470886" r:id="rId22"/>
    <p:sldId id="2147470896" r:id="rId23"/>
    <p:sldId id="2147470887" r:id="rId24"/>
    <p:sldId id="2147470882" r:id="rId25"/>
    <p:sldId id="2147470876" r:id="rId26"/>
    <p:sldId id="2147470878" r:id="rId27"/>
    <p:sldId id="2147470880" r:id="rId28"/>
    <p:sldId id="2147470907" r:id="rId29"/>
    <p:sldId id="2147470895" r:id="rId30"/>
    <p:sldId id="348" r:id="rId31"/>
    <p:sldId id="2147470908" r:id="rId32"/>
    <p:sldId id="2147470909" r:id="rId33"/>
    <p:sldId id="2147470898" r:id="rId34"/>
    <p:sldId id="2147470888" r:id="rId35"/>
    <p:sldId id="2147470906" r:id="rId36"/>
    <p:sldId id="887" r:id="rId37"/>
  </p:sldIdLst>
  <p:sldSz cx="9144000" cy="5143500" type="screen16x9"/>
  <p:notesSz cx="6985000" cy="9283700"/>
  <p:embeddedFontLst>
    <p:embeddedFont>
      <p:font typeface="Calibri" panose="020F0502020204030204" pitchFamily="34" charset="0"/>
      <p:regular r:id="rId40"/>
      <p:bold r:id="rId41"/>
      <p:italic r:id="rId42"/>
      <p:boldItalic r:id="rId43"/>
    </p:embeddedFont>
    <p:embeddedFont>
      <p:font typeface="Calibri Light" panose="020F0302020204030204" pitchFamily="34" charset="0"/>
      <p:regular r:id="rId44"/>
      <p:italic r:id="rId45"/>
    </p:embeddedFont>
    <p:embeddedFont>
      <p:font typeface="Century Gothic" panose="020B0502020202020204" pitchFamily="34" charset="0"/>
      <p:regular r:id="rId46"/>
      <p:bold r:id="rId47"/>
      <p:italic r:id="rId48"/>
      <p:boldItalic r:id="rId49"/>
    </p:embeddedFont>
    <p:embeddedFont>
      <p:font typeface="fleche_rond" panose="020B0604020202020204" charset="0"/>
      <p:regular r:id="rId50"/>
      <p:bold r:id="rId51"/>
      <p:italic r:id="rId52"/>
      <p:boldItalic r:id="rId53"/>
    </p:embeddedFont>
    <p:embeddedFont>
      <p:font typeface="FontAwesome" panose="020B0604020202020204" charset="0"/>
      <p:regular r:id="rId54"/>
    </p:embeddedFont>
    <p:embeddedFont>
      <p:font typeface="Raleway" pitchFamily="2" charset="0"/>
      <p:regular r:id="rId55"/>
      <p:bold r:id="rId56"/>
      <p:italic r:id="rId57"/>
      <p:boldItalic r:id="rId58"/>
    </p:embeddedFont>
    <p:embeddedFont>
      <p:font typeface="Segoe MDL2 Assets" panose="050A0102010101010101" pitchFamily="18" charset="0"/>
      <p:regular r:id="rId59"/>
    </p:embeddedFont>
    <p:embeddedFont>
      <p:font typeface="Segoe UI" panose="020B0502040204020203" pitchFamily="34" charset="0"/>
      <p:regular r:id="rId60"/>
      <p:bold r:id="rId61"/>
      <p:italic r:id="rId62"/>
      <p:boldItalic r:id="rId63"/>
    </p:embeddedFont>
    <p:embeddedFont>
      <p:font typeface="Segoe UI Light" panose="020B0502040204020203" pitchFamily="34" charset="0"/>
      <p:regular r:id="rId64"/>
      <p:italic r:id="rId65"/>
    </p:embeddedFont>
    <p:embeddedFont>
      <p:font typeface="Segoe UI Symbol" panose="020B0502040204020203" pitchFamily="34" charset="0"/>
      <p:regular r:id="rId66"/>
    </p:embeddedFont>
    <p:embeddedFont>
      <p:font typeface="Source Sans Pro" panose="020B0503030403020204" pitchFamily="34" charset="0"/>
      <p:regular r:id="rId67"/>
      <p:bold r:id="rId68"/>
      <p:italic r:id="rId69"/>
      <p:boldItalic r:id="rId70"/>
    </p:embeddedFont>
    <p:embeddedFont>
      <p:font typeface="Source Sans Pro Black" panose="020B0803030403020204" pitchFamily="34" charset="0"/>
      <p:bold r:id="rId71"/>
      <p:boldItalic r:id="rId72"/>
    </p:embeddedFont>
  </p:embeddedFontLst>
  <p:defaultTextStyle>
    <a:defPPr>
      <a:defRPr lang="fr-FR"/>
    </a:defPPr>
    <a:lvl1pPr algn="l" defTabSz="815806" rtl="0" eaLnBrk="0" fontAlgn="base" hangingPunct="0">
      <a:spcBef>
        <a:spcPct val="0"/>
      </a:spcBef>
      <a:spcAft>
        <a:spcPct val="0"/>
      </a:spcAft>
      <a:defRPr sz="1600" kern="1200">
        <a:solidFill>
          <a:schemeClr val="tx1"/>
        </a:solidFill>
        <a:latin typeface="Calibri" pitchFamily="34" charset="0"/>
        <a:ea typeface="+mn-ea"/>
        <a:cs typeface="Arial" charset="0"/>
      </a:defRPr>
    </a:lvl1pPr>
    <a:lvl2pPr marL="406974" indent="128225" algn="l" defTabSz="815806" rtl="0" eaLnBrk="0" fontAlgn="base" hangingPunct="0">
      <a:spcBef>
        <a:spcPct val="0"/>
      </a:spcBef>
      <a:spcAft>
        <a:spcPct val="0"/>
      </a:spcAft>
      <a:defRPr sz="1600" kern="1200">
        <a:solidFill>
          <a:schemeClr val="tx1"/>
        </a:solidFill>
        <a:latin typeface="Calibri" pitchFamily="34" charset="0"/>
        <a:ea typeface="+mn-ea"/>
        <a:cs typeface="Arial" charset="0"/>
      </a:defRPr>
    </a:lvl2pPr>
    <a:lvl3pPr marL="815806" indent="254591" algn="l" defTabSz="815806" rtl="0" eaLnBrk="0" fontAlgn="base" hangingPunct="0">
      <a:spcBef>
        <a:spcPct val="0"/>
      </a:spcBef>
      <a:spcAft>
        <a:spcPct val="0"/>
      </a:spcAft>
      <a:defRPr sz="1600" kern="1200">
        <a:solidFill>
          <a:schemeClr val="tx1"/>
        </a:solidFill>
        <a:latin typeface="Calibri" pitchFamily="34" charset="0"/>
        <a:ea typeface="+mn-ea"/>
        <a:cs typeface="Arial" charset="0"/>
      </a:defRPr>
    </a:lvl3pPr>
    <a:lvl4pPr marL="1222779" indent="382815" algn="l" defTabSz="815806" rtl="0" eaLnBrk="0" fontAlgn="base" hangingPunct="0">
      <a:spcBef>
        <a:spcPct val="0"/>
      </a:spcBef>
      <a:spcAft>
        <a:spcPct val="0"/>
      </a:spcAft>
      <a:defRPr sz="1600" kern="1200">
        <a:solidFill>
          <a:schemeClr val="tx1"/>
        </a:solidFill>
        <a:latin typeface="Calibri" pitchFamily="34" charset="0"/>
        <a:ea typeface="+mn-ea"/>
        <a:cs typeface="Arial" charset="0"/>
      </a:defRPr>
    </a:lvl4pPr>
    <a:lvl5pPr marL="1631612" indent="509182" algn="l" defTabSz="815806" rtl="0" eaLnBrk="0" fontAlgn="base" hangingPunct="0">
      <a:spcBef>
        <a:spcPct val="0"/>
      </a:spcBef>
      <a:spcAft>
        <a:spcPct val="0"/>
      </a:spcAft>
      <a:defRPr sz="1600" kern="1200">
        <a:solidFill>
          <a:schemeClr val="tx1"/>
        </a:solidFill>
        <a:latin typeface="Calibri" pitchFamily="34" charset="0"/>
        <a:ea typeface="+mn-ea"/>
        <a:cs typeface="Arial" charset="0"/>
      </a:defRPr>
    </a:lvl5pPr>
    <a:lvl6pPr marL="2675992" algn="l" defTabSz="1070397" rtl="0" eaLnBrk="1" latinLnBrk="0" hangingPunct="1">
      <a:defRPr sz="1600" kern="1200">
        <a:solidFill>
          <a:schemeClr val="tx1"/>
        </a:solidFill>
        <a:latin typeface="Calibri" pitchFamily="34" charset="0"/>
        <a:ea typeface="+mn-ea"/>
        <a:cs typeface="Arial" charset="0"/>
      </a:defRPr>
    </a:lvl6pPr>
    <a:lvl7pPr marL="3211190" algn="l" defTabSz="1070397" rtl="0" eaLnBrk="1" latinLnBrk="0" hangingPunct="1">
      <a:defRPr sz="1600" kern="1200">
        <a:solidFill>
          <a:schemeClr val="tx1"/>
        </a:solidFill>
        <a:latin typeface="Calibri" pitchFamily="34" charset="0"/>
        <a:ea typeface="+mn-ea"/>
        <a:cs typeface="Arial" charset="0"/>
      </a:defRPr>
    </a:lvl7pPr>
    <a:lvl8pPr marL="3746388" algn="l" defTabSz="1070397" rtl="0" eaLnBrk="1" latinLnBrk="0" hangingPunct="1">
      <a:defRPr sz="1600" kern="1200">
        <a:solidFill>
          <a:schemeClr val="tx1"/>
        </a:solidFill>
        <a:latin typeface="Calibri" pitchFamily="34" charset="0"/>
        <a:ea typeface="+mn-ea"/>
        <a:cs typeface="Arial" charset="0"/>
      </a:defRPr>
    </a:lvl8pPr>
    <a:lvl9pPr marL="4281587" algn="l" defTabSz="1070397" rtl="0" eaLnBrk="1" latinLnBrk="0" hangingPunct="1">
      <a:defRPr sz="1600" kern="1200">
        <a:solidFill>
          <a:schemeClr val="tx1"/>
        </a:solidFill>
        <a:latin typeface="Calibri" pitchFamily="34" charset="0"/>
        <a:ea typeface="+mn-ea"/>
        <a:cs typeface="Arial" charset="0"/>
      </a:defRPr>
    </a:lvl9pPr>
  </p:defaultTextStyle>
  <p:extLst>
    <p:ext uri="{521415D9-36F7-43E2-AB2F-B90AF26B5E84}">
      <p14:sectionLst xmlns:p14="http://schemas.microsoft.com/office/powerpoint/2010/main">
        <p14:section name="Strategie" id="{4A620E02-7BD6-4D6A-91B8-631FB909B44B}">
          <p14:sldIdLst>
            <p14:sldId id="256"/>
            <p14:sldId id="2147470905"/>
            <p14:sldId id="2147470897"/>
            <p14:sldId id="257"/>
            <p14:sldId id="2147470894"/>
            <p14:sldId id="2147470904"/>
            <p14:sldId id="2147470899"/>
          </p14:sldIdLst>
        </p14:section>
        <p14:section name="Moyen et Outils" id="{DCA699FE-FF24-411D-9C63-AEAC694103DC}">
          <p14:sldIdLst>
            <p14:sldId id="886"/>
            <p14:sldId id="2147470891"/>
            <p14:sldId id="2147470892"/>
            <p14:sldId id="2147470893"/>
          </p14:sldIdLst>
        </p14:section>
        <p14:section name="Avant la fin" id="{ABF6C783-F518-4271-9B49-06F926E4E552}">
          <p14:sldIdLst>
            <p14:sldId id="2147470902"/>
          </p14:sldIdLst>
        </p14:section>
        <p14:section name="Annexes" id="{FA20DBD3-1AC7-4221-A6D7-5E2CB70BD8A5}">
          <p14:sldIdLst>
            <p14:sldId id="2147470900"/>
          </p14:sldIdLst>
        </p14:section>
        <p14:section name="Approche pour WebService" id="{5EC662EE-0F00-441C-AD16-F6CACC63C767}">
          <p14:sldIdLst>
            <p14:sldId id="2147470883"/>
            <p14:sldId id="2147470885"/>
            <p14:sldId id="2147470886"/>
            <p14:sldId id="2147470896"/>
            <p14:sldId id="2147470887"/>
          </p14:sldIdLst>
        </p14:section>
        <p14:section name="Approche pour US" id="{C3D2651F-B503-4D12-82FD-832127FCF2C0}">
          <p14:sldIdLst>
            <p14:sldId id="2147470882"/>
          </p14:sldIdLst>
        </p14:section>
        <p14:section name="Approche Parcours clés" id="{54FBC9B9-05B9-4493-BF1A-C8DE1008F4AD}">
          <p14:sldIdLst>
            <p14:sldId id="2147470876"/>
            <p14:sldId id="2147470878"/>
            <p14:sldId id="2147470880"/>
            <p14:sldId id="2147470907"/>
            <p14:sldId id="2147470895"/>
          </p14:sldIdLst>
        </p14:section>
        <p14:section name="Couverture de test" id="{42435DEA-507D-4FF1-8E58-032592772692}">
          <p14:sldIdLst>
            <p14:sldId id="348"/>
            <p14:sldId id="2147470908"/>
            <p14:sldId id="2147470909"/>
            <p14:sldId id="2147470898"/>
            <p14:sldId id="2147470888"/>
            <p14:sldId id="2147470906"/>
          </p14:sldIdLst>
        </p14:section>
        <p14:section name="Framework" id="{1F7E4F0E-9703-43FD-AA54-E58967F7F7DC}">
          <p14:sldIdLst>
            <p14:sldId id="887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1619">
          <p15:clr>
            <a:srgbClr val="A4A3A4"/>
          </p15:clr>
        </p15:guide>
        <p15:guide id="2" orient="horz" pos="180">
          <p15:clr>
            <a:srgbClr val="A4A3A4"/>
          </p15:clr>
        </p15:guide>
        <p15:guide id="3" orient="horz" pos="3107">
          <p15:clr>
            <a:srgbClr val="A4A3A4"/>
          </p15:clr>
        </p15:guide>
        <p15:guide id="4" orient="horz" pos="1247">
          <p15:clr>
            <a:srgbClr val="A4A3A4"/>
          </p15:clr>
        </p15:guide>
        <p15:guide id="5" orient="horz" pos="26">
          <p15:clr>
            <a:srgbClr val="A4A3A4"/>
          </p15:clr>
        </p15:guide>
        <p15:guide id="6" orient="horz" pos="2615">
          <p15:clr>
            <a:srgbClr val="A4A3A4"/>
          </p15:clr>
        </p15:guide>
        <p15:guide id="7" orient="horz" pos="769">
          <p15:clr>
            <a:srgbClr val="A4A3A4"/>
          </p15:clr>
        </p15:guide>
        <p15:guide id="8" orient="horz" pos="2841">
          <p15:clr>
            <a:srgbClr val="A4A3A4"/>
          </p15:clr>
        </p15:guide>
        <p15:guide id="9" pos="2879">
          <p15:clr>
            <a:srgbClr val="A4A3A4"/>
          </p15:clr>
        </p15:guide>
        <p15:guide id="10" pos="5641">
          <p15:clr>
            <a:srgbClr val="A4A3A4"/>
          </p15:clr>
        </p15:guide>
        <p15:guide id="11" pos="172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E1E55698-CA01-4E90-886A-58F98D270FF8}" name="KERMARREC Mikael" initials="KM" userId="S::mikael.kermarrec@axa.fr::3ad02e16-1fcc-4744-a780-2813e7b0010b" providerId="AD"/>
  <p188:author id="{F08212C4-0A83-0832-1E8F-EBFA78A8EC1E}" name="DOTOU-SEGLA Jean-Prince" initials="DSJP" userId="S::A180NT@login.axa::ef61a327-935a-41df-8140-b55c5fbbd926" providerId="AD"/>
  <p188:author id="{7D8AECF4-81E8-78CA-52C3-6143C61B84FD}" name="YUAN Huaxing" initials="YH" userId="S::A269OL@login.axa::680cda70-8f8f-41b8-bd50-03497d97776e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E1F4FF"/>
    <a:srgbClr val="000000"/>
    <a:srgbClr val="FFFFFF"/>
    <a:srgbClr val="CCFFFF"/>
    <a:srgbClr val="339933"/>
    <a:srgbClr val="D9D9D9"/>
    <a:srgbClr val="E196AA"/>
    <a:srgbClr val="0070C0"/>
    <a:srgbClr val="343C3D"/>
    <a:srgbClr val="9190A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8952FAEC-942D-4C4D-BC41-E1982216D151}" v="66" dt="2023-03-20T10:22:33.770"/>
    <p1510:client id="{E28C3372-29F8-4498-8732-6260B4E6B964}" v="565" dt="2023-03-13T16:54:20.590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Aucun style, aucune grille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B4B98B0-60AC-42C2-AFA5-B58CD77FA1E5}" styleName="Style léger 1 - Accentuation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72833802-FEF1-4C79-8D5D-14CF1EAF98D9}" styleName="Style léger 2 - Accentuation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62" d="100"/>
          <a:sy n="162" d="100"/>
        </p:scale>
        <p:origin x="144" y="114"/>
      </p:cViewPr>
      <p:guideLst>
        <p:guide orient="horz" pos="1619"/>
        <p:guide orient="horz" pos="180"/>
        <p:guide orient="horz" pos="3107"/>
        <p:guide orient="horz" pos="1247"/>
        <p:guide orient="horz" pos="26"/>
        <p:guide orient="horz" pos="2615"/>
        <p:guide orient="horz" pos="769"/>
        <p:guide orient="horz" pos="2841"/>
        <p:guide pos="2879"/>
        <p:guide pos="5641"/>
        <p:guide pos="172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39" Type="http://schemas.openxmlformats.org/officeDocument/2006/relationships/handoutMaster" Target="handoutMasters/handoutMaster1.xml"/><Relationship Id="rId21" Type="http://schemas.openxmlformats.org/officeDocument/2006/relationships/slide" Target="slides/slide15.xml"/><Relationship Id="rId34" Type="http://schemas.openxmlformats.org/officeDocument/2006/relationships/slide" Target="slides/slide28.xml"/><Relationship Id="rId42" Type="http://schemas.openxmlformats.org/officeDocument/2006/relationships/font" Target="fonts/font3.fntdata"/><Relationship Id="rId47" Type="http://schemas.openxmlformats.org/officeDocument/2006/relationships/font" Target="fonts/font8.fntdata"/><Relationship Id="rId50" Type="http://schemas.openxmlformats.org/officeDocument/2006/relationships/font" Target="fonts/font11.fntdata"/><Relationship Id="rId55" Type="http://schemas.openxmlformats.org/officeDocument/2006/relationships/font" Target="fonts/font16.fntdata"/><Relationship Id="rId63" Type="http://schemas.openxmlformats.org/officeDocument/2006/relationships/font" Target="fonts/font24.fntdata"/><Relationship Id="rId68" Type="http://schemas.openxmlformats.org/officeDocument/2006/relationships/font" Target="fonts/font29.fntdata"/><Relationship Id="rId76" Type="http://schemas.openxmlformats.org/officeDocument/2006/relationships/tableStyles" Target="tableStyles.xml"/><Relationship Id="rId7" Type="http://schemas.openxmlformats.org/officeDocument/2006/relationships/slide" Target="slides/slide1.xml"/><Relationship Id="rId71" Type="http://schemas.openxmlformats.org/officeDocument/2006/relationships/font" Target="fonts/font32.fntdata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9" Type="http://schemas.openxmlformats.org/officeDocument/2006/relationships/slide" Target="slides/slide23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slide" Target="slides/slide26.xml"/><Relationship Id="rId37" Type="http://schemas.openxmlformats.org/officeDocument/2006/relationships/slide" Target="slides/slide31.xml"/><Relationship Id="rId40" Type="http://schemas.openxmlformats.org/officeDocument/2006/relationships/font" Target="fonts/font1.fntdata"/><Relationship Id="rId45" Type="http://schemas.openxmlformats.org/officeDocument/2006/relationships/font" Target="fonts/font6.fntdata"/><Relationship Id="rId53" Type="http://schemas.openxmlformats.org/officeDocument/2006/relationships/font" Target="fonts/font14.fntdata"/><Relationship Id="rId58" Type="http://schemas.openxmlformats.org/officeDocument/2006/relationships/font" Target="fonts/font19.fntdata"/><Relationship Id="rId66" Type="http://schemas.openxmlformats.org/officeDocument/2006/relationships/font" Target="fonts/font27.fntdata"/><Relationship Id="rId74" Type="http://schemas.openxmlformats.org/officeDocument/2006/relationships/viewProps" Target="viewProps.xml"/><Relationship Id="rId79" Type="http://schemas.microsoft.com/office/2018/10/relationships/authors" Target="authors.xml"/><Relationship Id="rId5" Type="http://schemas.openxmlformats.org/officeDocument/2006/relationships/slideMaster" Target="slideMasters/slideMaster2.xml"/><Relationship Id="rId61" Type="http://schemas.openxmlformats.org/officeDocument/2006/relationships/font" Target="fonts/font22.fntdata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slide" Target="slides/slide25.xml"/><Relationship Id="rId44" Type="http://schemas.openxmlformats.org/officeDocument/2006/relationships/font" Target="fonts/font5.fntdata"/><Relationship Id="rId52" Type="http://schemas.openxmlformats.org/officeDocument/2006/relationships/font" Target="fonts/font13.fntdata"/><Relationship Id="rId60" Type="http://schemas.openxmlformats.org/officeDocument/2006/relationships/font" Target="fonts/font21.fntdata"/><Relationship Id="rId65" Type="http://schemas.openxmlformats.org/officeDocument/2006/relationships/font" Target="fonts/font26.fntdata"/><Relationship Id="rId73" Type="http://schemas.openxmlformats.org/officeDocument/2006/relationships/presProps" Target="presProps.xml"/><Relationship Id="rId78" Type="http://schemas.microsoft.com/office/2015/10/relationships/revisionInfo" Target="revisionInfo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slide" Target="slides/slide24.xml"/><Relationship Id="rId35" Type="http://schemas.openxmlformats.org/officeDocument/2006/relationships/slide" Target="slides/slide29.xml"/><Relationship Id="rId43" Type="http://schemas.openxmlformats.org/officeDocument/2006/relationships/font" Target="fonts/font4.fntdata"/><Relationship Id="rId48" Type="http://schemas.openxmlformats.org/officeDocument/2006/relationships/font" Target="fonts/font9.fntdata"/><Relationship Id="rId56" Type="http://schemas.openxmlformats.org/officeDocument/2006/relationships/font" Target="fonts/font17.fntdata"/><Relationship Id="rId64" Type="http://schemas.openxmlformats.org/officeDocument/2006/relationships/font" Target="fonts/font25.fntdata"/><Relationship Id="rId69" Type="http://schemas.openxmlformats.org/officeDocument/2006/relationships/font" Target="fonts/font30.fntdata"/><Relationship Id="rId77" Type="http://schemas.microsoft.com/office/2016/11/relationships/changesInfo" Target="changesInfos/changesInfo1.xml"/><Relationship Id="rId8" Type="http://schemas.openxmlformats.org/officeDocument/2006/relationships/slide" Target="slides/slide2.xml"/><Relationship Id="rId51" Type="http://schemas.openxmlformats.org/officeDocument/2006/relationships/font" Target="fonts/font12.fntdata"/><Relationship Id="rId72" Type="http://schemas.openxmlformats.org/officeDocument/2006/relationships/font" Target="fonts/font33.fntdata"/><Relationship Id="rId3" Type="http://schemas.openxmlformats.org/officeDocument/2006/relationships/customXml" Target="../customXml/item3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slide" Target="slides/slide27.xml"/><Relationship Id="rId38" Type="http://schemas.openxmlformats.org/officeDocument/2006/relationships/notesMaster" Target="notesMasters/notesMaster1.xml"/><Relationship Id="rId46" Type="http://schemas.openxmlformats.org/officeDocument/2006/relationships/font" Target="fonts/font7.fntdata"/><Relationship Id="rId59" Type="http://schemas.openxmlformats.org/officeDocument/2006/relationships/font" Target="fonts/font20.fntdata"/><Relationship Id="rId67" Type="http://schemas.openxmlformats.org/officeDocument/2006/relationships/font" Target="fonts/font28.fntdata"/><Relationship Id="rId20" Type="http://schemas.openxmlformats.org/officeDocument/2006/relationships/slide" Target="slides/slide14.xml"/><Relationship Id="rId41" Type="http://schemas.openxmlformats.org/officeDocument/2006/relationships/font" Target="fonts/font2.fntdata"/><Relationship Id="rId54" Type="http://schemas.openxmlformats.org/officeDocument/2006/relationships/font" Target="fonts/font15.fntdata"/><Relationship Id="rId62" Type="http://schemas.openxmlformats.org/officeDocument/2006/relationships/font" Target="fonts/font23.fntdata"/><Relationship Id="rId70" Type="http://schemas.openxmlformats.org/officeDocument/2006/relationships/font" Target="fonts/font31.fntdata"/><Relationship Id="rId75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36" Type="http://schemas.openxmlformats.org/officeDocument/2006/relationships/slide" Target="slides/slide30.xml"/><Relationship Id="rId49" Type="http://schemas.openxmlformats.org/officeDocument/2006/relationships/font" Target="fonts/font10.fntdata"/><Relationship Id="rId57" Type="http://schemas.openxmlformats.org/officeDocument/2006/relationships/font" Target="fonts/font18.fntdata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DOTOU-SEGLA Jean-Prince" userId="ef61a327-935a-41df-8140-b55c5fbbd926" providerId="ADAL" clId="{1A4083F6-7519-46C4-AA94-DCFFEF901315}"/>
    <pc:docChg chg="custSel addSld modSld">
      <pc:chgData name="DOTOU-SEGLA Jean-Prince" userId="ef61a327-935a-41df-8140-b55c5fbbd926" providerId="ADAL" clId="{1A4083F6-7519-46C4-AA94-DCFFEF901315}" dt="2022-09-13T09:31:30.598" v="56" actId="27636"/>
      <pc:docMkLst>
        <pc:docMk/>
      </pc:docMkLst>
      <pc:sldChg chg="modSp mod">
        <pc:chgData name="DOTOU-SEGLA Jean-Prince" userId="ef61a327-935a-41df-8140-b55c5fbbd926" providerId="ADAL" clId="{1A4083F6-7519-46C4-AA94-DCFFEF901315}" dt="2022-09-12T09:44:29.859" v="19" actId="20577"/>
        <pc:sldMkLst>
          <pc:docMk/>
          <pc:sldMk cId="0" sldId="256"/>
        </pc:sldMkLst>
        <pc:spChg chg="mod">
          <ac:chgData name="DOTOU-SEGLA Jean-Prince" userId="ef61a327-935a-41df-8140-b55c5fbbd926" providerId="ADAL" clId="{1A4083F6-7519-46C4-AA94-DCFFEF901315}" dt="2022-09-12T09:44:29.859" v="19" actId="20577"/>
          <ac:spMkLst>
            <pc:docMk/>
            <pc:sldMk cId="0" sldId="256"/>
            <ac:spMk id="8194" creationId="{00000000-0000-0000-0000-000000000000}"/>
          </ac:spMkLst>
        </pc:spChg>
      </pc:sldChg>
      <pc:sldChg chg="delSp mod delAnim">
        <pc:chgData name="DOTOU-SEGLA Jean-Prince" userId="ef61a327-935a-41df-8140-b55c5fbbd926" providerId="ADAL" clId="{1A4083F6-7519-46C4-AA94-DCFFEF901315}" dt="2022-09-13T09:29:27.513" v="50" actId="478"/>
        <pc:sldMkLst>
          <pc:docMk/>
          <pc:sldMk cId="3525188028" sldId="337"/>
        </pc:sldMkLst>
        <pc:spChg chg="del">
          <ac:chgData name="DOTOU-SEGLA Jean-Prince" userId="ef61a327-935a-41df-8140-b55c5fbbd926" providerId="ADAL" clId="{1A4083F6-7519-46C4-AA94-DCFFEF901315}" dt="2022-09-13T09:29:27.513" v="50" actId="478"/>
          <ac:spMkLst>
            <pc:docMk/>
            <pc:sldMk cId="3525188028" sldId="337"/>
            <ac:spMk id="1035" creationId="{BBE40B7C-822A-4D38-964F-9D71D38C37A1}"/>
          </ac:spMkLst>
        </pc:spChg>
      </pc:sldChg>
      <pc:sldChg chg="delSp modSp mod delAnim">
        <pc:chgData name="DOTOU-SEGLA Jean-Prince" userId="ef61a327-935a-41df-8140-b55c5fbbd926" providerId="ADAL" clId="{1A4083F6-7519-46C4-AA94-DCFFEF901315}" dt="2022-09-13T09:30:13.042" v="54" actId="478"/>
        <pc:sldMkLst>
          <pc:docMk/>
          <pc:sldMk cId="3617964995" sldId="339"/>
        </pc:sldMkLst>
        <pc:spChg chg="del mod">
          <ac:chgData name="DOTOU-SEGLA Jean-Prince" userId="ef61a327-935a-41df-8140-b55c5fbbd926" providerId="ADAL" clId="{1A4083F6-7519-46C4-AA94-DCFFEF901315}" dt="2022-09-13T09:30:13.042" v="54" actId="478"/>
          <ac:spMkLst>
            <pc:docMk/>
            <pc:sldMk cId="3617964995" sldId="339"/>
            <ac:spMk id="143" creationId="{2F0956F8-4688-43E1-AC00-21BE440D3F52}"/>
          </ac:spMkLst>
        </pc:spChg>
        <pc:spChg chg="del">
          <ac:chgData name="DOTOU-SEGLA Jean-Prince" userId="ef61a327-935a-41df-8140-b55c5fbbd926" providerId="ADAL" clId="{1A4083F6-7519-46C4-AA94-DCFFEF901315}" dt="2022-09-13T09:30:10.920" v="52" actId="478"/>
          <ac:spMkLst>
            <pc:docMk/>
            <pc:sldMk cId="3617964995" sldId="339"/>
            <ac:spMk id="144" creationId="{C7EEF7F8-314E-4DAE-96AE-591B5CADAAEB}"/>
          </ac:spMkLst>
        </pc:spChg>
        <pc:spChg chg="del">
          <ac:chgData name="DOTOU-SEGLA Jean-Prince" userId="ef61a327-935a-41df-8140-b55c5fbbd926" providerId="ADAL" clId="{1A4083F6-7519-46C4-AA94-DCFFEF901315}" dt="2022-09-13T09:30:08.288" v="51" actId="478"/>
          <ac:spMkLst>
            <pc:docMk/>
            <pc:sldMk cId="3617964995" sldId="339"/>
            <ac:spMk id="145" creationId="{C0404F38-1C03-43C7-9040-8260D7416043}"/>
          </ac:spMkLst>
        </pc:spChg>
      </pc:sldChg>
      <pc:sldChg chg="addSp modSp mod">
        <pc:chgData name="DOTOU-SEGLA Jean-Prince" userId="ef61a327-935a-41df-8140-b55c5fbbd926" providerId="ADAL" clId="{1A4083F6-7519-46C4-AA94-DCFFEF901315}" dt="2022-09-13T09:29:15.509" v="49" actId="13822"/>
        <pc:sldMkLst>
          <pc:docMk/>
          <pc:sldMk cId="772960170" sldId="380"/>
        </pc:sldMkLst>
        <pc:spChg chg="add mod">
          <ac:chgData name="DOTOU-SEGLA Jean-Prince" userId="ef61a327-935a-41df-8140-b55c5fbbd926" providerId="ADAL" clId="{1A4083F6-7519-46C4-AA94-DCFFEF901315}" dt="2022-09-13T09:29:15.509" v="49" actId="13822"/>
          <ac:spMkLst>
            <pc:docMk/>
            <pc:sldMk cId="772960170" sldId="380"/>
            <ac:spMk id="14" creationId="{CA88A466-9A82-424E-A00C-76BA54230E61}"/>
          </ac:spMkLst>
        </pc:spChg>
      </pc:sldChg>
      <pc:sldChg chg="modSp add mod">
        <pc:chgData name="DOTOU-SEGLA Jean-Prince" userId="ef61a327-935a-41df-8140-b55c5fbbd926" providerId="ADAL" clId="{1A4083F6-7519-46C4-AA94-DCFFEF901315}" dt="2022-09-13T09:31:30.598" v="56" actId="27636"/>
        <pc:sldMkLst>
          <pc:docMk/>
          <pc:sldMk cId="2624000080" sldId="2147470870"/>
        </pc:sldMkLst>
        <pc:spChg chg="mod">
          <ac:chgData name="DOTOU-SEGLA Jean-Prince" userId="ef61a327-935a-41df-8140-b55c5fbbd926" providerId="ADAL" clId="{1A4083F6-7519-46C4-AA94-DCFFEF901315}" dt="2022-09-13T09:31:30.598" v="56" actId="27636"/>
          <ac:spMkLst>
            <pc:docMk/>
            <pc:sldMk cId="2624000080" sldId="2147470870"/>
            <ac:spMk id="26" creationId="{B89F24E8-6B49-476F-B001-30800CEE6B25}"/>
          </ac:spMkLst>
        </pc:spChg>
      </pc:sldChg>
      <pc:sldChg chg="add">
        <pc:chgData name="DOTOU-SEGLA Jean-Prince" userId="ef61a327-935a-41df-8140-b55c5fbbd926" providerId="ADAL" clId="{1A4083F6-7519-46C4-AA94-DCFFEF901315}" dt="2022-09-13T09:31:30.488" v="55"/>
        <pc:sldMkLst>
          <pc:docMk/>
          <pc:sldMk cId="4255054038" sldId="2147470873"/>
        </pc:sldMkLst>
      </pc:sldChg>
      <pc:sldChg chg="add">
        <pc:chgData name="DOTOU-SEGLA Jean-Prince" userId="ef61a327-935a-41df-8140-b55c5fbbd926" providerId="ADAL" clId="{1A4083F6-7519-46C4-AA94-DCFFEF901315}" dt="2022-09-13T09:31:30.488" v="55"/>
        <pc:sldMkLst>
          <pc:docMk/>
          <pc:sldMk cId="2004348967" sldId="2147470874"/>
        </pc:sldMkLst>
      </pc:sldChg>
    </pc:docChg>
  </pc:docChgLst>
  <pc:docChgLst>
    <pc:chgData name="KERMARREC Mikael" userId="3ad02e16-1fcc-4744-a780-2813e7b0010b" providerId="ADAL" clId="{5AC922F3-F57C-444C-BBAE-11EF122D973E}"/>
    <pc:docChg chg="custSel modSld">
      <pc:chgData name="KERMARREC Mikael" userId="3ad02e16-1fcc-4744-a780-2813e7b0010b" providerId="ADAL" clId="{5AC922F3-F57C-444C-BBAE-11EF122D973E}" dt="2023-02-09T09:25:11.239" v="365" actId="20577"/>
      <pc:docMkLst>
        <pc:docMk/>
      </pc:docMkLst>
      <pc:sldChg chg="modSp mod">
        <pc:chgData name="KERMARREC Mikael" userId="3ad02e16-1fcc-4744-a780-2813e7b0010b" providerId="ADAL" clId="{5AC922F3-F57C-444C-BBAE-11EF122D973E}" dt="2023-02-09T09:24:36.281" v="358" actId="20577"/>
        <pc:sldMkLst>
          <pc:docMk/>
          <pc:sldMk cId="4255054038" sldId="2147470873"/>
        </pc:sldMkLst>
        <pc:spChg chg="mod">
          <ac:chgData name="KERMARREC Mikael" userId="3ad02e16-1fcc-4744-a780-2813e7b0010b" providerId="ADAL" clId="{5AC922F3-F57C-444C-BBAE-11EF122D973E}" dt="2023-02-09T09:24:18.059" v="351" actId="20577"/>
          <ac:spMkLst>
            <pc:docMk/>
            <pc:sldMk cId="4255054038" sldId="2147470873"/>
            <ac:spMk id="12" creationId="{26B6A31B-E339-4C0A-9166-FE8DDCB587A6}"/>
          </ac:spMkLst>
        </pc:spChg>
        <pc:spChg chg="mod">
          <ac:chgData name="KERMARREC Mikael" userId="3ad02e16-1fcc-4744-a780-2813e7b0010b" providerId="ADAL" clId="{5AC922F3-F57C-444C-BBAE-11EF122D973E}" dt="2023-02-09T09:23:50.966" v="342" actId="20577"/>
          <ac:spMkLst>
            <pc:docMk/>
            <pc:sldMk cId="4255054038" sldId="2147470873"/>
            <ac:spMk id="13" creationId="{7A64F2A4-031C-4497-9AC3-863D05335C7C}"/>
          </ac:spMkLst>
        </pc:spChg>
        <pc:spChg chg="mod">
          <ac:chgData name="KERMARREC Mikael" userId="3ad02e16-1fcc-4744-a780-2813e7b0010b" providerId="ADAL" clId="{5AC922F3-F57C-444C-BBAE-11EF122D973E}" dt="2023-02-09T09:24:36.281" v="358" actId="20577"/>
          <ac:spMkLst>
            <pc:docMk/>
            <pc:sldMk cId="4255054038" sldId="2147470873"/>
            <ac:spMk id="40" creationId="{22D9AF0C-74BE-46EA-8FD1-E1F0074DFD30}"/>
          </ac:spMkLst>
        </pc:spChg>
        <pc:graphicFrameChg chg="modGraphic">
          <ac:chgData name="KERMARREC Mikael" userId="3ad02e16-1fcc-4744-a780-2813e7b0010b" providerId="ADAL" clId="{5AC922F3-F57C-444C-BBAE-11EF122D973E}" dt="2023-02-09T09:23:34.387" v="341" actId="20577"/>
          <ac:graphicFrameMkLst>
            <pc:docMk/>
            <pc:sldMk cId="4255054038" sldId="2147470873"/>
            <ac:graphicFrameMk id="4" creationId="{C1375BA8-286D-4BD3-A31B-9DFF4D466EC6}"/>
          </ac:graphicFrameMkLst>
        </pc:graphicFrameChg>
      </pc:sldChg>
      <pc:sldChg chg="modSp mod">
        <pc:chgData name="KERMARREC Mikael" userId="3ad02e16-1fcc-4744-a780-2813e7b0010b" providerId="ADAL" clId="{5AC922F3-F57C-444C-BBAE-11EF122D973E}" dt="2023-02-09T09:18:08.812" v="218" actId="20577"/>
        <pc:sldMkLst>
          <pc:docMk/>
          <pc:sldMk cId="1728893319" sldId="2147470876"/>
        </pc:sldMkLst>
        <pc:spChg chg="mod">
          <ac:chgData name="KERMARREC Mikael" userId="3ad02e16-1fcc-4744-a780-2813e7b0010b" providerId="ADAL" clId="{5AC922F3-F57C-444C-BBAE-11EF122D973E}" dt="2023-02-09T09:18:08.812" v="218" actId="20577"/>
          <ac:spMkLst>
            <pc:docMk/>
            <pc:sldMk cId="1728893319" sldId="2147470876"/>
            <ac:spMk id="4" creationId="{608B9969-6075-4216-9F0F-2637BC8B1EFC}"/>
          </ac:spMkLst>
        </pc:spChg>
      </pc:sldChg>
      <pc:sldChg chg="modSp mod addCm">
        <pc:chgData name="KERMARREC Mikael" userId="3ad02e16-1fcc-4744-a780-2813e7b0010b" providerId="ADAL" clId="{5AC922F3-F57C-444C-BBAE-11EF122D973E}" dt="2023-02-09T09:22:31.904" v="328"/>
        <pc:sldMkLst>
          <pc:docMk/>
          <pc:sldMk cId="2831867188" sldId="2147470878"/>
        </pc:sldMkLst>
        <pc:spChg chg="mod">
          <ac:chgData name="KERMARREC Mikael" userId="3ad02e16-1fcc-4744-a780-2813e7b0010b" providerId="ADAL" clId="{5AC922F3-F57C-444C-BBAE-11EF122D973E}" dt="2023-02-09T09:21:40.407" v="327" actId="13926"/>
          <ac:spMkLst>
            <pc:docMk/>
            <pc:sldMk cId="2831867188" sldId="2147470878"/>
            <ac:spMk id="10" creationId="{3082DF56-5EEB-4571-8A6D-0247D9D1CD76}"/>
          </ac:spMkLst>
        </pc:spChg>
      </pc:sldChg>
      <pc:sldChg chg="modSp mod">
        <pc:chgData name="KERMARREC Mikael" userId="3ad02e16-1fcc-4744-a780-2813e7b0010b" providerId="ADAL" clId="{5AC922F3-F57C-444C-BBAE-11EF122D973E}" dt="2023-02-09T09:23:03.195" v="330" actId="20577"/>
        <pc:sldMkLst>
          <pc:docMk/>
          <pc:sldMk cId="3711128851" sldId="2147470880"/>
        </pc:sldMkLst>
        <pc:spChg chg="mod">
          <ac:chgData name="KERMARREC Mikael" userId="3ad02e16-1fcc-4744-a780-2813e7b0010b" providerId="ADAL" clId="{5AC922F3-F57C-444C-BBAE-11EF122D973E}" dt="2023-02-09T09:23:03.195" v="330" actId="20577"/>
          <ac:spMkLst>
            <pc:docMk/>
            <pc:sldMk cId="3711128851" sldId="2147470880"/>
            <ac:spMk id="3" creationId="{96DB8F50-9AB5-4150-9684-A33B3C0A0F12}"/>
          </ac:spMkLst>
        </pc:spChg>
      </pc:sldChg>
      <pc:sldChg chg="modSp mod">
        <pc:chgData name="KERMARREC Mikael" userId="3ad02e16-1fcc-4744-a780-2813e7b0010b" providerId="ADAL" clId="{5AC922F3-F57C-444C-BBAE-11EF122D973E}" dt="2023-02-09T09:17:02.203" v="209" actId="20577"/>
        <pc:sldMkLst>
          <pc:docMk/>
          <pc:sldMk cId="675789009" sldId="2147470882"/>
        </pc:sldMkLst>
        <pc:spChg chg="mod">
          <ac:chgData name="KERMARREC Mikael" userId="3ad02e16-1fcc-4744-a780-2813e7b0010b" providerId="ADAL" clId="{5AC922F3-F57C-444C-BBAE-11EF122D973E}" dt="2023-02-09T09:17:02.203" v="209" actId="20577"/>
          <ac:spMkLst>
            <pc:docMk/>
            <pc:sldMk cId="675789009" sldId="2147470882"/>
            <ac:spMk id="11" creationId="{94FCB41A-BFF6-4A94-B8EF-097D6FBF744F}"/>
          </ac:spMkLst>
        </pc:spChg>
      </pc:sldChg>
      <pc:sldChg chg="modSp mod">
        <pc:chgData name="KERMARREC Mikael" userId="3ad02e16-1fcc-4744-a780-2813e7b0010b" providerId="ADAL" clId="{5AC922F3-F57C-444C-BBAE-11EF122D973E}" dt="2023-02-09T08:54:56.906" v="172" actId="20577"/>
        <pc:sldMkLst>
          <pc:docMk/>
          <pc:sldMk cId="92693578" sldId="2147470883"/>
        </pc:sldMkLst>
        <pc:spChg chg="mod">
          <ac:chgData name="KERMARREC Mikael" userId="3ad02e16-1fcc-4744-a780-2813e7b0010b" providerId="ADAL" clId="{5AC922F3-F57C-444C-BBAE-11EF122D973E}" dt="2023-02-09T08:54:56.906" v="172" actId="20577"/>
          <ac:spMkLst>
            <pc:docMk/>
            <pc:sldMk cId="92693578" sldId="2147470883"/>
            <ac:spMk id="9" creationId="{DF9CCF64-6268-424C-8F5E-B436235D6302}"/>
          </ac:spMkLst>
        </pc:spChg>
      </pc:sldChg>
      <pc:sldChg chg="modSp mod">
        <pc:chgData name="KERMARREC Mikael" userId="3ad02e16-1fcc-4744-a780-2813e7b0010b" providerId="ADAL" clId="{5AC922F3-F57C-444C-BBAE-11EF122D973E}" dt="2023-02-09T09:13:21.162" v="174" actId="20577"/>
        <pc:sldMkLst>
          <pc:docMk/>
          <pc:sldMk cId="2191590700" sldId="2147470885"/>
        </pc:sldMkLst>
        <pc:spChg chg="mod">
          <ac:chgData name="KERMARREC Mikael" userId="3ad02e16-1fcc-4744-a780-2813e7b0010b" providerId="ADAL" clId="{5AC922F3-F57C-444C-BBAE-11EF122D973E}" dt="2023-02-09T09:13:06.050" v="173" actId="20577"/>
          <ac:spMkLst>
            <pc:docMk/>
            <pc:sldMk cId="2191590700" sldId="2147470885"/>
            <ac:spMk id="3" creationId="{BB0A22C4-C265-457A-A0EF-0DF8E589AEA5}"/>
          </ac:spMkLst>
        </pc:spChg>
        <pc:spChg chg="mod">
          <ac:chgData name="KERMARREC Mikael" userId="3ad02e16-1fcc-4744-a780-2813e7b0010b" providerId="ADAL" clId="{5AC922F3-F57C-444C-BBAE-11EF122D973E}" dt="2023-02-09T09:13:21.162" v="174" actId="20577"/>
          <ac:spMkLst>
            <pc:docMk/>
            <pc:sldMk cId="2191590700" sldId="2147470885"/>
            <ac:spMk id="8" creationId="{70527CA3-4EE1-409A-B9C5-D38FC31CCC66}"/>
          </ac:spMkLst>
        </pc:spChg>
      </pc:sldChg>
      <pc:sldChg chg="modSp mod">
        <pc:chgData name="KERMARREC Mikael" userId="3ad02e16-1fcc-4744-a780-2813e7b0010b" providerId="ADAL" clId="{5AC922F3-F57C-444C-BBAE-11EF122D973E}" dt="2023-02-09T09:14:24.814" v="177" actId="20577"/>
        <pc:sldMkLst>
          <pc:docMk/>
          <pc:sldMk cId="4131925369" sldId="2147470886"/>
        </pc:sldMkLst>
        <pc:spChg chg="mod">
          <ac:chgData name="KERMARREC Mikael" userId="3ad02e16-1fcc-4744-a780-2813e7b0010b" providerId="ADAL" clId="{5AC922F3-F57C-444C-BBAE-11EF122D973E}" dt="2023-02-09T09:14:24.814" v="177" actId="20577"/>
          <ac:spMkLst>
            <pc:docMk/>
            <pc:sldMk cId="4131925369" sldId="2147470886"/>
            <ac:spMk id="4" creationId="{1A53111B-216B-4CC0-B0F8-CCD904F73A2D}"/>
          </ac:spMkLst>
        </pc:spChg>
      </pc:sldChg>
      <pc:sldChg chg="modSp mod">
        <pc:chgData name="KERMARREC Mikael" userId="3ad02e16-1fcc-4744-a780-2813e7b0010b" providerId="ADAL" clId="{5AC922F3-F57C-444C-BBAE-11EF122D973E}" dt="2023-02-09T09:15:37.250" v="184" actId="20577"/>
        <pc:sldMkLst>
          <pc:docMk/>
          <pc:sldMk cId="3057778062" sldId="2147470887"/>
        </pc:sldMkLst>
        <pc:spChg chg="mod">
          <ac:chgData name="KERMARREC Mikael" userId="3ad02e16-1fcc-4744-a780-2813e7b0010b" providerId="ADAL" clId="{5AC922F3-F57C-444C-BBAE-11EF122D973E}" dt="2023-02-09T09:15:37.250" v="184" actId="20577"/>
          <ac:spMkLst>
            <pc:docMk/>
            <pc:sldMk cId="3057778062" sldId="2147470887"/>
            <ac:spMk id="4" creationId="{4E4A9147-04B7-4744-BD77-A41EFA0C8DA8}"/>
          </ac:spMkLst>
        </pc:spChg>
      </pc:sldChg>
      <pc:sldChg chg="modSp mod">
        <pc:chgData name="KERMARREC Mikael" userId="3ad02e16-1fcc-4744-a780-2813e7b0010b" providerId="ADAL" clId="{5AC922F3-F57C-444C-BBAE-11EF122D973E}" dt="2023-02-09T08:27:29.810" v="115" actId="20577"/>
        <pc:sldMkLst>
          <pc:docMk/>
          <pc:sldMk cId="546259168" sldId="2147470891"/>
        </pc:sldMkLst>
        <pc:spChg chg="mod">
          <ac:chgData name="KERMARREC Mikael" userId="3ad02e16-1fcc-4744-a780-2813e7b0010b" providerId="ADAL" clId="{5AC922F3-F57C-444C-BBAE-11EF122D973E}" dt="2023-02-09T08:27:29.810" v="115" actId="20577"/>
          <ac:spMkLst>
            <pc:docMk/>
            <pc:sldMk cId="546259168" sldId="2147470891"/>
            <ac:spMk id="7" creationId="{217BE8D9-FBB0-497B-8E6A-2E7B471CB760}"/>
          </ac:spMkLst>
        </pc:spChg>
      </pc:sldChg>
      <pc:sldChg chg="modSp mod">
        <pc:chgData name="KERMARREC Mikael" userId="3ad02e16-1fcc-4744-a780-2813e7b0010b" providerId="ADAL" clId="{5AC922F3-F57C-444C-BBAE-11EF122D973E}" dt="2023-02-09T08:31:29.722" v="149" actId="20577"/>
        <pc:sldMkLst>
          <pc:docMk/>
          <pc:sldMk cId="2084846352" sldId="2147470893"/>
        </pc:sldMkLst>
        <pc:graphicFrameChg chg="modGraphic">
          <ac:chgData name="KERMARREC Mikael" userId="3ad02e16-1fcc-4744-a780-2813e7b0010b" providerId="ADAL" clId="{5AC922F3-F57C-444C-BBAE-11EF122D973E}" dt="2023-02-09T08:31:29.722" v="149" actId="20577"/>
          <ac:graphicFrameMkLst>
            <pc:docMk/>
            <pc:sldMk cId="2084846352" sldId="2147470893"/>
            <ac:graphicFrameMk id="7" creationId="{4ECCEC33-3996-458E-AA0F-54A813E68776}"/>
          </ac:graphicFrameMkLst>
        </pc:graphicFrameChg>
      </pc:sldChg>
      <pc:sldChg chg="modSp mod">
        <pc:chgData name="KERMARREC Mikael" userId="3ad02e16-1fcc-4744-a780-2813e7b0010b" providerId="ADAL" clId="{5AC922F3-F57C-444C-BBAE-11EF122D973E}" dt="2023-02-09T09:25:11.239" v="365" actId="20577"/>
        <pc:sldMkLst>
          <pc:docMk/>
          <pc:sldMk cId="255253220" sldId="2147470895"/>
        </pc:sldMkLst>
        <pc:spChg chg="mod">
          <ac:chgData name="KERMARREC Mikael" userId="3ad02e16-1fcc-4744-a780-2813e7b0010b" providerId="ADAL" clId="{5AC922F3-F57C-444C-BBAE-11EF122D973E}" dt="2023-02-09T09:25:11.239" v="365" actId="20577"/>
          <ac:spMkLst>
            <pc:docMk/>
            <pc:sldMk cId="255253220" sldId="2147470895"/>
            <ac:spMk id="6" creationId="{0B4E6087-6C78-4F86-9509-A6A29E0621DA}"/>
          </ac:spMkLst>
        </pc:spChg>
      </pc:sldChg>
      <pc:sldChg chg="modSp mod">
        <pc:chgData name="KERMARREC Mikael" userId="3ad02e16-1fcc-4744-a780-2813e7b0010b" providerId="ADAL" clId="{5AC922F3-F57C-444C-BBAE-11EF122D973E}" dt="2023-02-09T08:24:46.452" v="105" actId="20577"/>
        <pc:sldMkLst>
          <pc:docMk/>
          <pc:sldMk cId="480180273" sldId="2147470897"/>
        </pc:sldMkLst>
        <pc:spChg chg="mod">
          <ac:chgData name="KERMARREC Mikael" userId="3ad02e16-1fcc-4744-a780-2813e7b0010b" providerId="ADAL" clId="{5AC922F3-F57C-444C-BBAE-11EF122D973E}" dt="2023-02-09T08:24:46.452" v="105" actId="20577"/>
          <ac:spMkLst>
            <pc:docMk/>
            <pc:sldMk cId="480180273" sldId="2147470897"/>
            <ac:spMk id="4" creationId="{C18DFA26-10F8-4880-803A-29697DD48185}"/>
          </ac:spMkLst>
        </pc:spChg>
      </pc:sldChg>
      <pc:sldChg chg="modSp">
        <pc:chgData name="KERMARREC Mikael" userId="3ad02e16-1fcc-4744-a780-2813e7b0010b" providerId="ADAL" clId="{5AC922F3-F57C-444C-BBAE-11EF122D973E}" dt="2023-02-09T08:22:59.727" v="31" actId="20577"/>
        <pc:sldMkLst>
          <pc:docMk/>
          <pc:sldMk cId="2619532644" sldId="2147470899"/>
        </pc:sldMkLst>
        <pc:graphicFrameChg chg="mod">
          <ac:chgData name="KERMARREC Mikael" userId="3ad02e16-1fcc-4744-a780-2813e7b0010b" providerId="ADAL" clId="{5AC922F3-F57C-444C-BBAE-11EF122D973E}" dt="2023-02-09T08:22:59.727" v="31" actId="20577"/>
          <ac:graphicFrameMkLst>
            <pc:docMk/>
            <pc:sldMk cId="2619532644" sldId="2147470899"/>
            <ac:graphicFrameMk id="13" creationId="{C555C755-2037-4351-FF6F-3F121DA259FD}"/>
          </ac:graphicFrameMkLst>
        </pc:graphicFrameChg>
      </pc:sldChg>
      <pc:sldChg chg="modSp mod">
        <pc:chgData name="KERMARREC Mikael" userId="3ad02e16-1fcc-4744-a780-2813e7b0010b" providerId="ADAL" clId="{5AC922F3-F57C-444C-BBAE-11EF122D973E}" dt="2023-02-09T08:26:04.742" v="108" actId="20577"/>
        <pc:sldMkLst>
          <pc:docMk/>
          <pc:sldMk cId="1782460719" sldId="2147470904"/>
        </pc:sldMkLst>
        <pc:spChg chg="mod">
          <ac:chgData name="KERMARREC Mikael" userId="3ad02e16-1fcc-4744-a780-2813e7b0010b" providerId="ADAL" clId="{5AC922F3-F57C-444C-BBAE-11EF122D973E}" dt="2023-02-09T08:26:04.742" v="108" actId="20577"/>
          <ac:spMkLst>
            <pc:docMk/>
            <pc:sldMk cId="1782460719" sldId="2147470904"/>
            <ac:spMk id="8" creationId="{3EAD7FAE-813A-4E33-AE06-A5D3D8E3548B}"/>
          </ac:spMkLst>
        </pc:spChg>
      </pc:sldChg>
    </pc:docChg>
  </pc:docChgLst>
  <pc:docChgLst>
    <pc:chgData name="DOTOU-SEGLA Jean-Prince" userId="ef61a327-935a-41df-8140-b55c5fbbd926" providerId="ADAL" clId="{E28C3372-29F8-4498-8732-6260B4E6B964}"/>
    <pc:docChg chg="undo redo custSel addSld delSld modSld sldOrd addSection modSection">
      <pc:chgData name="DOTOU-SEGLA Jean-Prince" userId="ef61a327-935a-41df-8140-b55c5fbbd926" providerId="ADAL" clId="{E28C3372-29F8-4498-8732-6260B4E6B964}" dt="2023-03-13T09:30:51.173" v="2916"/>
      <pc:docMkLst>
        <pc:docMk/>
      </pc:docMkLst>
      <pc:sldChg chg="ord">
        <pc:chgData name="DOTOU-SEGLA Jean-Prince" userId="ef61a327-935a-41df-8140-b55c5fbbd926" providerId="ADAL" clId="{E28C3372-29F8-4498-8732-6260B4E6B964}" dt="2023-03-13T09:30:51.173" v="2916"/>
        <pc:sldMkLst>
          <pc:docMk/>
          <pc:sldMk cId="1835188423" sldId="257"/>
        </pc:sldMkLst>
      </pc:sldChg>
      <pc:sldChg chg="add del">
        <pc:chgData name="DOTOU-SEGLA Jean-Prince" userId="ef61a327-935a-41df-8140-b55c5fbbd926" providerId="ADAL" clId="{E28C3372-29F8-4498-8732-6260B4E6B964}" dt="2023-02-09T09:33:34.320" v="692" actId="47"/>
        <pc:sldMkLst>
          <pc:docMk/>
          <pc:sldMk cId="762953631" sldId="279"/>
        </pc:sldMkLst>
      </pc:sldChg>
      <pc:sldChg chg="addSp delSp modSp add del mod ord">
        <pc:chgData name="DOTOU-SEGLA Jean-Prince" userId="ef61a327-935a-41df-8140-b55c5fbbd926" providerId="ADAL" clId="{E28C3372-29F8-4498-8732-6260B4E6B964}" dt="2023-02-14T13:50:20.475" v="2051" actId="47"/>
        <pc:sldMkLst>
          <pc:docMk/>
          <pc:sldMk cId="2354743697" sldId="488"/>
        </pc:sldMkLst>
        <pc:spChg chg="add del mod">
          <ac:chgData name="DOTOU-SEGLA Jean-Prince" userId="ef61a327-935a-41df-8140-b55c5fbbd926" providerId="ADAL" clId="{E28C3372-29F8-4498-8732-6260B4E6B964}" dt="2023-02-14T13:09:02.764" v="1346" actId="478"/>
          <ac:spMkLst>
            <pc:docMk/>
            <pc:sldMk cId="2354743697" sldId="488"/>
            <ac:spMk id="5" creationId="{60E216EE-9E62-4E3D-E740-005A9F759EAE}"/>
          </ac:spMkLst>
        </pc:spChg>
        <pc:spChg chg="del">
          <ac:chgData name="DOTOU-SEGLA Jean-Prince" userId="ef61a327-935a-41df-8140-b55c5fbbd926" providerId="ADAL" clId="{E28C3372-29F8-4498-8732-6260B4E6B964}" dt="2023-02-14T13:09:00.603" v="1345" actId="478"/>
          <ac:spMkLst>
            <pc:docMk/>
            <pc:sldMk cId="2354743697" sldId="488"/>
            <ac:spMk id="11" creationId="{4A395630-30E2-4E80-A90F-C3D1BB6BAFD8}"/>
          </ac:spMkLst>
        </pc:spChg>
        <pc:grpChg chg="del">
          <ac:chgData name="DOTOU-SEGLA Jean-Prince" userId="ef61a327-935a-41df-8140-b55c5fbbd926" providerId="ADAL" clId="{E28C3372-29F8-4498-8732-6260B4E6B964}" dt="2023-02-14T13:02:10.436" v="1324" actId="478"/>
          <ac:grpSpMkLst>
            <pc:docMk/>
            <pc:sldMk cId="2354743697" sldId="488"/>
            <ac:grpSpMk id="24" creationId="{02F6FCBC-9B83-4991-83D4-5DE8C36781A2}"/>
          </ac:grpSpMkLst>
        </pc:grpChg>
        <pc:grpChg chg="add del mod">
          <ac:chgData name="DOTOU-SEGLA Jean-Prince" userId="ef61a327-935a-41df-8140-b55c5fbbd926" providerId="ADAL" clId="{E28C3372-29F8-4498-8732-6260B4E6B964}" dt="2023-02-14T13:09:13.234" v="1348" actId="14100"/>
          <ac:grpSpMkLst>
            <pc:docMk/>
            <pc:sldMk cId="2354743697" sldId="488"/>
            <ac:grpSpMk id="25" creationId="{EA4D9CC0-3179-4077-8311-43CDB06EE91D}"/>
          </ac:grpSpMkLst>
        </pc:grpChg>
        <pc:graphicFrameChg chg="add del mod">
          <ac:chgData name="DOTOU-SEGLA Jean-Prince" userId="ef61a327-935a-41df-8140-b55c5fbbd926" providerId="ADAL" clId="{E28C3372-29F8-4498-8732-6260B4E6B964}" dt="2023-02-14T13:07:28.951" v="1335"/>
          <ac:graphicFrameMkLst>
            <pc:docMk/>
            <pc:sldMk cId="2354743697" sldId="488"/>
            <ac:graphicFrameMk id="2" creationId="{64A2F768-C239-6D9A-A599-B6CF2632384F}"/>
          </ac:graphicFrameMkLst>
        </pc:graphicFrameChg>
        <pc:picChg chg="add del mod">
          <ac:chgData name="DOTOU-SEGLA Jean-Prince" userId="ef61a327-935a-41df-8140-b55c5fbbd926" providerId="ADAL" clId="{E28C3372-29F8-4498-8732-6260B4E6B964}" dt="2023-02-14T13:08:40.698" v="1343"/>
          <ac:picMkLst>
            <pc:docMk/>
            <pc:sldMk cId="2354743697" sldId="488"/>
            <ac:picMk id="3" creationId="{EE822AD2-6300-EAC7-B540-ED0149024831}"/>
          </ac:picMkLst>
        </pc:picChg>
      </pc:sldChg>
      <pc:sldChg chg="addSp delSp modSp add del mod ord modAnim modShow">
        <pc:chgData name="DOTOU-SEGLA Jean-Prince" userId="ef61a327-935a-41df-8140-b55c5fbbd926" providerId="ADAL" clId="{E28C3372-29F8-4498-8732-6260B4E6B964}" dt="2023-02-14T14:26:24.261" v="2129" actId="2085"/>
        <pc:sldMkLst>
          <pc:docMk/>
          <pc:sldMk cId="1835106721" sldId="887"/>
        </pc:sldMkLst>
        <pc:spChg chg="add mod">
          <ac:chgData name="DOTOU-SEGLA Jean-Prince" userId="ef61a327-935a-41df-8140-b55c5fbbd926" providerId="ADAL" clId="{E28C3372-29F8-4498-8732-6260B4E6B964}" dt="2023-02-14T14:26:06.007" v="2128" actId="403"/>
          <ac:spMkLst>
            <pc:docMk/>
            <pc:sldMk cId="1835106721" sldId="887"/>
            <ac:spMk id="2" creationId="{039BC078-81C8-0381-9405-BACC9356E340}"/>
          </ac:spMkLst>
        </pc:spChg>
        <pc:spChg chg="add del mod">
          <ac:chgData name="DOTOU-SEGLA Jean-Prince" userId="ef61a327-935a-41df-8140-b55c5fbbd926" providerId="ADAL" clId="{E28C3372-29F8-4498-8732-6260B4E6B964}" dt="2023-02-09T09:56:36.440" v="1120" actId="478"/>
          <ac:spMkLst>
            <pc:docMk/>
            <pc:sldMk cId="1835106721" sldId="887"/>
            <ac:spMk id="3" creationId="{3ED3DCB5-5B10-CDCC-636D-9890743DD481}"/>
          </ac:spMkLst>
        </pc:spChg>
        <pc:spChg chg="del">
          <ac:chgData name="DOTOU-SEGLA Jean-Prince" userId="ef61a327-935a-41df-8140-b55c5fbbd926" providerId="ADAL" clId="{E28C3372-29F8-4498-8732-6260B4E6B964}" dt="2023-02-09T09:57:47.928" v="1132" actId="478"/>
          <ac:spMkLst>
            <pc:docMk/>
            <pc:sldMk cId="1835106721" sldId="887"/>
            <ac:spMk id="4" creationId="{00000000-0000-0000-0000-000000000000}"/>
          </ac:spMkLst>
        </pc:spChg>
        <pc:spChg chg="del mod">
          <ac:chgData name="DOTOU-SEGLA Jean-Prince" userId="ef61a327-935a-41df-8140-b55c5fbbd926" providerId="ADAL" clId="{E28C3372-29F8-4498-8732-6260B4E6B964}" dt="2023-02-09T09:56:33.074" v="1118" actId="478"/>
          <ac:spMkLst>
            <pc:docMk/>
            <pc:sldMk cId="1835106721" sldId="887"/>
            <ac:spMk id="5" creationId="{00000000-0000-0000-0000-000000000000}"/>
          </ac:spMkLst>
        </pc:spChg>
        <pc:spChg chg="del mod">
          <ac:chgData name="DOTOU-SEGLA Jean-Prince" userId="ef61a327-935a-41df-8140-b55c5fbbd926" providerId="ADAL" clId="{E28C3372-29F8-4498-8732-6260B4E6B964}" dt="2023-02-09T09:56:35.009" v="1119" actId="478"/>
          <ac:spMkLst>
            <pc:docMk/>
            <pc:sldMk cId="1835106721" sldId="887"/>
            <ac:spMk id="7" creationId="{00000000-0000-0000-0000-000000000000}"/>
          </ac:spMkLst>
        </pc:spChg>
        <pc:spChg chg="mod">
          <ac:chgData name="DOTOU-SEGLA Jean-Prince" userId="ef61a327-935a-41df-8140-b55c5fbbd926" providerId="ADAL" clId="{E28C3372-29F8-4498-8732-6260B4E6B964}" dt="2023-02-09T09:59:40.360" v="1139" actId="165"/>
          <ac:spMkLst>
            <pc:docMk/>
            <pc:sldMk cId="1835106721" sldId="887"/>
            <ac:spMk id="9" creationId="{00000000-0000-0000-0000-000000000000}"/>
          </ac:spMkLst>
        </pc:spChg>
        <pc:spChg chg="mod">
          <ac:chgData name="DOTOU-SEGLA Jean-Prince" userId="ef61a327-935a-41df-8140-b55c5fbbd926" providerId="ADAL" clId="{E28C3372-29F8-4498-8732-6260B4E6B964}" dt="2023-02-09T09:59:40.360" v="1139" actId="165"/>
          <ac:spMkLst>
            <pc:docMk/>
            <pc:sldMk cId="1835106721" sldId="887"/>
            <ac:spMk id="10" creationId="{00000000-0000-0000-0000-000000000000}"/>
          </ac:spMkLst>
        </pc:spChg>
        <pc:spChg chg="mod">
          <ac:chgData name="DOTOU-SEGLA Jean-Prince" userId="ef61a327-935a-41df-8140-b55c5fbbd926" providerId="ADAL" clId="{E28C3372-29F8-4498-8732-6260B4E6B964}" dt="2023-02-09T09:59:40.360" v="1139" actId="165"/>
          <ac:spMkLst>
            <pc:docMk/>
            <pc:sldMk cId="1835106721" sldId="887"/>
            <ac:spMk id="11" creationId="{00000000-0000-0000-0000-000000000000}"/>
          </ac:spMkLst>
        </pc:spChg>
        <pc:spChg chg="mod">
          <ac:chgData name="DOTOU-SEGLA Jean-Prince" userId="ef61a327-935a-41df-8140-b55c5fbbd926" providerId="ADAL" clId="{E28C3372-29F8-4498-8732-6260B4E6B964}" dt="2023-02-09T09:59:40.360" v="1139" actId="165"/>
          <ac:spMkLst>
            <pc:docMk/>
            <pc:sldMk cId="1835106721" sldId="887"/>
            <ac:spMk id="21" creationId="{00000000-0000-0000-0000-000000000000}"/>
          </ac:spMkLst>
        </pc:spChg>
        <pc:spChg chg="mod topLvl">
          <ac:chgData name="DOTOU-SEGLA Jean-Prince" userId="ef61a327-935a-41df-8140-b55c5fbbd926" providerId="ADAL" clId="{E28C3372-29F8-4498-8732-6260B4E6B964}" dt="2023-02-09T09:59:40.360" v="1139" actId="165"/>
          <ac:spMkLst>
            <pc:docMk/>
            <pc:sldMk cId="1835106721" sldId="887"/>
            <ac:spMk id="22" creationId="{BC88CEC1-A6FE-4804-B20E-0F4CEC704419}"/>
          </ac:spMkLst>
        </pc:spChg>
        <pc:spChg chg="mod topLvl">
          <ac:chgData name="DOTOU-SEGLA Jean-Prince" userId="ef61a327-935a-41df-8140-b55c5fbbd926" providerId="ADAL" clId="{E28C3372-29F8-4498-8732-6260B4E6B964}" dt="2023-02-09T09:59:40.360" v="1139" actId="165"/>
          <ac:spMkLst>
            <pc:docMk/>
            <pc:sldMk cId="1835106721" sldId="887"/>
            <ac:spMk id="24" creationId="{255C7B3D-3955-4691-A5B2-45A4FF78550F}"/>
          </ac:spMkLst>
        </pc:spChg>
        <pc:spChg chg="mod topLvl">
          <ac:chgData name="DOTOU-SEGLA Jean-Prince" userId="ef61a327-935a-41df-8140-b55c5fbbd926" providerId="ADAL" clId="{E28C3372-29F8-4498-8732-6260B4E6B964}" dt="2023-02-09T09:59:40.360" v="1139" actId="165"/>
          <ac:spMkLst>
            <pc:docMk/>
            <pc:sldMk cId="1835106721" sldId="887"/>
            <ac:spMk id="25" creationId="{045E6862-F740-46CF-9052-28E961D14841}"/>
          </ac:spMkLst>
        </pc:spChg>
        <pc:spChg chg="mod topLvl">
          <ac:chgData name="DOTOU-SEGLA Jean-Prince" userId="ef61a327-935a-41df-8140-b55c5fbbd926" providerId="ADAL" clId="{E28C3372-29F8-4498-8732-6260B4E6B964}" dt="2023-02-09T09:59:40.360" v="1139" actId="165"/>
          <ac:spMkLst>
            <pc:docMk/>
            <pc:sldMk cId="1835106721" sldId="887"/>
            <ac:spMk id="26" creationId="{AEBE766B-34A2-4D68-B8FD-F164648F6038}"/>
          </ac:spMkLst>
        </pc:spChg>
        <pc:spChg chg="mod topLvl">
          <ac:chgData name="DOTOU-SEGLA Jean-Prince" userId="ef61a327-935a-41df-8140-b55c5fbbd926" providerId="ADAL" clId="{E28C3372-29F8-4498-8732-6260B4E6B964}" dt="2023-02-09T10:02:32.916" v="1184" actId="179"/>
          <ac:spMkLst>
            <pc:docMk/>
            <pc:sldMk cId="1835106721" sldId="887"/>
            <ac:spMk id="29" creationId="{3BC69B21-9673-4402-A996-9C79CE40E058}"/>
          </ac:spMkLst>
        </pc:spChg>
        <pc:spChg chg="mod topLvl">
          <ac:chgData name="DOTOU-SEGLA Jean-Prince" userId="ef61a327-935a-41df-8140-b55c5fbbd926" providerId="ADAL" clId="{E28C3372-29F8-4498-8732-6260B4E6B964}" dt="2023-02-09T10:03:00.892" v="1189" actId="179"/>
          <ac:spMkLst>
            <pc:docMk/>
            <pc:sldMk cId="1835106721" sldId="887"/>
            <ac:spMk id="30" creationId="{FE216A78-E7D2-46C7-8033-E087F306E12D}"/>
          </ac:spMkLst>
        </pc:spChg>
        <pc:spChg chg="mod topLvl">
          <ac:chgData name="DOTOU-SEGLA Jean-Prince" userId="ef61a327-935a-41df-8140-b55c5fbbd926" providerId="ADAL" clId="{E28C3372-29F8-4498-8732-6260B4E6B964}" dt="2023-02-09T09:59:58.731" v="1149" actId="165"/>
          <ac:spMkLst>
            <pc:docMk/>
            <pc:sldMk cId="1835106721" sldId="887"/>
            <ac:spMk id="31" creationId="{22878E13-E2D8-4802-AC6A-E2AA1240EAD1}"/>
          </ac:spMkLst>
        </pc:spChg>
        <pc:spChg chg="mod topLvl">
          <ac:chgData name="DOTOU-SEGLA Jean-Prince" userId="ef61a327-935a-41df-8140-b55c5fbbd926" providerId="ADAL" clId="{E28C3372-29F8-4498-8732-6260B4E6B964}" dt="2023-02-09T09:59:58.731" v="1149" actId="165"/>
          <ac:spMkLst>
            <pc:docMk/>
            <pc:sldMk cId="1835106721" sldId="887"/>
            <ac:spMk id="32" creationId="{57B9D499-DF3B-4690-9961-33AF1FC91FDD}"/>
          </ac:spMkLst>
        </pc:spChg>
        <pc:spChg chg="mod topLvl">
          <ac:chgData name="DOTOU-SEGLA Jean-Prince" userId="ef61a327-935a-41df-8140-b55c5fbbd926" providerId="ADAL" clId="{E28C3372-29F8-4498-8732-6260B4E6B964}" dt="2023-02-09T10:02:37.986" v="1185" actId="179"/>
          <ac:spMkLst>
            <pc:docMk/>
            <pc:sldMk cId="1835106721" sldId="887"/>
            <ac:spMk id="36" creationId="{359F12FE-2AA1-4316-8D48-0A55C916285E}"/>
          </ac:spMkLst>
        </pc:spChg>
        <pc:grpChg chg="add del mod">
          <ac:chgData name="DOTOU-SEGLA Jean-Prince" userId="ef61a327-935a-41df-8140-b55c5fbbd926" providerId="ADAL" clId="{E28C3372-29F8-4498-8732-6260B4E6B964}" dt="2023-02-09T09:59:40.360" v="1139" actId="165"/>
          <ac:grpSpMkLst>
            <pc:docMk/>
            <pc:sldMk cId="1835106721" sldId="887"/>
            <ac:grpSpMk id="6" creationId="{E0BE2699-F39E-683B-3681-B8988548A921}"/>
          </ac:grpSpMkLst>
        </pc:grpChg>
        <pc:grpChg chg="del mod topLvl">
          <ac:chgData name="DOTOU-SEGLA Jean-Prince" userId="ef61a327-935a-41df-8140-b55c5fbbd926" providerId="ADAL" clId="{E28C3372-29F8-4498-8732-6260B4E6B964}" dt="2023-02-09T09:59:58.731" v="1149" actId="165"/>
          <ac:grpSpMkLst>
            <pc:docMk/>
            <pc:sldMk cId="1835106721" sldId="887"/>
            <ac:grpSpMk id="12" creationId="{F6567F56-CE60-4FBC-8D6F-F1E1EBAFF46E}"/>
          </ac:grpSpMkLst>
        </pc:grpChg>
        <pc:grpChg chg="mod topLvl">
          <ac:chgData name="DOTOU-SEGLA Jean-Prince" userId="ef61a327-935a-41df-8140-b55c5fbbd926" providerId="ADAL" clId="{E28C3372-29F8-4498-8732-6260B4E6B964}" dt="2023-02-09T09:59:40.360" v="1139" actId="165"/>
          <ac:grpSpMkLst>
            <pc:docMk/>
            <pc:sldMk cId="1835106721" sldId="887"/>
            <ac:grpSpMk id="17" creationId="{00000000-0000-0000-0000-000000000000}"/>
          </ac:grpSpMkLst>
        </pc:grpChg>
        <pc:grpChg chg="mod topLvl">
          <ac:chgData name="DOTOU-SEGLA Jean-Prince" userId="ef61a327-935a-41df-8140-b55c5fbbd926" providerId="ADAL" clId="{E28C3372-29F8-4498-8732-6260B4E6B964}" dt="2023-02-09T09:59:40.360" v="1139" actId="165"/>
          <ac:grpSpMkLst>
            <pc:docMk/>
            <pc:sldMk cId="1835106721" sldId="887"/>
            <ac:grpSpMk id="18" creationId="{00000000-0000-0000-0000-000000000000}"/>
          </ac:grpSpMkLst>
        </pc:grpChg>
        <pc:grpChg chg="mod topLvl">
          <ac:chgData name="DOTOU-SEGLA Jean-Prince" userId="ef61a327-935a-41df-8140-b55c5fbbd926" providerId="ADAL" clId="{E28C3372-29F8-4498-8732-6260B4E6B964}" dt="2023-02-09T09:59:40.360" v="1139" actId="165"/>
          <ac:grpSpMkLst>
            <pc:docMk/>
            <pc:sldMk cId="1835106721" sldId="887"/>
            <ac:grpSpMk id="19" creationId="{00000000-0000-0000-0000-000000000000}"/>
          </ac:grpSpMkLst>
        </pc:grpChg>
        <pc:grpChg chg="mod topLvl">
          <ac:chgData name="DOTOU-SEGLA Jean-Prince" userId="ef61a327-935a-41df-8140-b55c5fbbd926" providerId="ADAL" clId="{E28C3372-29F8-4498-8732-6260B4E6B964}" dt="2023-02-09T09:59:40.360" v="1139" actId="165"/>
          <ac:grpSpMkLst>
            <pc:docMk/>
            <pc:sldMk cId="1835106721" sldId="887"/>
            <ac:grpSpMk id="20" creationId="{00000000-0000-0000-0000-000000000000}"/>
          </ac:grpSpMkLst>
        </pc:grpChg>
        <pc:picChg chg="mod topLvl">
          <ac:chgData name="DOTOU-SEGLA Jean-Prince" userId="ef61a327-935a-41df-8140-b55c5fbbd926" providerId="ADAL" clId="{E28C3372-29F8-4498-8732-6260B4E6B964}" dt="2023-02-09T10:04:58.163" v="1196" actId="1076"/>
          <ac:picMkLst>
            <pc:docMk/>
            <pc:sldMk cId="1835106721" sldId="887"/>
            <ac:picMk id="33" creationId="{56E2CF98-5C55-4389-8C53-DCD679229A93}"/>
          </ac:picMkLst>
        </pc:picChg>
        <pc:picChg chg="mod topLvl">
          <ac:chgData name="DOTOU-SEGLA Jean-Prince" userId="ef61a327-935a-41df-8140-b55c5fbbd926" providerId="ADAL" clId="{E28C3372-29F8-4498-8732-6260B4E6B964}" dt="2023-02-09T10:05:03.158" v="1197" actId="1076"/>
          <ac:picMkLst>
            <pc:docMk/>
            <pc:sldMk cId="1835106721" sldId="887"/>
            <ac:picMk id="34" creationId="{BBE4CD57-A2F8-413B-A40E-34717B9A3618}"/>
          </ac:picMkLst>
        </pc:picChg>
        <pc:picChg chg="mod topLvl">
          <ac:chgData name="DOTOU-SEGLA Jean-Prince" userId="ef61a327-935a-41df-8140-b55c5fbbd926" providerId="ADAL" clId="{E28C3372-29F8-4498-8732-6260B4E6B964}" dt="2023-02-09T10:05:04.655" v="1198" actId="1076"/>
          <ac:picMkLst>
            <pc:docMk/>
            <pc:sldMk cId="1835106721" sldId="887"/>
            <ac:picMk id="35" creationId="{E85FE648-ED07-48BD-8766-A8A13A51E6D5}"/>
          </ac:picMkLst>
        </pc:picChg>
        <pc:picChg chg="add mod">
          <ac:chgData name="DOTOU-SEGLA Jean-Prince" userId="ef61a327-935a-41df-8140-b55c5fbbd926" providerId="ADAL" clId="{E28C3372-29F8-4498-8732-6260B4E6B964}" dt="2023-02-14T14:26:24.261" v="2129" actId="2085"/>
          <ac:picMkLst>
            <pc:docMk/>
            <pc:sldMk cId="1835106721" sldId="887"/>
            <ac:picMk id="1026" creationId="{1E265F50-E8E2-9C71-0C00-195A8619F4CE}"/>
          </ac:picMkLst>
        </pc:picChg>
        <pc:picChg chg="mod">
          <ac:chgData name="DOTOU-SEGLA Jean-Prince" userId="ef61a327-935a-41df-8140-b55c5fbbd926" providerId="ADAL" clId="{E28C3372-29F8-4498-8732-6260B4E6B964}" dt="2023-02-09T09:59:40.360" v="1139" actId="165"/>
          <ac:picMkLst>
            <pc:docMk/>
            <pc:sldMk cId="1835106721" sldId="887"/>
            <ac:picMk id="2050" creationId="{00000000-0000-0000-0000-000000000000}"/>
          </ac:picMkLst>
        </pc:picChg>
        <pc:picChg chg="mod">
          <ac:chgData name="DOTOU-SEGLA Jean-Prince" userId="ef61a327-935a-41df-8140-b55c5fbbd926" providerId="ADAL" clId="{E28C3372-29F8-4498-8732-6260B4E6B964}" dt="2023-02-09T09:59:40.360" v="1139" actId="165"/>
          <ac:picMkLst>
            <pc:docMk/>
            <pc:sldMk cId="1835106721" sldId="887"/>
            <ac:picMk id="2052" creationId="{00000000-0000-0000-0000-000000000000}"/>
          </ac:picMkLst>
        </pc:picChg>
        <pc:picChg chg="mod">
          <ac:chgData name="DOTOU-SEGLA Jean-Prince" userId="ef61a327-935a-41df-8140-b55c5fbbd926" providerId="ADAL" clId="{E28C3372-29F8-4498-8732-6260B4E6B964}" dt="2023-02-09T09:59:40.360" v="1139" actId="165"/>
          <ac:picMkLst>
            <pc:docMk/>
            <pc:sldMk cId="1835106721" sldId="887"/>
            <ac:picMk id="2054" creationId="{00000000-0000-0000-0000-000000000000}"/>
          </ac:picMkLst>
        </pc:picChg>
        <pc:picChg chg="mod">
          <ac:chgData name="DOTOU-SEGLA Jean-Prince" userId="ef61a327-935a-41df-8140-b55c5fbbd926" providerId="ADAL" clId="{E28C3372-29F8-4498-8732-6260B4E6B964}" dt="2023-02-09T09:59:40.360" v="1139" actId="165"/>
          <ac:picMkLst>
            <pc:docMk/>
            <pc:sldMk cId="1835106721" sldId="887"/>
            <ac:picMk id="2056" creationId="{00000000-0000-0000-0000-000000000000}"/>
          </ac:picMkLst>
        </pc:picChg>
      </pc:sldChg>
      <pc:sldChg chg="addSp delSp modSp del mod">
        <pc:chgData name="DOTOU-SEGLA Jean-Prince" userId="ef61a327-935a-41df-8140-b55c5fbbd926" providerId="ADAL" clId="{E28C3372-29F8-4498-8732-6260B4E6B964}" dt="2023-02-14T13:16:14.957" v="1501" actId="47"/>
        <pc:sldMkLst>
          <pc:docMk/>
          <pc:sldMk cId="3622964949" sldId="902"/>
        </pc:sldMkLst>
        <pc:spChg chg="mod">
          <ac:chgData name="DOTOU-SEGLA Jean-Prince" userId="ef61a327-935a-41df-8140-b55c5fbbd926" providerId="ADAL" clId="{E28C3372-29F8-4498-8732-6260B4E6B964}" dt="2023-02-14T13:14:57.801" v="1499" actId="20577"/>
          <ac:spMkLst>
            <pc:docMk/>
            <pc:sldMk cId="3622964949" sldId="902"/>
            <ac:spMk id="27" creationId="{6B1AB1F9-B978-4E17-937A-98B183A4E362}"/>
          </ac:spMkLst>
        </pc:spChg>
        <pc:spChg chg="add del">
          <ac:chgData name="DOTOU-SEGLA Jean-Prince" userId="ef61a327-935a-41df-8140-b55c5fbbd926" providerId="ADAL" clId="{E28C3372-29F8-4498-8732-6260B4E6B964}" dt="2023-02-14T13:14:52.824" v="1484" actId="478"/>
          <ac:spMkLst>
            <pc:docMk/>
            <pc:sldMk cId="3622964949" sldId="902"/>
            <ac:spMk id="28" creationId="{591C6E34-AD11-401B-AD38-40BABDAB859D}"/>
          </ac:spMkLst>
        </pc:spChg>
        <pc:spChg chg="add del">
          <ac:chgData name="DOTOU-SEGLA Jean-Prince" userId="ef61a327-935a-41df-8140-b55c5fbbd926" providerId="ADAL" clId="{E28C3372-29F8-4498-8732-6260B4E6B964}" dt="2023-02-14T13:14:52.596" v="1483" actId="478"/>
          <ac:spMkLst>
            <pc:docMk/>
            <pc:sldMk cId="3622964949" sldId="902"/>
            <ac:spMk id="31" creationId="{41A304D9-F67F-40EE-9ACA-156429058B3C}"/>
          </ac:spMkLst>
        </pc:spChg>
        <pc:spChg chg="add del">
          <ac:chgData name="DOTOU-SEGLA Jean-Prince" userId="ef61a327-935a-41df-8140-b55c5fbbd926" providerId="ADAL" clId="{E28C3372-29F8-4498-8732-6260B4E6B964}" dt="2023-02-14T13:14:53.140" v="1486" actId="478"/>
          <ac:spMkLst>
            <pc:docMk/>
            <pc:sldMk cId="3622964949" sldId="902"/>
            <ac:spMk id="32" creationId="{EAD0C112-FE32-4833-9E5C-279D1A92B55B}"/>
          </ac:spMkLst>
        </pc:spChg>
        <pc:spChg chg="mod">
          <ac:chgData name="DOTOU-SEGLA Jean-Prince" userId="ef61a327-935a-41df-8140-b55c5fbbd926" providerId="ADAL" clId="{E28C3372-29F8-4498-8732-6260B4E6B964}" dt="2023-02-14T13:12:20.492" v="1368" actId="20577"/>
          <ac:spMkLst>
            <pc:docMk/>
            <pc:sldMk cId="3622964949" sldId="902"/>
            <ac:spMk id="40" creationId="{66360938-9DF4-4067-A21D-A085714DDE21}"/>
          </ac:spMkLst>
        </pc:spChg>
        <pc:spChg chg="add del">
          <ac:chgData name="DOTOU-SEGLA Jean-Prince" userId="ef61a327-935a-41df-8140-b55c5fbbd926" providerId="ADAL" clId="{E28C3372-29F8-4498-8732-6260B4E6B964}" dt="2023-02-14T13:12:47.344" v="1374" actId="478"/>
          <ac:spMkLst>
            <pc:docMk/>
            <pc:sldMk cId="3622964949" sldId="902"/>
            <ac:spMk id="49" creationId="{77CDD91D-1436-4D91-AA8F-211DD647FCD5}"/>
          </ac:spMkLst>
        </pc:spChg>
        <pc:graphicFrameChg chg="mod">
          <ac:chgData name="DOTOU-SEGLA Jean-Prince" userId="ef61a327-935a-41df-8140-b55c5fbbd926" providerId="ADAL" clId="{E28C3372-29F8-4498-8732-6260B4E6B964}" dt="2023-02-14T13:14:11.646" v="1478" actId="20577"/>
          <ac:graphicFrameMkLst>
            <pc:docMk/>
            <pc:sldMk cId="3622964949" sldId="902"/>
            <ac:graphicFrameMk id="5" creationId="{58B7FB44-9019-453A-9F89-5EB7FA8EB913}"/>
          </ac:graphicFrameMkLst>
        </pc:graphicFrameChg>
        <pc:picChg chg="del">
          <ac:chgData name="DOTOU-SEGLA Jean-Prince" userId="ef61a327-935a-41df-8140-b55c5fbbd926" providerId="ADAL" clId="{E28C3372-29F8-4498-8732-6260B4E6B964}" dt="2023-02-14T13:12:54.671" v="1375" actId="478"/>
          <ac:picMkLst>
            <pc:docMk/>
            <pc:sldMk cId="3622964949" sldId="902"/>
            <ac:picMk id="7" creationId="{16FFC9AA-3A2D-466E-9522-8B2FE2D8712B}"/>
          </ac:picMkLst>
        </pc:picChg>
        <pc:picChg chg="add del">
          <ac:chgData name="DOTOU-SEGLA Jean-Prince" userId="ef61a327-935a-41df-8140-b55c5fbbd926" providerId="ADAL" clId="{E28C3372-29F8-4498-8732-6260B4E6B964}" dt="2023-02-14T13:14:52.959" v="1485" actId="478"/>
          <ac:picMkLst>
            <pc:docMk/>
            <pc:sldMk cId="3622964949" sldId="902"/>
            <ac:picMk id="14" creationId="{867BD34B-BB86-47B4-B190-184F3A72AFC1}"/>
          </ac:picMkLst>
        </pc:picChg>
        <pc:picChg chg="add del">
          <ac:chgData name="DOTOU-SEGLA Jean-Prince" userId="ef61a327-935a-41df-8140-b55c5fbbd926" providerId="ADAL" clId="{E28C3372-29F8-4498-8732-6260B4E6B964}" dt="2023-02-14T13:14:53.896" v="1487" actId="478"/>
          <ac:picMkLst>
            <pc:docMk/>
            <pc:sldMk cId="3622964949" sldId="902"/>
            <ac:picMk id="30" creationId="{355C424E-BDF6-4A73-A265-12D65E7A3584}"/>
          </ac:picMkLst>
        </pc:picChg>
        <pc:picChg chg="add del">
          <ac:chgData name="DOTOU-SEGLA Jean-Prince" userId="ef61a327-935a-41df-8140-b55c5fbbd926" providerId="ADAL" clId="{E28C3372-29F8-4498-8732-6260B4E6B964}" dt="2023-02-14T13:12:44.555" v="1373" actId="478"/>
          <ac:picMkLst>
            <pc:docMk/>
            <pc:sldMk cId="3622964949" sldId="902"/>
            <ac:picMk id="52" creationId="{6C6BF7A7-B146-43B8-A98E-E521C4BFA302}"/>
          </ac:picMkLst>
        </pc:picChg>
        <pc:cxnChg chg="del">
          <ac:chgData name="DOTOU-SEGLA Jean-Prince" userId="ef61a327-935a-41df-8140-b55c5fbbd926" providerId="ADAL" clId="{E28C3372-29F8-4498-8732-6260B4E6B964}" dt="2023-02-14T13:12:58.741" v="1377" actId="478"/>
          <ac:cxnSpMkLst>
            <pc:docMk/>
            <pc:sldMk cId="3622964949" sldId="902"/>
            <ac:cxnSpMk id="34" creationId="{840D7380-E715-4AF3-A624-6FA57437EEC9}"/>
          </ac:cxnSpMkLst>
        </pc:cxnChg>
        <pc:cxnChg chg="del">
          <ac:chgData name="DOTOU-SEGLA Jean-Prince" userId="ef61a327-935a-41df-8140-b55c5fbbd926" providerId="ADAL" clId="{E28C3372-29F8-4498-8732-6260B4E6B964}" dt="2023-02-14T13:13:00.497" v="1378" actId="478"/>
          <ac:cxnSpMkLst>
            <pc:docMk/>
            <pc:sldMk cId="3622964949" sldId="902"/>
            <ac:cxnSpMk id="36" creationId="{3BB6CD1B-4E87-4269-8A16-B2B0D8D2268A}"/>
          </ac:cxnSpMkLst>
        </pc:cxnChg>
        <pc:cxnChg chg="del">
          <ac:chgData name="DOTOU-SEGLA Jean-Prince" userId="ef61a327-935a-41df-8140-b55c5fbbd926" providerId="ADAL" clId="{E28C3372-29F8-4498-8732-6260B4E6B964}" dt="2023-02-14T13:12:56.714" v="1376" actId="478"/>
          <ac:cxnSpMkLst>
            <pc:docMk/>
            <pc:sldMk cId="3622964949" sldId="902"/>
            <ac:cxnSpMk id="51" creationId="{5E65BC19-8ABC-44E7-AA8B-DCC0BE0631DC}"/>
          </ac:cxnSpMkLst>
        </pc:cxnChg>
      </pc:sldChg>
      <pc:sldChg chg="addSp delSp modSp add del mod">
        <pc:chgData name="DOTOU-SEGLA Jean-Prince" userId="ef61a327-935a-41df-8140-b55c5fbbd926" providerId="ADAL" clId="{E28C3372-29F8-4498-8732-6260B4E6B964}" dt="2023-03-06T14:23:43.557" v="2507" actId="2696"/>
        <pc:sldMkLst>
          <pc:docMk/>
          <pc:sldMk cId="4255054038" sldId="2147470873"/>
        </pc:sldMkLst>
        <pc:spChg chg="mod">
          <ac:chgData name="DOTOU-SEGLA Jean-Prince" userId="ef61a327-935a-41df-8140-b55c5fbbd926" providerId="ADAL" clId="{E28C3372-29F8-4498-8732-6260B4E6B964}" dt="2023-02-08T17:50:12.929" v="282" actId="6549"/>
          <ac:spMkLst>
            <pc:docMk/>
            <pc:sldMk cId="4255054038" sldId="2147470873"/>
            <ac:spMk id="13" creationId="{7A64F2A4-031C-4497-9AC3-863D05335C7C}"/>
          </ac:spMkLst>
        </pc:spChg>
        <pc:graphicFrameChg chg="mod modGraphic">
          <ac:chgData name="DOTOU-SEGLA Jean-Prince" userId="ef61a327-935a-41df-8140-b55c5fbbd926" providerId="ADAL" clId="{E28C3372-29F8-4498-8732-6260B4E6B964}" dt="2023-02-09T09:24:28.620" v="416" actId="20577"/>
          <ac:graphicFrameMkLst>
            <pc:docMk/>
            <pc:sldMk cId="4255054038" sldId="2147470873"/>
            <ac:graphicFrameMk id="4" creationId="{C1375BA8-286D-4BD3-A31B-9DFF4D466EC6}"/>
          </ac:graphicFrameMkLst>
        </pc:graphicFrameChg>
        <pc:graphicFrameChg chg="add mod modGraphic">
          <ac:chgData name="DOTOU-SEGLA Jean-Prince" userId="ef61a327-935a-41df-8140-b55c5fbbd926" providerId="ADAL" clId="{E28C3372-29F8-4498-8732-6260B4E6B964}" dt="2023-02-08T17:49:30.797" v="275" actId="1076"/>
          <ac:graphicFrameMkLst>
            <pc:docMk/>
            <pc:sldMk cId="4255054038" sldId="2147470873"/>
            <ac:graphicFrameMk id="5" creationId="{2142A566-C476-4ECB-63E5-5FD824086E7E}"/>
          </ac:graphicFrameMkLst>
        </pc:graphicFrameChg>
        <pc:graphicFrameChg chg="add mod">
          <ac:chgData name="DOTOU-SEGLA Jean-Prince" userId="ef61a327-935a-41df-8140-b55c5fbbd926" providerId="ADAL" clId="{E28C3372-29F8-4498-8732-6260B4E6B964}" dt="2023-02-14T13:38:46.212" v="1795" actId="1037"/>
          <ac:graphicFrameMkLst>
            <pc:docMk/>
            <pc:sldMk cId="4255054038" sldId="2147470873"/>
            <ac:graphicFrameMk id="6" creationId="{794139F0-AE40-0EC6-E2E1-2EB86746F30A}"/>
          </ac:graphicFrameMkLst>
        </pc:graphicFrameChg>
        <pc:graphicFrameChg chg="del">
          <ac:chgData name="DOTOU-SEGLA Jean-Prince" userId="ef61a327-935a-41df-8140-b55c5fbbd926" providerId="ADAL" clId="{E28C3372-29F8-4498-8732-6260B4E6B964}" dt="2023-02-14T13:38:16.816" v="1782" actId="478"/>
          <ac:graphicFrameMkLst>
            <pc:docMk/>
            <pc:sldMk cId="4255054038" sldId="2147470873"/>
            <ac:graphicFrameMk id="42" creationId="{738C14C4-59F5-479D-B437-F7DC36792FA4}"/>
          </ac:graphicFrameMkLst>
        </pc:graphicFrameChg>
        <pc:picChg chg="del">
          <ac:chgData name="DOTOU-SEGLA Jean-Prince" userId="ef61a327-935a-41df-8140-b55c5fbbd926" providerId="ADAL" clId="{E28C3372-29F8-4498-8732-6260B4E6B964}" dt="2023-02-08T17:48:28.448" v="229" actId="478"/>
          <ac:picMkLst>
            <pc:docMk/>
            <pc:sldMk cId="4255054038" sldId="2147470873"/>
            <ac:picMk id="37" creationId="{BFF58284-0FDF-47DB-9C95-6F978466F5DB}"/>
          </ac:picMkLst>
        </pc:picChg>
      </pc:sldChg>
      <pc:sldChg chg="modSp mod modCm">
        <pc:chgData name="DOTOU-SEGLA Jean-Prince" userId="ef61a327-935a-41df-8140-b55c5fbbd926" providerId="ADAL" clId="{E28C3372-29F8-4498-8732-6260B4E6B964}" dt="2023-02-09T10:33:57.757" v="1271"/>
        <pc:sldMkLst>
          <pc:docMk/>
          <pc:sldMk cId="2831867188" sldId="2147470878"/>
        </pc:sldMkLst>
        <pc:spChg chg="mod">
          <ac:chgData name="DOTOU-SEGLA Jean-Prince" userId="ef61a327-935a-41df-8140-b55c5fbbd926" providerId="ADAL" clId="{E28C3372-29F8-4498-8732-6260B4E6B964}" dt="2023-02-09T10:10:44.834" v="1252" actId="1035"/>
          <ac:spMkLst>
            <pc:docMk/>
            <pc:sldMk cId="2831867188" sldId="2147470878"/>
            <ac:spMk id="2" creationId="{211B5C40-23A7-4240-B895-F3E6AAF775F8}"/>
          </ac:spMkLst>
        </pc:spChg>
        <pc:spChg chg="mod">
          <ac:chgData name="DOTOU-SEGLA Jean-Prince" userId="ef61a327-935a-41df-8140-b55c5fbbd926" providerId="ADAL" clId="{E28C3372-29F8-4498-8732-6260B4E6B964}" dt="2023-02-09T10:10:44.834" v="1252" actId="1035"/>
          <ac:spMkLst>
            <pc:docMk/>
            <pc:sldMk cId="2831867188" sldId="2147470878"/>
            <ac:spMk id="3" creationId="{2A2447AE-3460-4681-9C32-75C129FD6521}"/>
          </ac:spMkLst>
        </pc:spChg>
        <pc:spChg chg="mod">
          <ac:chgData name="DOTOU-SEGLA Jean-Prince" userId="ef61a327-935a-41df-8140-b55c5fbbd926" providerId="ADAL" clId="{E28C3372-29F8-4498-8732-6260B4E6B964}" dt="2023-02-09T10:10:44.834" v="1252" actId="1035"/>
          <ac:spMkLst>
            <pc:docMk/>
            <pc:sldMk cId="2831867188" sldId="2147470878"/>
            <ac:spMk id="5" creationId="{53EDD76C-83DA-4A4E-A32F-7CBAFA674DDA}"/>
          </ac:spMkLst>
        </pc:spChg>
        <pc:spChg chg="mod">
          <ac:chgData name="DOTOU-SEGLA Jean-Prince" userId="ef61a327-935a-41df-8140-b55c5fbbd926" providerId="ADAL" clId="{E28C3372-29F8-4498-8732-6260B4E6B964}" dt="2023-02-09T10:11:20.488" v="1258" actId="1076"/>
          <ac:spMkLst>
            <pc:docMk/>
            <pc:sldMk cId="2831867188" sldId="2147470878"/>
            <ac:spMk id="6" creationId="{D7E4B1E8-AAFE-4971-B0FE-88762DCEBFC6}"/>
          </ac:spMkLst>
        </pc:spChg>
        <pc:spChg chg="mod">
          <ac:chgData name="DOTOU-SEGLA Jean-Prince" userId="ef61a327-935a-41df-8140-b55c5fbbd926" providerId="ADAL" clId="{E28C3372-29F8-4498-8732-6260B4E6B964}" dt="2023-02-09T10:33:43.067" v="1270" actId="27107"/>
          <ac:spMkLst>
            <pc:docMk/>
            <pc:sldMk cId="2831867188" sldId="2147470878"/>
            <ac:spMk id="10" creationId="{3082DF56-5EEB-4571-8A6D-0247D9D1CD76}"/>
          </ac:spMkLst>
        </pc:spChg>
      </pc:sldChg>
      <pc:sldChg chg="ord">
        <pc:chgData name="DOTOU-SEGLA Jean-Prince" userId="ef61a327-935a-41df-8140-b55c5fbbd926" providerId="ADAL" clId="{E28C3372-29F8-4498-8732-6260B4E6B964}" dt="2023-03-13T09:29:23.361" v="2854"/>
        <pc:sldMkLst>
          <pc:docMk/>
          <pc:sldMk cId="1349800289" sldId="2147470888"/>
        </pc:sldMkLst>
      </pc:sldChg>
      <pc:sldChg chg="modSp mod">
        <pc:chgData name="DOTOU-SEGLA Jean-Prince" userId="ef61a327-935a-41df-8140-b55c5fbbd926" providerId="ADAL" clId="{E28C3372-29F8-4498-8732-6260B4E6B964}" dt="2023-02-09T09:26:51.513" v="605" actId="6549"/>
        <pc:sldMkLst>
          <pc:docMk/>
          <pc:sldMk cId="2084846352" sldId="2147470893"/>
        </pc:sldMkLst>
        <pc:graphicFrameChg chg="mod modGraphic">
          <ac:chgData name="DOTOU-SEGLA Jean-Prince" userId="ef61a327-935a-41df-8140-b55c5fbbd926" providerId="ADAL" clId="{E28C3372-29F8-4498-8732-6260B4E6B964}" dt="2023-02-09T09:26:51.513" v="605" actId="6549"/>
          <ac:graphicFrameMkLst>
            <pc:docMk/>
            <pc:sldMk cId="2084846352" sldId="2147470893"/>
            <ac:graphicFrameMk id="7" creationId="{4ECCEC33-3996-458E-AA0F-54A813E68776}"/>
          </ac:graphicFrameMkLst>
        </pc:graphicFrameChg>
      </pc:sldChg>
      <pc:sldChg chg="addSp modSp mod">
        <pc:chgData name="DOTOU-SEGLA Jean-Prince" userId="ef61a327-935a-41df-8140-b55c5fbbd926" providerId="ADAL" clId="{E28C3372-29F8-4498-8732-6260B4E6B964}" dt="2023-03-13T09:30:33.334" v="2912" actId="1076"/>
        <pc:sldMkLst>
          <pc:docMk/>
          <pc:sldMk cId="1963164929" sldId="2147470894"/>
        </pc:sldMkLst>
        <pc:spChg chg="add mod">
          <ac:chgData name="DOTOU-SEGLA Jean-Prince" userId="ef61a327-935a-41df-8140-b55c5fbbd926" providerId="ADAL" clId="{E28C3372-29F8-4498-8732-6260B4E6B964}" dt="2023-02-08T17:38:39.399" v="7" actId="20577"/>
          <ac:spMkLst>
            <pc:docMk/>
            <pc:sldMk cId="1963164929" sldId="2147470894"/>
            <ac:spMk id="4" creationId="{41D721B7-7CF3-5762-53BE-B3482F763E11}"/>
          </ac:spMkLst>
        </pc:spChg>
        <pc:spChg chg="mod">
          <ac:chgData name="DOTOU-SEGLA Jean-Prince" userId="ef61a327-935a-41df-8140-b55c5fbbd926" providerId="ADAL" clId="{E28C3372-29F8-4498-8732-6260B4E6B964}" dt="2023-03-13T09:29:06.055" v="2852" actId="20577"/>
          <ac:spMkLst>
            <pc:docMk/>
            <pc:sldMk cId="1963164929" sldId="2147470894"/>
            <ac:spMk id="23" creationId="{9FB01AE0-1C6F-4DE5-A378-91678CABCDCC}"/>
          </ac:spMkLst>
        </pc:spChg>
        <pc:spChg chg="mod">
          <ac:chgData name="DOTOU-SEGLA Jean-Prince" userId="ef61a327-935a-41df-8140-b55c5fbbd926" providerId="ADAL" clId="{E28C3372-29F8-4498-8732-6260B4E6B964}" dt="2023-03-13T09:30:27.436" v="2910" actId="1076"/>
          <ac:spMkLst>
            <pc:docMk/>
            <pc:sldMk cId="1963164929" sldId="2147470894"/>
            <ac:spMk id="29" creationId="{78742343-206E-4512-8882-C299E3391CEB}"/>
          </ac:spMkLst>
        </pc:spChg>
        <pc:spChg chg="mod">
          <ac:chgData name="DOTOU-SEGLA Jean-Prince" userId="ef61a327-935a-41df-8140-b55c5fbbd926" providerId="ADAL" clId="{E28C3372-29F8-4498-8732-6260B4E6B964}" dt="2023-03-13T09:30:25.228" v="2908" actId="164"/>
          <ac:spMkLst>
            <pc:docMk/>
            <pc:sldMk cId="1963164929" sldId="2147470894"/>
            <ac:spMk id="46" creationId="{4EE30973-6F78-4A65-9E30-1DEF365F7504}"/>
          </ac:spMkLst>
        </pc:spChg>
        <pc:spChg chg="mod">
          <ac:chgData name="DOTOU-SEGLA Jean-Prince" userId="ef61a327-935a-41df-8140-b55c5fbbd926" providerId="ADAL" clId="{E28C3372-29F8-4498-8732-6260B4E6B964}" dt="2023-03-06T14:23:25.984" v="2497" actId="404"/>
          <ac:spMkLst>
            <pc:docMk/>
            <pc:sldMk cId="1963164929" sldId="2147470894"/>
            <ac:spMk id="74" creationId="{FF85D024-5526-4BB3-AA2B-C982AC82EBF1}"/>
          </ac:spMkLst>
        </pc:spChg>
        <pc:spChg chg="mod">
          <ac:chgData name="DOTOU-SEGLA Jean-Prince" userId="ef61a327-935a-41df-8140-b55c5fbbd926" providerId="ADAL" clId="{E28C3372-29F8-4498-8732-6260B4E6B964}" dt="2023-03-13T09:30:14.921" v="2906" actId="20577"/>
          <ac:spMkLst>
            <pc:docMk/>
            <pc:sldMk cId="1963164929" sldId="2147470894"/>
            <ac:spMk id="92" creationId="{41199D81-9425-4EF2-9729-636D42F11960}"/>
          </ac:spMkLst>
        </pc:spChg>
        <pc:grpChg chg="add mod">
          <ac:chgData name="DOTOU-SEGLA Jean-Prince" userId="ef61a327-935a-41df-8140-b55c5fbbd926" providerId="ADAL" clId="{E28C3372-29F8-4498-8732-6260B4E6B964}" dt="2023-03-13T09:30:30.037" v="2911" actId="1076"/>
          <ac:grpSpMkLst>
            <pc:docMk/>
            <pc:sldMk cId="1963164929" sldId="2147470894"/>
            <ac:grpSpMk id="5" creationId="{64EBA73E-CA80-F78B-CAE7-06DAE212B05F}"/>
          </ac:grpSpMkLst>
        </pc:grpChg>
        <pc:grpChg chg="mod">
          <ac:chgData name="DOTOU-SEGLA Jean-Prince" userId="ef61a327-935a-41df-8140-b55c5fbbd926" providerId="ADAL" clId="{E28C3372-29F8-4498-8732-6260B4E6B964}" dt="2023-03-13T09:30:33.334" v="2912" actId="1076"/>
          <ac:grpSpMkLst>
            <pc:docMk/>
            <pc:sldMk cId="1963164929" sldId="2147470894"/>
            <ac:grpSpMk id="16" creationId="{25AB6AEE-23B1-4C91-B8DE-58EAEF122675}"/>
          </ac:grpSpMkLst>
        </pc:grpChg>
        <pc:grpChg chg="mod">
          <ac:chgData name="DOTOU-SEGLA Jean-Prince" userId="ef61a327-935a-41df-8140-b55c5fbbd926" providerId="ADAL" clId="{E28C3372-29F8-4498-8732-6260B4E6B964}" dt="2023-03-06T14:23:32.881" v="2506" actId="1035"/>
          <ac:grpSpMkLst>
            <pc:docMk/>
            <pc:sldMk cId="1963164929" sldId="2147470894"/>
            <ac:grpSpMk id="53" creationId="{724AD8D1-AD44-4621-ADA6-A159F7CF203F}"/>
          </ac:grpSpMkLst>
        </pc:grpChg>
        <pc:graphicFrameChg chg="mod">
          <ac:chgData name="DOTOU-SEGLA Jean-Prince" userId="ef61a327-935a-41df-8140-b55c5fbbd926" providerId="ADAL" clId="{E28C3372-29F8-4498-8732-6260B4E6B964}" dt="2023-03-13T09:30:25.228" v="2908" actId="164"/>
          <ac:graphicFrameMkLst>
            <pc:docMk/>
            <pc:sldMk cId="1963164929" sldId="2147470894"/>
            <ac:graphicFrameMk id="6" creationId="{79014EF4-DC44-91AB-13CB-3780FC77AFA7}"/>
          </ac:graphicFrameMkLst>
        </pc:graphicFrameChg>
      </pc:sldChg>
      <pc:sldChg chg="modSp mod">
        <pc:chgData name="DOTOU-SEGLA Jean-Prince" userId="ef61a327-935a-41df-8140-b55c5fbbd926" providerId="ADAL" clId="{E28C3372-29F8-4498-8732-6260B4E6B964}" dt="2023-03-02T13:01:04.109" v="2375" actId="20577"/>
        <pc:sldMkLst>
          <pc:docMk/>
          <pc:sldMk cId="480180273" sldId="2147470897"/>
        </pc:sldMkLst>
        <pc:spChg chg="mod">
          <ac:chgData name="DOTOU-SEGLA Jean-Prince" userId="ef61a327-935a-41df-8140-b55c5fbbd926" providerId="ADAL" clId="{E28C3372-29F8-4498-8732-6260B4E6B964}" dt="2023-03-02T13:01:04.109" v="2375" actId="20577"/>
          <ac:spMkLst>
            <pc:docMk/>
            <pc:sldMk cId="480180273" sldId="2147470897"/>
            <ac:spMk id="4" creationId="{C18DFA26-10F8-4880-803A-29697DD48185}"/>
          </ac:spMkLst>
        </pc:spChg>
      </pc:sldChg>
      <pc:sldChg chg="addSp delSp modSp mod">
        <pc:chgData name="DOTOU-SEGLA Jean-Prince" userId="ef61a327-935a-41df-8140-b55c5fbbd926" providerId="ADAL" clId="{E28C3372-29F8-4498-8732-6260B4E6B964}" dt="2023-03-06T14:42:26.487" v="2803" actId="1076"/>
        <pc:sldMkLst>
          <pc:docMk/>
          <pc:sldMk cId="2619532644" sldId="2147470899"/>
        </pc:sldMkLst>
        <pc:spChg chg="add del mod">
          <ac:chgData name="DOTOU-SEGLA Jean-Prince" userId="ef61a327-935a-41df-8140-b55c5fbbd926" providerId="ADAL" clId="{E28C3372-29F8-4498-8732-6260B4E6B964}" dt="2023-03-06T14:42:26.487" v="2803" actId="1076"/>
          <ac:spMkLst>
            <pc:docMk/>
            <pc:sldMk cId="2619532644" sldId="2147470899"/>
            <ac:spMk id="2" creationId="{A16DA996-77F4-9DFD-6FC4-C67E4BC8B07E}"/>
          </ac:spMkLst>
        </pc:spChg>
        <pc:spChg chg="add del mod">
          <ac:chgData name="DOTOU-SEGLA Jean-Prince" userId="ef61a327-935a-41df-8140-b55c5fbbd926" providerId="ADAL" clId="{E28C3372-29F8-4498-8732-6260B4E6B964}" dt="2023-03-06T14:41:55.440" v="2794" actId="478"/>
          <ac:spMkLst>
            <pc:docMk/>
            <pc:sldMk cId="2619532644" sldId="2147470899"/>
            <ac:spMk id="7" creationId="{6094211B-276B-0A81-5F48-D9107DB670B0}"/>
          </ac:spMkLst>
        </pc:spChg>
        <pc:graphicFrameChg chg="mod">
          <ac:chgData name="DOTOU-SEGLA Jean-Prince" userId="ef61a327-935a-41df-8140-b55c5fbbd926" providerId="ADAL" clId="{E28C3372-29F8-4498-8732-6260B4E6B964}" dt="2023-03-06T14:42:22.012" v="2802" actId="167"/>
          <ac:graphicFrameMkLst>
            <pc:docMk/>
            <pc:sldMk cId="2619532644" sldId="2147470899"/>
            <ac:graphicFrameMk id="13" creationId="{C555C755-2037-4351-FF6F-3F121DA259FD}"/>
          </ac:graphicFrameMkLst>
        </pc:graphicFrameChg>
      </pc:sldChg>
      <pc:sldChg chg="addSp delSp modSp mod ord modAnim">
        <pc:chgData name="DOTOU-SEGLA Jean-Prince" userId="ef61a327-935a-41df-8140-b55c5fbbd926" providerId="ADAL" clId="{E28C3372-29F8-4498-8732-6260B4E6B964}" dt="2023-03-13T09:30:39.817" v="2914"/>
        <pc:sldMkLst>
          <pc:docMk/>
          <pc:sldMk cId="1782460719" sldId="2147470904"/>
        </pc:sldMkLst>
        <pc:spChg chg="mod">
          <ac:chgData name="DOTOU-SEGLA Jean-Prince" userId="ef61a327-935a-41df-8140-b55c5fbbd926" providerId="ADAL" clId="{E28C3372-29F8-4498-8732-6260B4E6B964}" dt="2023-02-09T09:28:10.328" v="644" actId="1035"/>
          <ac:spMkLst>
            <pc:docMk/>
            <pc:sldMk cId="1782460719" sldId="2147470904"/>
            <ac:spMk id="2" creationId="{34C633D1-265D-4E5F-B4D1-FCBC3D60077D}"/>
          </ac:spMkLst>
        </pc:spChg>
        <pc:spChg chg="mod">
          <ac:chgData name="DOTOU-SEGLA Jean-Prince" userId="ef61a327-935a-41df-8140-b55c5fbbd926" providerId="ADAL" clId="{E28C3372-29F8-4498-8732-6260B4E6B964}" dt="2023-02-09T09:28:10.328" v="644" actId="1035"/>
          <ac:spMkLst>
            <pc:docMk/>
            <pc:sldMk cId="1782460719" sldId="2147470904"/>
            <ac:spMk id="5" creationId="{73BBC34D-2290-40D8-90DF-D46A5C391E18}"/>
          </ac:spMkLst>
        </pc:spChg>
        <pc:spChg chg="mod">
          <ac:chgData name="DOTOU-SEGLA Jean-Prince" userId="ef61a327-935a-41df-8140-b55c5fbbd926" providerId="ADAL" clId="{E28C3372-29F8-4498-8732-6260B4E6B964}" dt="2023-02-09T09:28:32.714" v="645" actId="1076"/>
          <ac:spMkLst>
            <pc:docMk/>
            <pc:sldMk cId="1782460719" sldId="2147470904"/>
            <ac:spMk id="6" creationId="{738B823F-00C4-44AF-B5C4-5D32A75021D3}"/>
          </ac:spMkLst>
        </pc:spChg>
        <pc:spChg chg="mod">
          <ac:chgData name="DOTOU-SEGLA Jean-Prince" userId="ef61a327-935a-41df-8140-b55c5fbbd926" providerId="ADAL" clId="{E28C3372-29F8-4498-8732-6260B4E6B964}" dt="2023-02-09T09:28:10.328" v="644" actId="1035"/>
          <ac:spMkLst>
            <pc:docMk/>
            <pc:sldMk cId="1782460719" sldId="2147470904"/>
            <ac:spMk id="7" creationId="{1C2A96EF-620B-44BE-8CC7-65F448AA7267}"/>
          </ac:spMkLst>
        </pc:spChg>
        <pc:spChg chg="mod">
          <ac:chgData name="DOTOU-SEGLA Jean-Prince" userId="ef61a327-935a-41df-8140-b55c5fbbd926" providerId="ADAL" clId="{E28C3372-29F8-4498-8732-6260B4E6B964}" dt="2023-02-09T10:07:48.701" v="1204" actId="1076"/>
          <ac:spMkLst>
            <pc:docMk/>
            <pc:sldMk cId="1782460719" sldId="2147470904"/>
            <ac:spMk id="8" creationId="{3EAD7FAE-813A-4E33-AE06-A5D3D8E3548B}"/>
          </ac:spMkLst>
        </pc:spChg>
        <pc:spChg chg="mod">
          <ac:chgData name="DOTOU-SEGLA Jean-Prince" userId="ef61a327-935a-41df-8140-b55c5fbbd926" providerId="ADAL" clId="{E28C3372-29F8-4498-8732-6260B4E6B964}" dt="2023-02-09T09:30:27.255" v="676"/>
          <ac:spMkLst>
            <pc:docMk/>
            <pc:sldMk cId="1782460719" sldId="2147470904"/>
            <ac:spMk id="9" creationId="{0C2EC68E-46D8-A3FE-2B98-F94F942B08C1}"/>
          </ac:spMkLst>
        </pc:spChg>
        <pc:spChg chg="mod">
          <ac:chgData name="DOTOU-SEGLA Jean-Prince" userId="ef61a327-935a-41df-8140-b55c5fbbd926" providerId="ADAL" clId="{E28C3372-29F8-4498-8732-6260B4E6B964}" dt="2023-02-09T09:30:27.255" v="676"/>
          <ac:spMkLst>
            <pc:docMk/>
            <pc:sldMk cId="1782460719" sldId="2147470904"/>
            <ac:spMk id="10" creationId="{6B2EDF9F-B341-558A-45B2-BA1D656FA146}"/>
          </ac:spMkLst>
        </pc:spChg>
        <pc:spChg chg="mod">
          <ac:chgData name="DOTOU-SEGLA Jean-Prince" userId="ef61a327-935a-41df-8140-b55c5fbbd926" providerId="ADAL" clId="{E28C3372-29F8-4498-8732-6260B4E6B964}" dt="2023-02-09T09:30:27.255" v="676"/>
          <ac:spMkLst>
            <pc:docMk/>
            <pc:sldMk cId="1782460719" sldId="2147470904"/>
            <ac:spMk id="11" creationId="{126BFA94-F0BE-47C6-A9DD-EA6C00484D01}"/>
          </ac:spMkLst>
        </pc:spChg>
        <pc:spChg chg="mod">
          <ac:chgData name="DOTOU-SEGLA Jean-Prince" userId="ef61a327-935a-41df-8140-b55c5fbbd926" providerId="ADAL" clId="{E28C3372-29F8-4498-8732-6260B4E6B964}" dt="2023-02-09T09:30:27.255" v="676"/>
          <ac:spMkLst>
            <pc:docMk/>
            <pc:sldMk cId="1782460719" sldId="2147470904"/>
            <ac:spMk id="12" creationId="{2EA34D0E-20CD-AFD4-63B4-4B52DAD0DDC9}"/>
          </ac:spMkLst>
        </pc:spChg>
        <pc:spChg chg="add del mod">
          <ac:chgData name="DOTOU-SEGLA Jean-Prince" userId="ef61a327-935a-41df-8140-b55c5fbbd926" providerId="ADAL" clId="{E28C3372-29F8-4498-8732-6260B4E6B964}" dt="2023-02-09T09:30:30.355" v="679"/>
          <ac:spMkLst>
            <pc:docMk/>
            <pc:sldMk cId="1782460719" sldId="2147470904"/>
            <ac:spMk id="16" creationId="{157ABC2B-4AE9-62A9-C49B-3DC50358B5D6}"/>
          </ac:spMkLst>
        </pc:spChg>
        <pc:spChg chg="add del mod">
          <ac:chgData name="DOTOU-SEGLA Jean-Prince" userId="ef61a327-935a-41df-8140-b55c5fbbd926" providerId="ADAL" clId="{E28C3372-29F8-4498-8732-6260B4E6B964}" dt="2023-02-09T09:30:30.355" v="679"/>
          <ac:spMkLst>
            <pc:docMk/>
            <pc:sldMk cId="1782460719" sldId="2147470904"/>
            <ac:spMk id="17" creationId="{F42BAF7F-057B-9A9D-FD69-5421B22295D8}"/>
          </ac:spMkLst>
        </pc:spChg>
        <pc:spChg chg="add del mod">
          <ac:chgData name="DOTOU-SEGLA Jean-Prince" userId="ef61a327-935a-41df-8140-b55c5fbbd926" providerId="ADAL" clId="{E28C3372-29F8-4498-8732-6260B4E6B964}" dt="2023-02-09T09:30:30.355" v="679"/>
          <ac:spMkLst>
            <pc:docMk/>
            <pc:sldMk cId="1782460719" sldId="2147470904"/>
            <ac:spMk id="18" creationId="{87D8F1AC-AAB5-DF03-CB62-C580AFB715F3}"/>
          </ac:spMkLst>
        </pc:spChg>
        <pc:spChg chg="add del mod">
          <ac:chgData name="DOTOU-SEGLA Jean-Prince" userId="ef61a327-935a-41df-8140-b55c5fbbd926" providerId="ADAL" clId="{E28C3372-29F8-4498-8732-6260B4E6B964}" dt="2023-02-09T09:30:30.355" v="679"/>
          <ac:spMkLst>
            <pc:docMk/>
            <pc:sldMk cId="1782460719" sldId="2147470904"/>
            <ac:spMk id="19" creationId="{34FF7EC8-83AE-F639-959D-CE6911E4184F}"/>
          </ac:spMkLst>
        </pc:spChg>
        <pc:spChg chg="add del mod">
          <ac:chgData name="DOTOU-SEGLA Jean-Prince" userId="ef61a327-935a-41df-8140-b55c5fbbd926" providerId="ADAL" clId="{E28C3372-29F8-4498-8732-6260B4E6B964}" dt="2023-02-09T09:30:30.355" v="679"/>
          <ac:spMkLst>
            <pc:docMk/>
            <pc:sldMk cId="1782460719" sldId="2147470904"/>
            <ac:spMk id="20" creationId="{E50A9E25-12A0-DA34-CB3A-1DE6493808B6}"/>
          </ac:spMkLst>
        </pc:spChg>
        <pc:spChg chg="mod">
          <ac:chgData name="DOTOU-SEGLA Jean-Prince" userId="ef61a327-935a-41df-8140-b55c5fbbd926" providerId="ADAL" clId="{E28C3372-29F8-4498-8732-6260B4E6B964}" dt="2023-02-09T09:30:27.255" v="676"/>
          <ac:spMkLst>
            <pc:docMk/>
            <pc:sldMk cId="1782460719" sldId="2147470904"/>
            <ac:spMk id="23" creationId="{FA574A61-AD9A-D773-2E17-5855BD351F1A}"/>
          </ac:spMkLst>
        </pc:spChg>
        <pc:spChg chg="mod">
          <ac:chgData name="DOTOU-SEGLA Jean-Prince" userId="ef61a327-935a-41df-8140-b55c5fbbd926" providerId="ADAL" clId="{E28C3372-29F8-4498-8732-6260B4E6B964}" dt="2023-02-09T09:30:27.255" v="676"/>
          <ac:spMkLst>
            <pc:docMk/>
            <pc:sldMk cId="1782460719" sldId="2147470904"/>
            <ac:spMk id="26" creationId="{5CB7E07E-030E-DF1E-E884-D06EA67CF9EF}"/>
          </ac:spMkLst>
        </pc:spChg>
        <pc:spChg chg="mod">
          <ac:chgData name="DOTOU-SEGLA Jean-Prince" userId="ef61a327-935a-41df-8140-b55c5fbbd926" providerId="ADAL" clId="{E28C3372-29F8-4498-8732-6260B4E6B964}" dt="2023-02-09T09:30:27.255" v="676"/>
          <ac:spMkLst>
            <pc:docMk/>
            <pc:sldMk cId="1782460719" sldId="2147470904"/>
            <ac:spMk id="29" creationId="{8C775568-D741-A6B0-8DBC-1432F481C3B3}"/>
          </ac:spMkLst>
        </pc:spChg>
        <pc:spChg chg="mod">
          <ac:chgData name="DOTOU-SEGLA Jean-Prince" userId="ef61a327-935a-41df-8140-b55c5fbbd926" providerId="ADAL" clId="{E28C3372-29F8-4498-8732-6260B4E6B964}" dt="2023-02-09T09:30:27.255" v="676"/>
          <ac:spMkLst>
            <pc:docMk/>
            <pc:sldMk cId="1782460719" sldId="2147470904"/>
            <ac:spMk id="32" creationId="{880FC66D-558B-7D53-D68B-442789280E2A}"/>
          </ac:spMkLst>
        </pc:spChg>
        <pc:spChg chg="add del mod">
          <ac:chgData name="DOTOU-SEGLA Jean-Prince" userId="ef61a327-935a-41df-8140-b55c5fbbd926" providerId="ADAL" clId="{E28C3372-29F8-4498-8732-6260B4E6B964}" dt="2023-02-09T09:30:30.355" v="679"/>
          <ac:spMkLst>
            <pc:docMk/>
            <pc:sldMk cId="1782460719" sldId="2147470904"/>
            <ac:spMk id="34" creationId="{F684AFBD-506F-DF84-7349-2B45810E4BE6}"/>
          </ac:spMkLst>
        </pc:spChg>
        <pc:spChg chg="add del mod">
          <ac:chgData name="DOTOU-SEGLA Jean-Prince" userId="ef61a327-935a-41df-8140-b55c5fbbd926" providerId="ADAL" clId="{E28C3372-29F8-4498-8732-6260B4E6B964}" dt="2023-02-09T09:30:30.355" v="679"/>
          <ac:spMkLst>
            <pc:docMk/>
            <pc:sldMk cId="1782460719" sldId="2147470904"/>
            <ac:spMk id="35" creationId="{C9812EBB-151D-F93C-757F-A0CABF2B1D99}"/>
          </ac:spMkLst>
        </pc:spChg>
        <pc:grpChg chg="add del mod">
          <ac:chgData name="DOTOU-SEGLA Jean-Prince" userId="ef61a327-935a-41df-8140-b55c5fbbd926" providerId="ADAL" clId="{E28C3372-29F8-4498-8732-6260B4E6B964}" dt="2023-02-09T09:30:30.355" v="679"/>
          <ac:grpSpMkLst>
            <pc:docMk/>
            <pc:sldMk cId="1782460719" sldId="2147470904"/>
            <ac:grpSpMk id="4" creationId="{A2A124A3-A6F7-B3EA-F173-1AC12C415020}"/>
          </ac:grpSpMkLst>
        </pc:grpChg>
        <pc:grpChg chg="add del mod">
          <ac:chgData name="DOTOU-SEGLA Jean-Prince" userId="ef61a327-935a-41df-8140-b55c5fbbd926" providerId="ADAL" clId="{E28C3372-29F8-4498-8732-6260B4E6B964}" dt="2023-02-09T09:30:30.355" v="679"/>
          <ac:grpSpMkLst>
            <pc:docMk/>
            <pc:sldMk cId="1782460719" sldId="2147470904"/>
            <ac:grpSpMk id="22" creationId="{F617A90D-6B38-C981-6BEA-9E7171A59835}"/>
          </ac:grpSpMkLst>
        </pc:grpChg>
        <pc:grpChg chg="add del mod">
          <ac:chgData name="DOTOU-SEGLA Jean-Prince" userId="ef61a327-935a-41df-8140-b55c5fbbd926" providerId="ADAL" clId="{E28C3372-29F8-4498-8732-6260B4E6B964}" dt="2023-02-09T09:30:30.355" v="679"/>
          <ac:grpSpMkLst>
            <pc:docMk/>
            <pc:sldMk cId="1782460719" sldId="2147470904"/>
            <ac:grpSpMk id="25" creationId="{C5B73E04-0526-55C1-E96F-94B07F487B66}"/>
          </ac:grpSpMkLst>
        </pc:grpChg>
        <pc:grpChg chg="add del mod">
          <ac:chgData name="DOTOU-SEGLA Jean-Prince" userId="ef61a327-935a-41df-8140-b55c5fbbd926" providerId="ADAL" clId="{E28C3372-29F8-4498-8732-6260B4E6B964}" dt="2023-02-09T09:30:30.355" v="679"/>
          <ac:grpSpMkLst>
            <pc:docMk/>
            <pc:sldMk cId="1782460719" sldId="2147470904"/>
            <ac:grpSpMk id="28" creationId="{B53F0DEA-0B18-8AF6-92EA-AA8A635AA23E}"/>
          </ac:grpSpMkLst>
        </pc:grpChg>
        <pc:grpChg chg="add del mod">
          <ac:chgData name="DOTOU-SEGLA Jean-Prince" userId="ef61a327-935a-41df-8140-b55c5fbbd926" providerId="ADAL" clId="{E28C3372-29F8-4498-8732-6260B4E6B964}" dt="2023-02-09T09:30:30.355" v="679"/>
          <ac:grpSpMkLst>
            <pc:docMk/>
            <pc:sldMk cId="1782460719" sldId="2147470904"/>
            <ac:grpSpMk id="31" creationId="{F7C5F4D2-645F-271F-B84E-561B03DE8F63}"/>
          </ac:grpSpMkLst>
        </pc:grpChg>
        <pc:graphicFrameChg chg="add mod modGraphic">
          <ac:chgData name="DOTOU-SEGLA Jean-Prince" userId="ef61a327-935a-41df-8140-b55c5fbbd926" providerId="ADAL" clId="{E28C3372-29F8-4498-8732-6260B4E6B964}" dt="2023-02-09T10:07:35.896" v="1201"/>
          <ac:graphicFrameMkLst>
            <pc:docMk/>
            <pc:sldMk cId="1782460719" sldId="2147470904"/>
            <ac:graphicFrameMk id="38" creationId="{0F5A36C0-2395-7B6B-7374-799729AC702C}"/>
          </ac:graphicFrameMkLst>
        </pc:graphicFrameChg>
        <pc:picChg chg="del mod">
          <ac:chgData name="DOTOU-SEGLA Jean-Prince" userId="ef61a327-935a-41df-8140-b55c5fbbd926" providerId="ADAL" clId="{E28C3372-29F8-4498-8732-6260B4E6B964}" dt="2023-02-09T09:30:26.870" v="675" actId="478"/>
          <ac:picMkLst>
            <pc:docMk/>
            <pc:sldMk cId="1782460719" sldId="2147470904"/>
            <ac:picMk id="3" creationId="{7CFFC50D-36DE-41A7-AB72-14436549225B}"/>
          </ac:picMkLst>
        </pc:picChg>
        <pc:picChg chg="mod">
          <ac:chgData name="DOTOU-SEGLA Jean-Prince" userId="ef61a327-935a-41df-8140-b55c5fbbd926" providerId="ADAL" clId="{E28C3372-29F8-4498-8732-6260B4E6B964}" dt="2023-02-09T09:30:27.255" v="676"/>
          <ac:picMkLst>
            <pc:docMk/>
            <pc:sldMk cId="1782460719" sldId="2147470904"/>
            <ac:picMk id="13" creationId="{C000D43B-9F5D-5EB9-8146-698D548FF67F}"/>
          </ac:picMkLst>
        </pc:picChg>
        <pc:picChg chg="mod">
          <ac:chgData name="DOTOU-SEGLA Jean-Prince" userId="ef61a327-935a-41df-8140-b55c5fbbd926" providerId="ADAL" clId="{E28C3372-29F8-4498-8732-6260B4E6B964}" dt="2023-02-09T09:30:27.255" v="676"/>
          <ac:picMkLst>
            <pc:docMk/>
            <pc:sldMk cId="1782460719" sldId="2147470904"/>
            <ac:picMk id="14" creationId="{9E62AA3E-E5E2-E38F-9106-113FCA86400E}"/>
          </ac:picMkLst>
        </pc:picChg>
        <pc:picChg chg="mod">
          <ac:chgData name="DOTOU-SEGLA Jean-Prince" userId="ef61a327-935a-41df-8140-b55c5fbbd926" providerId="ADAL" clId="{E28C3372-29F8-4498-8732-6260B4E6B964}" dt="2023-02-09T09:30:27.255" v="676"/>
          <ac:picMkLst>
            <pc:docMk/>
            <pc:sldMk cId="1782460719" sldId="2147470904"/>
            <ac:picMk id="15" creationId="{62003DD5-8149-39D6-A4B8-929CE18794C8}"/>
          </ac:picMkLst>
        </pc:picChg>
        <pc:picChg chg="add del mod">
          <ac:chgData name="DOTOU-SEGLA Jean-Prince" userId="ef61a327-935a-41df-8140-b55c5fbbd926" providerId="ADAL" clId="{E28C3372-29F8-4498-8732-6260B4E6B964}" dt="2023-02-09T09:30:30.355" v="679"/>
          <ac:picMkLst>
            <pc:docMk/>
            <pc:sldMk cId="1782460719" sldId="2147470904"/>
            <ac:picMk id="21" creationId="{029AA5C3-DAD3-7113-B2A8-7B36CF226687}"/>
          </ac:picMkLst>
        </pc:picChg>
        <pc:picChg chg="mod">
          <ac:chgData name="DOTOU-SEGLA Jean-Prince" userId="ef61a327-935a-41df-8140-b55c5fbbd926" providerId="ADAL" clId="{E28C3372-29F8-4498-8732-6260B4E6B964}" dt="2023-02-09T09:30:27.255" v="676"/>
          <ac:picMkLst>
            <pc:docMk/>
            <pc:sldMk cId="1782460719" sldId="2147470904"/>
            <ac:picMk id="24" creationId="{1B9A5914-5F7E-3A84-18B2-D0DB964A2D65}"/>
          </ac:picMkLst>
        </pc:picChg>
        <pc:picChg chg="mod">
          <ac:chgData name="DOTOU-SEGLA Jean-Prince" userId="ef61a327-935a-41df-8140-b55c5fbbd926" providerId="ADAL" clId="{E28C3372-29F8-4498-8732-6260B4E6B964}" dt="2023-02-09T09:30:27.255" v="676"/>
          <ac:picMkLst>
            <pc:docMk/>
            <pc:sldMk cId="1782460719" sldId="2147470904"/>
            <ac:picMk id="27" creationId="{FDC16448-91D8-1041-45DD-6D99707DB2FC}"/>
          </ac:picMkLst>
        </pc:picChg>
        <pc:picChg chg="mod">
          <ac:chgData name="DOTOU-SEGLA Jean-Prince" userId="ef61a327-935a-41df-8140-b55c5fbbd926" providerId="ADAL" clId="{E28C3372-29F8-4498-8732-6260B4E6B964}" dt="2023-02-09T09:30:27.255" v="676"/>
          <ac:picMkLst>
            <pc:docMk/>
            <pc:sldMk cId="1782460719" sldId="2147470904"/>
            <ac:picMk id="30" creationId="{FCE63EF7-2F08-4846-3EF6-BF8B90418EBB}"/>
          </ac:picMkLst>
        </pc:picChg>
        <pc:picChg chg="mod">
          <ac:chgData name="DOTOU-SEGLA Jean-Prince" userId="ef61a327-935a-41df-8140-b55c5fbbd926" providerId="ADAL" clId="{E28C3372-29F8-4498-8732-6260B4E6B964}" dt="2023-02-09T09:30:27.255" v="676"/>
          <ac:picMkLst>
            <pc:docMk/>
            <pc:sldMk cId="1782460719" sldId="2147470904"/>
            <ac:picMk id="33" creationId="{63D6942C-2DA4-3674-AB43-060E982240E4}"/>
          </ac:picMkLst>
        </pc:picChg>
        <pc:picChg chg="add del mod">
          <ac:chgData name="DOTOU-SEGLA Jean-Prince" userId="ef61a327-935a-41df-8140-b55c5fbbd926" providerId="ADAL" clId="{E28C3372-29F8-4498-8732-6260B4E6B964}" dt="2023-02-09T09:56:06.337" v="1114" actId="478"/>
          <ac:picMkLst>
            <pc:docMk/>
            <pc:sldMk cId="1782460719" sldId="2147470904"/>
            <ac:picMk id="36" creationId="{764C7113-3C19-8534-28CC-11885EFE0BB4}"/>
          </ac:picMkLst>
        </pc:picChg>
      </pc:sldChg>
      <pc:sldChg chg="addSp delSp modSp add del mod modAnim">
        <pc:chgData name="DOTOU-SEGLA Jean-Prince" userId="ef61a327-935a-41df-8140-b55c5fbbd926" providerId="ADAL" clId="{E28C3372-29F8-4498-8732-6260B4E6B964}" dt="2023-02-09T09:33:28.150" v="691" actId="47"/>
        <pc:sldMkLst>
          <pc:docMk/>
          <pc:sldMk cId="3321010510" sldId="2147470905"/>
        </pc:sldMkLst>
        <pc:spChg chg="mod">
          <ac:chgData name="DOTOU-SEGLA Jean-Prince" userId="ef61a327-935a-41df-8140-b55c5fbbd926" providerId="ADAL" clId="{E28C3372-29F8-4498-8732-6260B4E6B964}" dt="2023-02-08T17:41:10.070" v="29" actId="20577"/>
          <ac:spMkLst>
            <pc:docMk/>
            <pc:sldMk cId="3321010510" sldId="2147470905"/>
            <ac:spMk id="7" creationId="{1C2A96EF-620B-44BE-8CC7-65F448AA7267}"/>
          </ac:spMkLst>
        </pc:spChg>
        <pc:spChg chg="mod">
          <ac:chgData name="DOTOU-SEGLA Jean-Prince" userId="ef61a327-935a-41df-8140-b55c5fbbd926" providerId="ADAL" clId="{E28C3372-29F8-4498-8732-6260B4E6B964}" dt="2023-02-08T17:55:00.815" v="367" actId="20577"/>
          <ac:spMkLst>
            <pc:docMk/>
            <pc:sldMk cId="3321010510" sldId="2147470905"/>
            <ac:spMk id="8" creationId="{3EAD7FAE-813A-4E33-AE06-A5D3D8E3548B}"/>
          </ac:spMkLst>
        </pc:spChg>
        <pc:spChg chg="mod">
          <ac:chgData name="DOTOU-SEGLA Jean-Prince" userId="ef61a327-935a-41df-8140-b55c5fbbd926" providerId="ADAL" clId="{E28C3372-29F8-4498-8732-6260B4E6B964}" dt="2023-02-08T17:40:49.628" v="10"/>
          <ac:spMkLst>
            <pc:docMk/>
            <pc:sldMk cId="3321010510" sldId="2147470905"/>
            <ac:spMk id="9" creationId="{D9E485B6-0C5B-5C15-F616-C435A771F7F5}"/>
          </ac:spMkLst>
        </pc:spChg>
        <pc:spChg chg="mod">
          <ac:chgData name="DOTOU-SEGLA Jean-Prince" userId="ef61a327-935a-41df-8140-b55c5fbbd926" providerId="ADAL" clId="{E28C3372-29F8-4498-8732-6260B4E6B964}" dt="2023-02-08T17:40:49.628" v="10"/>
          <ac:spMkLst>
            <pc:docMk/>
            <pc:sldMk cId="3321010510" sldId="2147470905"/>
            <ac:spMk id="10" creationId="{4ED6D81A-C359-C4B7-BE58-0206C8089034}"/>
          </ac:spMkLst>
        </pc:spChg>
        <pc:spChg chg="mod">
          <ac:chgData name="DOTOU-SEGLA Jean-Prince" userId="ef61a327-935a-41df-8140-b55c5fbbd926" providerId="ADAL" clId="{E28C3372-29F8-4498-8732-6260B4E6B964}" dt="2023-02-08T17:40:49.628" v="10"/>
          <ac:spMkLst>
            <pc:docMk/>
            <pc:sldMk cId="3321010510" sldId="2147470905"/>
            <ac:spMk id="11" creationId="{1C183E80-AFB6-284A-8EF1-ADBDD515CAA5}"/>
          </ac:spMkLst>
        </pc:spChg>
        <pc:spChg chg="mod">
          <ac:chgData name="DOTOU-SEGLA Jean-Prince" userId="ef61a327-935a-41df-8140-b55c5fbbd926" providerId="ADAL" clId="{E28C3372-29F8-4498-8732-6260B4E6B964}" dt="2023-02-08T17:40:49.628" v="10"/>
          <ac:spMkLst>
            <pc:docMk/>
            <pc:sldMk cId="3321010510" sldId="2147470905"/>
            <ac:spMk id="12" creationId="{1DEB9090-C615-9446-0912-D709160D42DC}"/>
          </ac:spMkLst>
        </pc:spChg>
        <pc:spChg chg="add del mod">
          <ac:chgData name="DOTOU-SEGLA Jean-Prince" userId="ef61a327-935a-41df-8140-b55c5fbbd926" providerId="ADAL" clId="{E28C3372-29F8-4498-8732-6260B4E6B964}" dt="2023-02-08T17:40:52.088" v="11"/>
          <ac:spMkLst>
            <pc:docMk/>
            <pc:sldMk cId="3321010510" sldId="2147470905"/>
            <ac:spMk id="16" creationId="{05B6DDEE-0B34-F5E5-A357-329563475686}"/>
          </ac:spMkLst>
        </pc:spChg>
        <pc:spChg chg="add del mod">
          <ac:chgData name="DOTOU-SEGLA Jean-Prince" userId="ef61a327-935a-41df-8140-b55c5fbbd926" providerId="ADAL" clId="{E28C3372-29F8-4498-8732-6260B4E6B964}" dt="2023-02-08T17:40:52.088" v="11"/>
          <ac:spMkLst>
            <pc:docMk/>
            <pc:sldMk cId="3321010510" sldId="2147470905"/>
            <ac:spMk id="17" creationId="{D8790147-FFAE-8E03-DDAB-FCAE5D338C19}"/>
          </ac:spMkLst>
        </pc:spChg>
        <pc:spChg chg="add del mod">
          <ac:chgData name="DOTOU-SEGLA Jean-Prince" userId="ef61a327-935a-41df-8140-b55c5fbbd926" providerId="ADAL" clId="{E28C3372-29F8-4498-8732-6260B4E6B964}" dt="2023-02-08T17:40:52.088" v="11"/>
          <ac:spMkLst>
            <pc:docMk/>
            <pc:sldMk cId="3321010510" sldId="2147470905"/>
            <ac:spMk id="18" creationId="{9860C132-480F-BB90-B68F-89D9B75CFAB5}"/>
          </ac:spMkLst>
        </pc:spChg>
        <pc:spChg chg="add del mod">
          <ac:chgData name="DOTOU-SEGLA Jean-Prince" userId="ef61a327-935a-41df-8140-b55c5fbbd926" providerId="ADAL" clId="{E28C3372-29F8-4498-8732-6260B4E6B964}" dt="2023-02-08T17:40:52.088" v="11"/>
          <ac:spMkLst>
            <pc:docMk/>
            <pc:sldMk cId="3321010510" sldId="2147470905"/>
            <ac:spMk id="19" creationId="{70E59392-DD0F-6CA8-01ED-656D501FA4C1}"/>
          </ac:spMkLst>
        </pc:spChg>
        <pc:spChg chg="add del mod">
          <ac:chgData name="DOTOU-SEGLA Jean-Prince" userId="ef61a327-935a-41df-8140-b55c5fbbd926" providerId="ADAL" clId="{E28C3372-29F8-4498-8732-6260B4E6B964}" dt="2023-02-08T17:40:52.088" v="11"/>
          <ac:spMkLst>
            <pc:docMk/>
            <pc:sldMk cId="3321010510" sldId="2147470905"/>
            <ac:spMk id="20" creationId="{72585B17-36E0-F36F-8645-065D5C06BAAD}"/>
          </ac:spMkLst>
        </pc:spChg>
        <pc:spChg chg="mod">
          <ac:chgData name="DOTOU-SEGLA Jean-Prince" userId="ef61a327-935a-41df-8140-b55c5fbbd926" providerId="ADAL" clId="{E28C3372-29F8-4498-8732-6260B4E6B964}" dt="2023-02-08T17:40:49.628" v="10"/>
          <ac:spMkLst>
            <pc:docMk/>
            <pc:sldMk cId="3321010510" sldId="2147470905"/>
            <ac:spMk id="23" creationId="{BA74F037-69DC-38FC-8208-3C700BF608FF}"/>
          </ac:spMkLst>
        </pc:spChg>
        <pc:spChg chg="mod">
          <ac:chgData name="DOTOU-SEGLA Jean-Prince" userId="ef61a327-935a-41df-8140-b55c5fbbd926" providerId="ADAL" clId="{E28C3372-29F8-4498-8732-6260B4E6B964}" dt="2023-02-08T17:40:49.628" v="10"/>
          <ac:spMkLst>
            <pc:docMk/>
            <pc:sldMk cId="3321010510" sldId="2147470905"/>
            <ac:spMk id="26" creationId="{1D55A89D-AC3A-99C0-5749-249D5BC48766}"/>
          </ac:spMkLst>
        </pc:spChg>
        <pc:spChg chg="mod">
          <ac:chgData name="DOTOU-SEGLA Jean-Prince" userId="ef61a327-935a-41df-8140-b55c5fbbd926" providerId="ADAL" clId="{E28C3372-29F8-4498-8732-6260B4E6B964}" dt="2023-02-08T17:40:49.628" v="10"/>
          <ac:spMkLst>
            <pc:docMk/>
            <pc:sldMk cId="3321010510" sldId="2147470905"/>
            <ac:spMk id="29" creationId="{F0D7B727-0049-E4F2-DE3F-0BCC7FB1CDD8}"/>
          </ac:spMkLst>
        </pc:spChg>
        <pc:spChg chg="mod">
          <ac:chgData name="DOTOU-SEGLA Jean-Prince" userId="ef61a327-935a-41df-8140-b55c5fbbd926" providerId="ADAL" clId="{E28C3372-29F8-4498-8732-6260B4E6B964}" dt="2023-02-08T17:40:49.628" v="10"/>
          <ac:spMkLst>
            <pc:docMk/>
            <pc:sldMk cId="3321010510" sldId="2147470905"/>
            <ac:spMk id="32" creationId="{F228F99A-CEA6-3090-A0D9-7F081E29EDE0}"/>
          </ac:spMkLst>
        </pc:spChg>
        <pc:spChg chg="add del mod">
          <ac:chgData name="DOTOU-SEGLA Jean-Prince" userId="ef61a327-935a-41df-8140-b55c5fbbd926" providerId="ADAL" clId="{E28C3372-29F8-4498-8732-6260B4E6B964}" dt="2023-02-08T17:40:52.088" v="11"/>
          <ac:spMkLst>
            <pc:docMk/>
            <pc:sldMk cId="3321010510" sldId="2147470905"/>
            <ac:spMk id="34" creationId="{8C42745A-4786-BF26-78E0-84CF9CACCD80}"/>
          </ac:spMkLst>
        </pc:spChg>
        <pc:spChg chg="add del mod">
          <ac:chgData name="DOTOU-SEGLA Jean-Prince" userId="ef61a327-935a-41df-8140-b55c5fbbd926" providerId="ADAL" clId="{E28C3372-29F8-4498-8732-6260B4E6B964}" dt="2023-02-08T17:40:52.088" v="11"/>
          <ac:spMkLst>
            <pc:docMk/>
            <pc:sldMk cId="3321010510" sldId="2147470905"/>
            <ac:spMk id="35" creationId="{C03F5CE9-6B66-7057-46B8-118EE972A15A}"/>
          </ac:spMkLst>
        </pc:spChg>
        <pc:grpChg chg="add del mod">
          <ac:chgData name="DOTOU-SEGLA Jean-Prince" userId="ef61a327-935a-41df-8140-b55c5fbbd926" providerId="ADAL" clId="{E28C3372-29F8-4498-8732-6260B4E6B964}" dt="2023-02-08T17:40:52.088" v="11"/>
          <ac:grpSpMkLst>
            <pc:docMk/>
            <pc:sldMk cId="3321010510" sldId="2147470905"/>
            <ac:grpSpMk id="4" creationId="{2F8B1323-BD61-648F-4417-6D0014D7B55A}"/>
          </ac:grpSpMkLst>
        </pc:grpChg>
        <pc:grpChg chg="add del mod">
          <ac:chgData name="DOTOU-SEGLA Jean-Prince" userId="ef61a327-935a-41df-8140-b55c5fbbd926" providerId="ADAL" clId="{E28C3372-29F8-4498-8732-6260B4E6B964}" dt="2023-02-08T17:40:52.088" v="11"/>
          <ac:grpSpMkLst>
            <pc:docMk/>
            <pc:sldMk cId="3321010510" sldId="2147470905"/>
            <ac:grpSpMk id="22" creationId="{CAD0482F-7E1F-9E64-AB94-6B1CD953C8EC}"/>
          </ac:grpSpMkLst>
        </pc:grpChg>
        <pc:grpChg chg="add del mod">
          <ac:chgData name="DOTOU-SEGLA Jean-Prince" userId="ef61a327-935a-41df-8140-b55c5fbbd926" providerId="ADAL" clId="{E28C3372-29F8-4498-8732-6260B4E6B964}" dt="2023-02-08T17:40:52.088" v="11"/>
          <ac:grpSpMkLst>
            <pc:docMk/>
            <pc:sldMk cId="3321010510" sldId="2147470905"/>
            <ac:grpSpMk id="25" creationId="{38008510-9878-9448-8B8F-DFEA678CD4D0}"/>
          </ac:grpSpMkLst>
        </pc:grpChg>
        <pc:grpChg chg="add del mod">
          <ac:chgData name="DOTOU-SEGLA Jean-Prince" userId="ef61a327-935a-41df-8140-b55c5fbbd926" providerId="ADAL" clId="{E28C3372-29F8-4498-8732-6260B4E6B964}" dt="2023-02-08T17:40:52.088" v="11"/>
          <ac:grpSpMkLst>
            <pc:docMk/>
            <pc:sldMk cId="3321010510" sldId="2147470905"/>
            <ac:grpSpMk id="28" creationId="{C35580EE-C2E1-90A4-D3A9-C5916F12E43A}"/>
          </ac:grpSpMkLst>
        </pc:grpChg>
        <pc:grpChg chg="add del mod">
          <ac:chgData name="DOTOU-SEGLA Jean-Prince" userId="ef61a327-935a-41df-8140-b55c5fbbd926" providerId="ADAL" clId="{E28C3372-29F8-4498-8732-6260B4E6B964}" dt="2023-02-08T17:40:52.088" v="11"/>
          <ac:grpSpMkLst>
            <pc:docMk/>
            <pc:sldMk cId="3321010510" sldId="2147470905"/>
            <ac:grpSpMk id="31" creationId="{6169A3B4-613C-5014-751C-C4F5D11A062D}"/>
          </ac:grpSpMkLst>
        </pc:grpChg>
        <pc:graphicFrameChg chg="add mod modGraphic">
          <ac:chgData name="DOTOU-SEGLA Jean-Prince" userId="ef61a327-935a-41df-8140-b55c5fbbd926" providerId="ADAL" clId="{E28C3372-29F8-4498-8732-6260B4E6B964}" dt="2023-02-08T17:45:41.189" v="225" actId="1076"/>
          <ac:graphicFrameMkLst>
            <pc:docMk/>
            <pc:sldMk cId="3321010510" sldId="2147470905"/>
            <ac:graphicFrameMk id="41" creationId="{FD05298F-FFEF-E1BE-0240-93188088F00B}"/>
          </ac:graphicFrameMkLst>
        </pc:graphicFrameChg>
        <pc:picChg chg="del">
          <ac:chgData name="DOTOU-SEGLA Jean-Prince" userId="ef61a327-935a-41df-8140-b55c5fbbd926" providerId="ADAL" clId="{E28C3372-29F8-4498-8732-6260B4E6B964}" dt="2023-02-08T17:40:49.247" v="9" actId="478"/>
          <ac:picMkLst>
            <pc:docMk/>
            <pc:sldMk cId="3321010510" sldId="2147470905"/>
            <ac:picMk id="3" creationId="{7CFFC50D-36DE-41A7-AB72-14436549225B}"/>
          </ac:picMkLst>
        </pc:picChg>
        <pc:picChg chg="mod">
          <ac:chgData name="DOTOU-SEGLA Jean-Prince" userId="ef61a327-935a-41df-8140-b55c5fbbd926" providerId="ADAL" clId="{E28C3372-29F8-4498-8732-6260B4E6B964}" dt="2023-02-08T17:40:49.628" v="10"/>
          <ac:picMkLst>
            <pc:docMk/>
            <pc:sldMk cId="3321010510" sldId="2147470905"/>
            <ac:picMk id="13" creationId="{EC942C0D-E37A-B104-9823-53727804674A}"/>
          </ac:picMkLst>
        </pc:picChg>
        <pc:picChg chg="mod">
          <ac:chgData name="DOTOU-SEGLA Jean-Prince" userId="ef61a327-935a-41df-8140-b55c5fbbd926" providerId="ADAL" clId="{E28C3372-29F8-4498-8732-6260B4E6B964}" dt="2023-02-08T17:40:49.628" v="10"/>
          <ac:picMkLst>
            <pc:docMk/>
            <pc:sldMk cId="3321010510" sldId="2147470905"/>
            <ac:picMk id="14" creationId="{56A09B5F-3F6B-A911-C651-5527F5C1FF0F}"/>
          </ac:picMkLst>
        </pc:picChg>
        <pc:picChg chg="mod">
          <ac:chgData name="DOTOU-SEGLA Jean-Prince" userId="ef61a327-935a-41df-8140-b55c5fbbd926" providerId="ADAL" clId="{E28C3372-29F8-4498-8732-6260B4E6B964}" dt="2023-02-08T17:40:49.628" v="10"/>
          <ac:picMkLst>
            <pc:docMk/>
            <pc:sldMk cId="3321010510" sldId="2147470905"/>
            <ac:picMk id="15" creationId="{CC6C09B5-CF60-8C64-A331-758316F6CA3A}"/>
          </ac:picMkLst>
        </pc:picChg>
        <pc:picChg chg="add del mod">
          <ac:chgData name="DOTOU-SEGLA Jean-Prince" userId="ef61a327-935a-41df-8140-b55c5fbbd926" providerId="ADAL" clId="{E28C3372-29F8-4498-8732-6260B4E6B964}" dt="2023-02-08T17:40:52.088" v="11"/>
          <ac:picMkLst>
            <pc:docMk/>
            <pc:sldMk cId="3321010510" sldId="2147470905"/>
            <ac:picMk id="21" creationId="{887049F7-2CFC-A9DF-DC93-E6025F01666A}"/>
          </ac:picMkLst>
        </pc:picChg>
        <pc:picChg chg="mod">
          <ac:chgData name="DOTOU-SEGLA Jean-Prince" userId="ef61a327-935a-41df-8140-b55c5fbbd926" providerId="ADAL" clId="{E28C3372-29F8-4498-8732-6260B4E6B964}" dt="2023-02-08T17:40:49.628" v="10"/>
          <ac:picMkLst>
            <pc:docMk/>
            <pc:sldMk cId="3321010510" sldId="2147470905"/>
            <ac:picMk id="24" creationId="{84706CB2-A0F3-1F23-6BD5-80B6DCD0C63A}"/>
          </ac:picMkLst>
        </pc:picChg>
        <pc:picChg chg="mod">
          <ac:chgData name="DOTOU-SEGLA Jean-Prince" userId="ef61a327-935a-41df-8140-b55c5fbbd926" providerId="ADAL" clId="{E28C3372-29F8-4498-8732-6260B4E6B964}" dt="2023-02-08T17:40:49.628" v="10"/>
          <ac:picMkLst>
            <pc:docMk/>
            <pc:sldMk cId="3321010510" sldId="2147470905"/>
            <ac:picMk id="27" creationId="{9F47D2C2-4A76-06D9-47C1-122A719B6F12}"/>
          </ac:picMkLst>
        </pc:picChg>
        <pc:picChg chg="mod">
          <ac:chgData name="DOTOU-SEGLA Jean-Prince" userId="ef61a327-935a-41df-8140-b55c5fbbd926" providerId="ADAL" clId="{E28C3372-29F8-4498-8732-6260B4E6B964}" dt="2023-02-08T17:40:49.628" v="10"/>
          <ac:picMkLst>
            <pc:docMk/>
            <pc:sldMk cId="3321010510" sldId="2147470905"/>
            <ac:picMk id="30" creationId="{4B9DE255-6CAF-6A39-2B50-7277B6C7C664}"/>
          </ac:picMkLst>
        </pc:picChg>
        <pc:picChg chg="mod">
          <ac:chgData name="DOTOU-SEGLA Jean-Prince" userId="ef61a327-935a-41df-8140-b55c5fbbd926" providerId="ADAL" clId="{E28C3372-29F8-4498-8732-6260B4E6B964}" dt="2023-02-08T17:40:49.628" v="10"/>
          <ac:picMkLst>
            <pc:docMk/>
            <pc:sldMk cId="3321010510" sldId="2147470905"/>
            <ac:picMk id="33" creationId="{44EA1DBF-27E8-75EF-DFD0-58367145DED3}"/>
          </ac:picMkLst>
        </pc:picChg>
        <pc:picChg chg="add mod ord">
          <ac:chgData name="DOTOU-SEGLA Jean-Prince" userId="ef61a327-935a-41df-8140-b55c5fbbd926" providerId="ADAL" clId="{E28C3372-29F8-4498-8732-6260B4E6B964}" dt="2023-02-08T17:45:39.226" v="224" actId="166"/>
          <ac:picMkLst>
            <pc:docMk/>
            <pc:sldMk cId="3321010510" sldId="2147470905"/>
            <ac:picMk id="36" creationId="{AC20F2C2-48D0-CB3E-385B-2992D21FD9DD}"/>
          </ac:picMkLst>
        </pc:picChg>
        <pc:picChg chg="add del mod">
          <ac:chgData name="DOTOU-SEGLA Jean-Prince" userId="ef61a327-935a-41df-8140-b55c5fbbd926" providerId="ADAL" clId="{E28C3372-29F8-4498-8732-6260B4E6B964}" dt="2023-02-08T17:43:39.585" v="201"/>
          <ac:picMkLst>
            <pc:docMk/>
            <pc:sldMk cId="3321010510" sldId="2147470905"/>
            <ac:picMk id="37" creationId="{690FA913-DA17-84E7-9722-E763D8BD5774}"/>
          </ac:picMkLst>
        </pc:picChg>
        <pc:picChg chg="add del mod">
          <ac:chgData name="DOTOU-SEGLA Jean-Prince" userId="ef61a327-935a-41df-8140-b55c5fbbd926" providerId="ADAL" clId="{E28C3372-29F8-4498-8732-6260B4E6B964}" dt="2023-02-08T17:43:39.585" v="201"/>
          <ac:picMkLst>
            <pc:docMk/>
            <pc:sldMk cId="3321010510" sldId="2147470905"/>
            <ac:picMk id="38" creationId="{AE7C4D2D-3EEF-FB6F-467D-0A421FA0C64D}"/>
          </ac:picMkLst>
        </pc:picChg>
        <pc:picChg chg="add del">
          <ac:chgData name="DOTOU-SEGLA Jean-Prince" userId="ef61a327-935a-41df-8140-b55c5fbbd926" providerId="ADAL" clId="{E28C3372-29F8-4498-8732-6260B4E6B964}" dt="2023-02-08T17:43:42.522" v="203"/>
          <ac:picMkLst>
            <pc:docMk/>
            <pc:sldMk cId="3321010510" sldId="2147470905"/>
            <ac:picMk id="39" creationId="{DA8DC869-1C6E-CC7B-A697-08740AFB5EEB}"/>
          </ac:picMkLst>
        </pc:picChg>
      </pc:sldChg>
      <pc:sldChg chg="modSp mod">
        <pc:chgData name="DOTOU-SEGLA Jean-Prince" userId="ef61a327-935a-41df-8140-b55c5fbbd926" providerId="ADAL" clId="{E28C3372-29F8-4498-8732-6260B4E6B964}" dt="2023-02-21T14:45:25.170" v="2245" actId="20577"/>
        <pc:sldMkLst>
          <pc:docMk/>
          <pc:sldMk cId="4105862919" sldId="2147470905"/>
        </pc:sldMkLst>
        <pc:spChg chg="mod">
          <ac:chgData name="DOTOU-SEGLA Jean-Prince" userId="ef61a327-935a-41df-8140-b55c5fbbd926" providerId="ADAL" clId="{E28C3372-29F8-4498-8732-6260B4E6B964}" dt="2023-02-21T14:45:25.170" v="2245" actId="20577"/>
          <ac:spMkLst>
            <pc:docMk/>
            <pc:sldMk cId="4105862919" sldId="2147470905"/>
            <ac:spMk id="6" creationId="{B280346A-5616-9285-6DB6-D5491275A797}"/>
          </ac:spMkLst>
        </pc:spChg>
      </pc:sldChg>
      <pc:sldChg chg="addSp delSp modSp new del">
        <pc:chgData name="DOTOU-SEGLA Jean-Prince" userId="ef61a327-935a-41df-8140-b55c5fbbd926" providerId="ADAL" clId="{E28C3372-29F8-4498-8732-6260B4E6B964}" dt="2023-02-08T17:44:49.284" v="213" actId="47"/>
        <pc:sldMkLst>
          <pc:docMk/>
          <pc:sldMk cId="1326328229" sldId="2147470906"/>
        </pc:sldMkLst>
        <pc:spChg chg="add del mod">
          <ac:chgData name="DOTOU-SEGLA Jean-Prince" userId="ef61a327-935a-41df-8140-b55c5fbbd926" providerId="ADAL" clId="{E28C3372-29F8-4498-8732-6260B4E6B964}" dt="2023-02-08T17:44:42.441" v="211"/>
          <ac:spMkLst>
            <pc:docMk/>
            <pc:sldMk cId="1326328229" sldId="2147470906"/>
            <ac:spMk id="4" creationId="{EAAE61D9-9459-977E-B3FC-AB0D224F8381}"/>
          </ac:spMkLst>
        </pc:spChg>
        <pc:picChg chg="add del mod">
          <ac:chgData name="DOTOU-SEGLA Jean-Prince" userId="ef61a327-935a-41df-8140-b55c5fbbd926" providerId="ADAL" clId="{E28C3372-29F8-4498-8732-6260B4E6B964}" dt="2023-02-08T17:44:25.218" v="209"/>
          <ac:picMkLst>
            <pc:docMk/>
            <pc:sldMk cId="1326328229" sldId="2147470906"/>
            <ac:picMk id="2" creationId="{7C3EAF85-5F3A-41AA-FD42-049AB7A67B7E}"/>
          </ac:picMkLst>
        </pc:picChg>
        <pc:picChg chg="add del mod">
          <ac:chgData name="DOTOU-SEGLA Jean-Prince" userId="ef61a327-935a-41df-8140-b55c5fbbd926" providerId="ADAL" clId="{E28C3372-29F8-4498-8732-6260B4E6B964}" dt="2023-02-08T17:44:25.218" v="209"/>
          <ac:picMkLst>
            <pc:docMk/>
            <pc:sldMk cId="1326328229" sldId="2147470906"/>
            <ac:picMk id="3" creationId="{33E6409C-146B-FB9F-6515-FAE1D9C4885F}"/>
          </ac:picMkLst>
        </pc:picChg>
        <pc:picChg chg="add del mod">
          <ac:chgData name="DOTOU-SEGLA Jean-Prince" userId="ef61a327-935a-41df-8140-b55c5fbbd926" providerId="ADAL" clId="{E28C3372-29F8-4498-8732-6260B4E6B964}" dt="2023-02-08T17:44:42.441" v="211"/>
          <ac:picMkLst>
            <pc:docMk/>
            <pc:sldMk cId="1326328229" sldId="2147470906"/>
            <ac:picMk id="5" creationId="{10766F79-4E18-F26D-42D1-53B65DDA3941}"/>
          </ac:picMkLst>
        </pc:picChg>
        <pc:picChg chg="add del mod">
          <ac:chgData name="DOTOU-SEGLA Jean-Prince" userId="ef61a327-935a-41df-8140-b55c5fbbd926" providerId="ADAL" clId="{E28C3372-29F8-4498-8732-6260B4E6B964}" dt="2023-02-08T17:44:42.441" v="211"/>
          <ac:picMkLst>
            <pc:docMk/>
            <pc:sldMk cId="1326328229" sldId="2147470906"/>
            <ac:picMk id="6" creationId="{93CF7CD9-6A41-39F1-8104-20D319D579E8}"/>
          </ac:picMkLst>
        </pc:picChg>
      </pc:sldChg>
      <pc:sldChg chg="add del">
        <pc:chgData name="DOTOU-SEGLA Jean-Prince" userId="ef61a327-935a-41df-8140-b55c5fbbd926" providerId="ADAL" clId="{E28C3372-29F8-4498-8732-6260B4E6B964}" dt="2023-02-08T17:47:17.583" v="227" actId="47"/>
        <pc:sldMkLst>
          <pc:docMk/>
          <pc:sldMk cId="3718736114" sldId="2147470906"/>
        </pc:sldMkLst>
      </pc:sldChg>
      <pc:sldChg chg="addSp modSp mod ord">
        <pc:chgData name="DOTOU-SEGLA Jean-Prince" userId="ef61a327-935a-41df-8140-b55c5fbbd926" providerId="ADAL" clId="{E28C3372-29F8-4498-8732-6260B4E6B964}" dt="2023-03-13T09:29:23.361" v="2854"/>
        <pc:sldMkLst>
          <pc:docMk/>
          <pc:sldMk cId="3753043822" sldId="2147470906"/>
        </pc:sldMkLst>
        <pc:spChg chg="mod">
          <ac:chgData name="DOTOU-SEGLA Jean-Prince" userId="ef61a327-935a-41df-8140-b55c5fbbd926" providerId="ADAL" clId="{E28C3372-29F8-4498-8732-6260B4E6B964}" dt="2023-03-06T14:25:34.364" v="2519" actId="20577"/>
          <ac:spMkLst>
            <pc:docMk/>
            <pc:sldMk cId="3753043822" sldId="2147470906"/>
            <ac:spMk id="3" creationId="{861D616D-EEDB-7085-E926-B4CDBD5F6677}"/>
          </ac:spMkLst>
        </pc:spChg>
        <pc:spChg chg="add mod">
          <ac:chgData name="DOTOU-SEGLA Jean-Prince" userId="ef61a327-935a-41df-8140-b55c5fbbd926" providerId="ADAL" clId="{E28C3372-29F8-4498-8732-6260B4E6B964}" dt="2023-03-06T15:35:24.137" v="2840" actId="1076"/>
          <ac:spMkLst>
            <pc:docMk/>
            <pc:sldMk cId="3753043822" sldId="2147470906"/>
            <ac:spMk id="8" creationId="{FA319ED9-A1DC-FDF1-C503-0980AA3C7FEC}"/>
          </ac:spMkLst>
        </pc:spChg>
        <pc:graphicFrameChg chg="modGraphic">
          <ac:chgData name="DOTOU-SEGLA Jean-Prince" userId="ef61a327-935a-41df-8140-b55c5fbbd926" providerId="ADAL" clId="{E28C3372-29F8-4498-8732-6260B4E6B964}" dt="2023-03-06T15:37:03.289" v="2846" actId="14734"/>
          <ac:graphicFrameMkLst>
            <pc:docMk/>
            <pc:sldMk cId="3753043822" sldId="2147470906"/>
            <ac:graphicFrameMk id="7" creationId="{F4B5C520-7A25-7813-6164-F69CC04BC06F}"/>
          </ac:graphicFrameMkLst>
        </pc:graphicFrameChg>
      </pc:sldChg>
      <pc:sldChg chg="addSp delSp modSp add mod">
        <pc:chgData name="DOTOU-SEGLA Jean-Prince" userId="ef61a327-935a-41df-8140-b55c5fbbd926" providerId="ADAL" clId="{E28C3372-29F8-4498-8732-6260B4E6B964}" dt="2023-03-06T14:05:17.527" v="2465" actId="1076"/>
        <pc:sldMkLst>
          <pc:docMk/>
          <pc:sldMk cId="3527971517" sldId="2147470907"/>
        </pc:sldMkLst>
        <pc:spChg chg="mod">
          <ac:chgData name="DOTOU-SEGLA Jean-Prince" userId="ef61a327-935a-41df-8140-b55c5fbbd926" providerId="ADAL" clId="{E28C3372-29F8-4498-8732-6260B4E6B964}" dt="2023-02-14T13:42:38.417" v="1860" actId="1035"/>
          <ac:spMkLst>
            <pc:docMk/>
            <pc:sldMk cId="3527971517" sldId="2147470907"/>
            <ac:spMk id="2" creationId="{3D5DE8C4-8D5B-4E5C-9313-A9077ED0EAB9}"/>
          </ac:spMkLst>
        </pc:spChg>
        <pc:spChg chg="add del mod">
          <ac:chgData name="DOTOU-SEGLA Jean-Prince" userId="ef61a327-935a-41df-8140-b55c5fbbd926" providerId="ADAL" clId="{E28C3372-29F8-4498-8732-6260B4E6B964}" dt="2023-02-14T12:55:54.080" v="1284" actId="478"/>
          <ac:spMkLst>
            <pc:docMk/>
            <pc:sldMk cId="3527971517" sldId="2147470907"/>
            <ac:spMk id="3" creationId="{7FC57960-4049-A52E-8B61-B70393AB8E90}"/>
          </ac:spMkLst>
        </pc:spChg>
        <pc:spChg chg="add del mod">
          <ac:chgData name="DOTOU-SEGLA Jean-Prince" userId="ef61a327-935a-41df-8140-b55c5fbbd926" providerId="ADAL" clId="{E28C3372-29F8-4498-8732-6260B4E6B964}" dt="2023-02-14T13:40:03.728" v="1807"/>
          <ac:spMkLst>
            <pc:docMk/>
            <pc:sldMk cId="3527971517" sldId="2147470907"/>
            <ac:spMk id="8" creationId="{3DC581F2-8947-81A4-9E80-70DF002C8B42}"/>
          </ac:spMkLst>
        </pc:spChg>
        <pc:spChg chg="add del mod">
          <ac:chgData name="DOTOU-SEGLA Jean-Prince" userId="ef61a327-935a-41df-8140-b55c5fbbd926" providerId="ADAL" clId="{E28C3372-29F8-4498-8732-6260B4E6B964}" dt="2023-02-14T13:40:03.728" v="1807"/>
          <ac:spMkLst>
            <pc:docMk/>
            <pc:sldMk cId="3527971517" sldId="2147470907"/>
            <ac:spMk id="9" creationId="{B74F5963-6DBC-A970-75FC-471DBCC3D3A0}"/>
          </ac:spMkLst>
        </pc:spChg>
        <pc:spChg chg="add del mod">
          <ac:chgData name="DOTOU-SEGLA Jean-Prince" userId="ef61a327-935a-41df-8140-b55c5fbbd926" providerId="ADAL" clId="{E28C3372-29F8-4498-8732-6260B4E6B964}" dt="2023-02-14T13:40:03.728" v="1807"/>
          <ac:spMkLst>
            <pc:docMk/>
            <pc:sldMk cId="3527971517" sldId="2147470907"/>
            <ac:spMk id="10" creationId="{B2A21CEA-12CB-D774-5469-CF62311CD2C4}"/>
          </ac:spMkLst>
        </pc:spChg>
        <pc:spChg chg="mod topLvl">
          <ac:chgData name="DOTOU-SEGLA Jean-Prince" userId="ef61a327-935a-41df-8140-b55c5fbbd926" providerId="ADAL" clId="{E28C3372-29F8-4498-8732-6260B4E6B964}" dt="2023-02-14T13:47:56.267" v="2036" actId="20577"/>
          <ac:spMkLst>
            <pc:docMk/>
            <pc:sldMk cId="3527971517" sldId="2147470907"/>
            <ac:spMk id="12" creationId="{26B6A31B-E339-4C0A-9166-FE8DDCB587A6}"/>
          </ac:spMkLst>
        </pc:spChg>
        <pc:spChg chg="mod topLvl">
          <ac:chgData name="DOTOU-SEGLA Jean-Prince" userId="ef61a327-935a-41df-8140-b55c5fbbd926" providerId="ADAL" clId="{E28C3372-29F8-4498-8732-6260B4E6B964}" dt="2023-02-21T14:05:33.441" v="2244" actId="20577"/>
          <ac:spMkLst>
            <pc:docMk/>
            <pc:sldMk cId="3527971517" sldId="2147470907"/>
            <ac:spMk id="13" creationId="{7A64F2A4-031C-4497-9AC3-863D05335C7C}"/>
          </ac:spMkLst>
        </pc:spChg>
        <pc:spChg chg="mod topLvl">
          <ac:chgData name="DOTOU-SEGLA Jean-Prince" userId="ef61a327-935a-41df-8140-b55c5fbbd926" providerId="ADAL" clId="{E28C3372-29F8-4498-8732-6260B4E6B964}" dt="2023-02-14T13:47:21.921" v="2031" actId="1036"/>
          <ac:spMkLst>
            <pc:docMk/>
            <pc:sldMk cId="3527971517" sldId="2147470907"/>
            <ac:spMk id="22" creationId="{32DD3A98-55FF-4896-9843-39C11997C55D}"/>
          </ac:spMkLst>
        </pc:spChg>
        <pc:spChg chg="mod topLvl">
          <ac:chgData name="DOTOU-SEGLA Jean-Prince" userId="ef61a327-935a-41df-8140-b55c5fbbd926" providerId="ADAL" clId="{E28C3372-29F8-4498-8732-6260B4E6B964}" dt="2023-02-14T13:47:56.909" v="2037" actId="1076"/>
          <ac:spMkLst>
            <pc:docMk/>
            <pc:sldMk cId="3527971517" sldId="2147470907"/>
            <ac:spMk id="23" creationId="{E9B6E900-1343-45B8-8D46-FE263BBE8065}"/>
          </ac:spMkLst>
        </pc:spChg>
        <pc:spChg chg="add del mod topLvl">
          <ac:chgData name="DOTOU-SEGLA Jean-Prince" userId="ef61a327-935a-41df-8140-b55c5fbbd926" providerId="ADAL" clId="{E28C3372-29F8-4498-8732-6260B4E6B964}" dt="2023-02-14T13:41:56.005" v="1833" actId="164"/>
          <ac:spMkLst>
            <pc:docMk/>
            <pc:sldMk cId="3527971517" sldId="2147470907"/>
            <ac:spMk id="24" creationId="{5FEEAE62-CA8A-418F-A64C-0F2D55D911E1}"/>
          </ac:spMkLst>
        </pc:spChg>
        <pc:spChg chg="add del mod topLvl">
          <ac:chgData name="DOTOU-SEGLA Jean-Prince" userId="ef61a327-935a-41df-8140-b55c5fbbd926" providerId="ADAL" clId="{E28C3372-29F8-4498-8732-6260B4E6B964}" dt="2023-02-14T13:47:36.816" v="2033" actId="1076"/>
          <ac:spMkLst>
            <pc:docMk/>
            <pc:sldMk cId="3527971517" sldId="2147470907"/>
            <ac:spMk id="25" creationId="{C47AED54-57D4-43D5-8ACA-9B7D81B8EBA8}"/>
          </ac:spMkLst>
        </pc:spChg>
        <pc:spChg chg="mod topLvl">
          <ac:chgData name="DOTOU-SEGLA Jean-Prince" userId="ef61a327-935a-41df-8140-b55c5fbbd926" providerId="ADAL" clId="{E28C3372-29F8-4498-8732-6260B4E6B964}" dt="2023-02-21T14:05:23.948" v="2237" actId="1036"/>
          <ac:spMkLst>
            <pc:docMk/>
            <pc:sldMk cId="3527971517" sldId="2147470907"/>
            <ac:spMk id="38" creationId="{1B70270F-C910-4FB9-AAA5-275A2EDC6FBC}"/>
          </ac:spMkLst>
        </pc:spChg>
        <pc:spChg chg="mod topLvl">
          <ac:chgData name="DOTOU-SEGLA Jean-Prince" userId="ef61a327-935a-41df-8140-b55c5fbbd926" providerId="ADAL" clId="{E28C3372-29F8-4498-8732-6260B4E6B964}" dt="2023-02-14T13:49:05.480" v="2040" actId="1076"/>
          <ac:spMkLst>
            <pc:docMk/>
            <pc:sldMk cId="3527971517" sldId="2147470907"/>
            <ac:spMk id="39" creationId="{A9F95946-F891-44B8-9FFC-47F7C64EBA7B}"/>
          </ac:spMkLst>
        </pc:spChg>
        <pc:spChg chg="add del mod topLvl">
          <ac:chgData name="DOTOU-SEGLA Jean-Prince" userId="ef61a327-935a-41df-8140-b55c5fbbd926" providerId="ADAL" clId="{E28C3372-29F8-4498-8732-6260B4E6B964}" dt="2023-02-14T13:58:59.466" v="2111" actId="20577"/>
          <ac:spMkLst>
            <pc:docMk/>
            <pc:sldMk cId="3527971517" sldId="2147470907"/>
            <ac:spMk id="40" creationId="{22D9AF0C-74BE-46EA-8FD1-E1F0074DFD30}"/>
          </ac:spMkLst>
        </pc:spChg>
        <pc:grpChg chg="add del mod">
          <ac:chgData name="DOTOU-SEGLA Jean-Prince" userId="ef61a327-935a-41df-8140-b55c5fbbd926" providerId="ADAL" clId="{E28C3372-29F8-4498-8732-6260B4E6B964}" dt="2023-02-14T13:41:51.815" v="1832" actId="165"/>
          <ac:grpSpMkLst>
            <pc:docMk/>
            <pc:sldMk cId="3527971517" sldId="2147470907"/>
            <ac:grpSpMk id="11" creationId="{5FCFF459-E75A-A159-D389-C41768024E05}"/>
          </ac:grpSpMkLst>
        </pc:grpChg>
        <pc:grpChg chg="add del mod">
          <ac:chgData name="DOTOU-SEGLA Jean-Prince" userId="ef61a327-935a-41df-8140-b55c5fbbd926" providerId="ADAL" clId="{E28C3372-29F8-4498-8732-6260B4E6B964}" dt="2023-02-14T13:40:53.022" v="1817" actId="165"/>
          <ac:grpSpMkLst>
            <pc:docMk/>
            <pc:sldMk cId="3527971517" sldId="2147470907"/>
            <ac:grpSpMk id="16" creationId="{30093712-2C45-ECDF-FB2E-08AD8A1F9BE3}"/>
          </ac:grpSpMkLst>
        </pc:grpChg>
        <pc:grpChg chg="add del mod">
          <ac:chgData name="DOTOU-SEGLA Jean-Prince" userId="ef61a327-935a-41df-8140-b55c5fbbd926" providerId="ADAL" clId="{E28C3372-29F8-4498-8732-6260B4E6B964}" dt="2023-02-14T13:42:10.626" v="1835" actId="165"/>
          <ac:grpSpMkLst>
            <pc:docMk/>
            <pc:sldMk cId="3527971517" sldId="2147470907"/>
            <ac:grpSpMk id="17" creationId="{EFE16401-730F-BC95-2671-CFCBE417CEC6}"/>
          </ac:grpSpMkLst>
        </pc:grpChg>
        <pc:grpChg chg="add mod">
          <ac:chgData name="DOTOU-SEGLA Jean-Prince" userId="ef61a327-935a-41df-8140-b55c5fbbd926" providerId="ADAL" clId="{E28C3372-29F8-4498-8732-6260B4E6B964}" dt="2023-02-14T13:42:38.417" v="1860" actId="1035"/>
          <ac:grpSpMkLst>
            <pc:docMk/>
            <pc:sldMk cId="3527971517" sldId="2147470907"/>
            <ac:grpSpMk id="18" creationId="{98FC4B49-D2FB-62FB-DD83-60ECB010C9A9}"/>
          </ac:grpSpMkLst>
        </pc:grpChg>
        <pc:grpChg chg="add mod">
          <ac:chgData name="DOTOU-SEGLA Jean-Prince" userId="ef61a327-935a-41df-8140-b55c5fbbd926" providerId="ADAL" clId="{E28C3372-29F8-4498-8732-6260B4E6B964}" dt="2023-02-14T13:41:36.048" v="1825" actId="164"/>
          <ac:grpSpMkLst>
            <pc:docMk/>
            <pc:sldMk cId="3527971517" sldId="2147470907"/>
            <ac:grpSpMk id="19" creationId="{3934E214-C51F-C491-E286-894F25AC0B8D}"/>
          </ac:grpSpMkLst>
        </pc:grpChg>
        <pc:grpChg chg="add mod">
          <ac:chgData name="DOTOU-SEGLA Jean-Prince" userId="ef61a327-935a-41df-8140-b55c5fbbd926" providerId="ADAL" clId="{E28C3372-29F8-4498-8732-6260B4E6B964}" dt="2023-02-14T13:42:38.417" v="1860" actId="1035"/>
          <ac:grpSpMkLst>
            <pc:docMk/>
            <pc:sldMk cId="3527971517" sldId="2147470907"/>
            <ac:grpSpMk id="20" creationId="{18CDDAB6-5EC4-EA83-1A73-E9FD830BC245}"/>
          </ac:grpSpMkLst>
        </pc:grpChg>
        <pc:grpChg chg="add mod">
          <ac:chgData name="DOTOU-SEGLA Jean-Prince" userId="ef61a327-935a-41df-8140-b55c5fbbd926" providerId="ADAL" clId="{E28C3372-29F8-4498-8732-6260B4E6B964}" dt="2023-02-14T13:42:38.417" v="1860" actId="1035"/>
          <ac:grpSpMkLst>
            <pc:docMk/>
            <pc:sldMk cId="3527971517" sldId="2147470907"/>
            <ac:grpSpMk id="21" creationId="{0DFE900D-B7C8-DC0B-8766-331C5B0153D2}"/>
          </ac:grpSpMkLst>
        </pc:grpChg>
        <pc:grpChg chg="mod">
          <ac:chgData name="DOTOU-SEGLA Jean-Prince" userId="ef61a327-935a-41df-8140-b55c5fbbd926" providerId="ADAL" clId="{E28C3372-29F8-4498-8732-6260B4E6B964}" dt="2023-02-14T13:42:38.417" v="1860" actId="1035"/>
          <ac:grpSpMkLst>
            <pc:docMk/>
            <pc:sldMk cId="3527971517" sldId="2147470907"/>
            <ac:grpSpMk id="34" creationId="{692AA995-8C5E-4D2F-A8F5-DB1CBC1E1599}"/>
          </ac:grpSpMkLst>
        </pc:grpChg>
        <pc:graphicFrameChg chg="mod modGraphic">
          <ac:chgData name="DOTOU-SEGLA Jean-Prince" userId="ef61a327-935a-41df-8140-b55c5fbbd926" providerId="ADAL" clId="{E28C3372-29F8-4498-8732-6260B4E6B964}" dt="2023-03-06T14:05:17.527" v="2465" actId="1076"/>
          <ac:graphicFrameMkLst>
            <pc:docMk/>
            <pc:sldMk cId="3527971517" sldId="2147470907"/>
            <ac:graphicFrameMk id="4" creationId="{C1375BA8-286D-4BD3-A31B-9DFF4D466EC6}"/>
          </ac:graphicFrameMkLst>
        </pc:graphicFrameChg>
        <pc:graphicFrameChg chg="add del">
          <ac:chgData name="DOTOU-SEGLA Jean-Prince" userId="ef61a327-935a-41df-8140-b55c5fbbd926" providerId="ADAL" clId="{E28C3372-29F8-4498-8732-6260B4E6B964}" dt="2023-02-14T13:38:56.631" v="1796" actId="478"/>
          <ac:graphicFrameMkLst>
            <pc:docMk/>
            <pc:sldMk cId="3527971517" sldId="2147470907"/>
            <ac:graphicFrameMk id="5" creationId="{2142A566-C476-4ECB-63E5-5FD824086E7E}"/>
          </ac:graphicFrameMkLst>
        </pc:graphicFrameChg>
        <pc:graphicFrameChg chg="add mod modGraphic">
          <ac:chgData name="DOTOU-SEGLA Jean-Prince" userId="ef61a327-935a-41df-8140-b55c5fbbd926" providerId="ADAL" clId="{E28C3372-29F8-4498-8732-6260B4E6B964}" dt="2023-02-14T13:44:03.743" v="1900" actId="1076"/>
          <ac:graphicFrameMkLst>
            <pc:docMk/>
            <pc:sldMk cId="3527971517" sldId="2147470907"/>
            <ac:graphicFrameMk id="7" creationId="{685A0DC1-C603-51DF-3788-63340773BA6B}"/>
          </ac:graphicFrameMkLst>
        </pc:graphicFrameChg>
        <pc:graphicFrameChg chg="add mod modGraphic">
          <ac:chgData name="DOTOU-SEGLA Jean-Prince" userId="ef61a327-935a-41df-8140-b55c5fbbd926" providerId="ADAL" clId="{E28C3372-29F8-4498-8732-6260B4E6B964}" dt="2023-02-14T13:44:14.087" v="1903" actId="1076"/>
          <ac:graphicFrameMkLst>
            <pc:docMk/>
            <pc:sldMk cId="3527971517" sldId="2147470907"/>
            <ac:graphicFrameMk id="27" creationId="{9050117B-64F2-DB89-9764-D653638AD58D}"/>
          </ac:graphicFrameMkLst>
        </pc:graphicFrameChg>
        <pc:graphicFrameChg chg="del">
          <ac:chgData name="DOTOU-SEGLA Jean-Prince" userId="ef61a327-935a-41df-8140-b55c5fbbd926" providerId="ADAL" clId="{E28C3372-29F8-4498-8732-6260B4E6B964}" dt="2023-02-14T13:16:37.986" v="1502" actId="478"/>
          <ac:graphicFrameMkLst>
            <pc:docMk/>
            <pc:sldMk cId="3527971517" sldId="2147470907"/>
            <ac:graphicFrameMk id="42" creationId="{738C14C4-59F5-479D-B437-F7DC36792FA4}"/>
          </ac:graphicFrameMkLst>
        </pc:graphicFrameChg>
      </pc:sldChg>
      <pc:sldChg chg="add del">
        <pc:chgData name="DOTOU-SEGLA Jean-Prince" userId="ef61a327-935a-41df-8140-b55c5fbbd926" providerId="ADAL" clId="{E28C3372-29F8-4498-8732-6260B4E6B964}" dt="2023-02-14T13:14:52.011" v="1482"/>
        <pc:sldMkLst>
          <pc:docMk/>
          <pc:sldMk cId="1778816512" sldId="2147470908"/>
        </pc:sldMkLst>
      </pc:sldChg>
      <pc:sldChg chg="add">
        <pc:chgData name="DOTOU-SEGLA Jean-Prince" userId="ef61a327-935a-41df-8140-b55c5fbbd926" providerId="ADAL" clId="{E28C3372-29F8-4498-8732-6260B4E6B964}" dt="2023-02-14T13:16:10.211" v="1500"/>
        <pc:sldMkLst>
          <pc:docMk/>
          <pc:sldMk cId="1977949928" sldId="2147470908"/>
        </pc:sldMkLst>
      </pc:sldChg>
      <pc:sldChg chg="add del">
        <pc:chgData name="DOTOU-SEGLA Jean-Prince" userId="ef61a327-935a-41df-8140-b55c5fbbd926" providerId="ADAL" clId="{E28C3372-29F8-4498-8732-6260B4E6B964}" dt="2023-02-14T13:14:46.209" v="1480"/>
        <pc:sldMkLst>
          <pc:docMk/>
          <pc:sldMk cId="3680785952" sldId="2147470908"/>
        </pc:sldMkLst>
      </pc:sldChg>
      <pc:sldChg chg="addSp delSp modSp add mod">
        <pc:chgData name="DOTOU-SEGLA Jean-Prince" userId="ef61a327-935a-41df-8140-b55c5fbbd926" providerId="ADAL" clId="{E28C3372-29F8-4498-8732-6260B4E6B964}" dt="2023-02-14T14:00:09.241" v="2115" actId="20577"/>
        <pc:sldMkLst>
          <pc:docMk/>
          <pc:sldMk cId="4023856794" sldId="2147470909"/>
        </pc:sldMkLst>
        <pc:spChg chg="add mod">
          <ac:chgData name="DOTOU-SEGLA Jean-Prince" userId="ef61a327-935a-41df-8140-b55c5fbbd926" providerId="ADAL" clId="{E28C3372-29F8-4498-8732-6260B4E6B964}" dt="2023-02-14T13:32:59.469" v="1716" actId="1037"/>
          <ac:spMkLst>
            <pc:docMk/>
            <pc:sldMk cId="4023856794" sldId="2147470909"/>
            <ac:spMk id="8" creationId="{5E3EC18B-FCD0-BD40-457A-54E4AEDAC274}"/>
          </ac:spMkLst>
        </pc:spChg>
        <pc:spChg chg="del mod">
          <ac:chgData name="DOTOU-SEGLA Jean-Prince" userId="ef61a327-935a-41df-8140-b55c5fbbd926" providerId="ADAL" clId="{E28C3372-29F8-4498-8732-6260B4E6B964}" dt="2023-02-14T13:21:50.211" v="1661" actId="478"/>
          <ac:spMkLst>
            <pc:docMk/>
            <pc:sldMk cId="4023856794" sldId="2147470909"/>
            <ac:spMk id="25" creationId="{CA18C985-C21F-4D38-9446-EEBE7AB9CE97}"/>
          </ac:spMkLst>
        </pc:spChg>
        <pc:spChg chg="del">
          <ac:chgData name="DOTOU-SEGLA Jean-Prince" userId="ef61a327-935a-41df-8140-b55c5fbbd926" providerId="ADAL" clId="{E28C3372-29F8-4498-8732-6260B4E6B964}" dt="2023-02-14T13:21:52.763" v="1662" actId="478"/>
          <ac:spMkLst>
            <pc:docMk/>
            <pc:sldMk cId="4023856794" sldId="2147470909"/>
            <ac:spMk id="26" creationId="{899FD7CD-E377-4599-AD34-2D12538B2C66}"/>
          </ac:spMkLst>
        </pc:spChg>
        <pc:spChg chg="mod">
          <ac:chgData name="DOTOU-SEGLA Jean-Prince" userId="ef61a327-935a-41df-8140-b55c5fbbd926" providerId="ADAL" clId="{E28C3372-29F8-4498-8732-6260B4E6B964}" dt="2023-02-14T14:00:09.241" v="2115" actId="20577"/>
          <ac:spMkLst>
            <pc:docMk/>
            <pc:sldMk cId="4023856794" sldId="2147470909"/>
            <ac:spMk id="27" creationId="{6B1AB1F9-B978-4E17-937A-98B183A4E362}"/>
          </ac:spMkLst>
        </pc:spChg>
        <pc:spChg chg="del">
          <ac:chgData name="DOTOU-SEGLA Jean-Prince" userId="ef61a327-935a-41df-8140-b55c5fbbd926" providerId="ADAL" clId="{E28C3372-29F8-4498-8732-6260B4E6B964}" dt="2023-02-14T13:19:00.277" v="1598" actId="478"/>
          <ac:spMkLst>
            <pc:docMk/>
            <pc:sldMk cId="4023856794" sldId="2147470909"/>
            <ac:spMk id="28" creationId="{591C6E34-AD11-401B-AD38-40BABDAB859D}"/>
          </ac:spMkLst>
        </pc:spChg>
        <pc:spChg chg="del">
          <ac:chgData name="DOTOU-SEGLA Jean-Prince" userId="ef61a327-935a-41df-8140-b55c5fbbd926" providerId="ADAL" clId="{E28C3372-29F8-4498-8732-6260B4E6B964}" dt="2023-02-14T13:19:02.082" v="1599" actId="478"/>
          <ac:spMkLst>
            <pc:docMk/>
            <pc:sldMk cId="4023856794" sldId="2147470909"/>
            <ac:spMk id="31" creationId="{41A304D9-F67F-40EE-9ACA-156429058B3C}"/>
          </ac:spMkLst>
        </pc:spChg>
        <pc:spChg chg="del">
          <ac:chgData name="DOTOU-SEGLA Jean-Prince" userId="ef61a327-935a-41df-8140-b55c5fbbd926" providerId="ADAL" clId="{E28C3372-29F8-4498-8732-6260B4E6B964}" dt="2023-02-14T13:18:52.009" v="1594" actId="478"/>
          <ac:spMkLst>
            <pc:docMk/>
            <pc:sldMk cId="4023856794" sldId="2147470909"/>
            <ac:spMk id="32" creationId="{EAD0C112-FE32-4833-9E5C-279D1A92B55B}"/>
          </ac:spMkLst>
        </pc:spChg>
        <pc:spChg chg="mod">
          <ac:chgData name="DOTOU-SEGLA Jean-Prince" userId="ef61a327-935a-41df-8140-b55c5fbbd926" providerId="ADAL" clId="{E28C3372-29F8-4498-8732-6260B4E6B964}" dt="2023-02-14T13:32:44.722" v="1713" actId="1076"/>
          <ac:spMkLst>
            <pc:docMk/>
            <pc:sldMk cId="4023856794" sldId="2147470909"/>
            <ac:spMk id="40" creationId="{66360938-9DF4-4067-A21D-A085714DDE21}"/>
          </ac:spMkLst>
        </pc:spChg>
        <pc:spChg chg="del">
          <ac:chgData name="DOTOU-SEGLA Jean-Prince" userId="ef61a327-935a-41df-8140-b55c5fbbd926" providerId="ADAL" clId="{E28C3372-29F8-4498-8732-6260B4E6B964}" dt="2023-02-14T13:18:12.367" v="1511" actId="478"/>
          <ac:spMkLst>
            <pc:docMk/>
            <pc:sldMk cId="4023856794" sldId="2147470909"/>
            <ac:spMk id="49" creationId="{77CDD91D-1436-4D91-AA8F-211DD647FCD5}"/>
          </ac:spMkLst>
        </pc:spChg>
        <pc:graphicFrameChg chg="add del mod">
          <ac:chgData name="DOTOU-SEGLA Jean-Prince" userId="ef61a327-935a-41df-8140-b55c5fbbd926" providerId="ADAL" clId="{E28C3372-29F8-4498-8732-6260B4E6B964}" dt="2023-02-14T13:29:47.523" v="1680"/>
          <ac:graphicFrameMkLst>
            <pc:docMk/>
            <pc:sldMk cId="4023856794" sldId="2147470909"/>
            <ac:graphicFrameMk id="2" creationId="{F02AB49B-97F7-6F15-3304-4B3176A4DE46}"/>
          </ac:graphicFrameMkLst>
        </pc:graphicFrameChg>
        <pc:graphicFrameChg chg="add del mod">
          <ac:chgData name="DOTOU-SEGLA Jean-Prince" userId="ef61a327-935a-41df-8140-b55c5fbbd926" providerId="ADAL" clId="{E28C3372-29F8-4498-8732-6260B4E6B964}" dt="2023-02-14T13:31:57.001" v="1688"/>
          <ac:graphicFrameMkLst>
            <pc:docMk/>
            <pc:sldMk cId="4023856794" sldId="2147470909"/>
            <ac:graphicFrameMk id="4" creationId="{DBC1D7C5-4FAB-6F1F-3870-AB6149B57B07}"/>
          </ac:graphicFrameMkLst>
        </pc:graphicFrameChg>
        <pc:graphicFrameChg chg="mod">
          <ac:chgData name="DOTOU-SEGLA Jean-Prince" userId="ef61a327-935a-41df-8140-b55c5fbbd926" providerId="ADAL" clId="{E28C3372-29F8-4498-8732-6260B4E6B964}" dt="2023-02-14T13:50:31.210" v="2055" actId="1038"/>
          <ac:graphicFrameMkLst>
            <pc:docMk/>
            <pc:sldMk cId="4023856794" sldId="2147470909"/>
            <ac:graphicFrameMk id="5" creationId="{58B7FB44-9019-453A-9F89-5EB7FA8EB913}"/>
          </ac:graphicFrameMkLst>
        </pc:graphicFrameChg>
        <pc:graphicFrameChg chg="add del mod">
          <ac:chgData name="DOTOU-SEGLA Jean-Prince" userId="ef61a327-935a-41df-8140-b55c5fbbd926" providerId="ADAL" clId="{E28C3372-29F8-4498-8732-6260B4E6B964}" dt="2023-02-14T13:34:32.451" v="1727"/>
          <ac:graphicFrameMkLst>
            <pc:docMk/>
            <pc:sldMk cId="4023856794" sldId="2147470909"/>
            <ac:graphicFrameMk id="9" creationId="{D8A9F830-F0BA-897C-621F-94E5E0697532}"/>
          </ac:graphicFrameMkLst>
        </pc:graphicFrameChg>
        <pc:graphicFrameChg chg="add del mod">
          <ac:chgData name="DOTOU-SEGLA Jean-Prince" userId="ef61a327-935a-41df-8140-b55c5fbbd926" providerId="ADAL" clId="{E28C3372-29F8-4498-8732-6260B4E6B964}" dt="2023-02-14T13:36:54.657" v="1751"/>
          <ac:graphicFrameMkLst>
            <pc:docMk/>
            <pc:sldMk cId="4023856794" sldId="2147470909"/>
            <ac:graphicFrameMk id="11" creationId="{69CDA43D-F07B-8BFF-CE98-133FB1F14E2E}"/>
          </ac:graphicFrameMkLst>
        </pc:graphicFrameChg>
        <pc:picChg chg="add del mod">
          <ac:chgData name="DOTOU-SEGLA Jean-Prince" userId="ef61a327-935a-41df-8140-b55c5fbbd926" providerId="ADAL" clId="{E28C3372-29F8-4498-8732-6260B4E6B964}" dt="2023-02-14T13:31:53.284" v="1684" actId="478"/>
          <ac:picMkLst>
            <pc:docMk/>
            <pc:sldMk cId="4023856794" sldId="2147470909"/>
            <ac:picMk id="3" creationId="{84DB7DA2-EC4F-59BC-322E-09FE4BCE0745}"/>
          </ac:picMkLst>
        </pc:picChg>
        <pc:picChg chg="add del mod">
          <ac:chgData name="DOTOU-SEGLA Jean-Prince" userId="ef61a327-935a-41df-8140-b55c5fbbd926" providerId="ADAL" clId="{E28C3372-29F8-4498-8732-6260B4E6B964}" dt="2023-02-14T13:34:28.622" v="1719" actId="478"/>
          <ac:picMkLst>
            <pc:docMk/>
            <pc:sldMk cId="4023856794" sldId="2147470909"/>
            <ac:picMk id="6" creationId="{594E932B-4391-EE19-586B-E42E0121AFDB}"/>
          </ac:picMkLst>
        </pc:picChg>
        <pc:picChg chg="del">
          <ac:chgData name="DOTOU-SEGLA Jean-Prince" userId="ef61a327-935a-41df-8140-b55c5fbbd926" providerId="ADAL" clId="{E28C3372-29F8-4498-8732-6260B4E6B964}" dt="2023-02-14T13:17:56.678" v="1508" actId="478"/>
          <ac:picMkLst>
            <pc:docMk/>
            <pc:sldMk cId="4023856794" sldId="2147470909"/>
            <ac:picMk id="7" creationId="{16FFC9AA-3A2D-466E-9522-8B2FE2D8712B}"/>
          </ac:picMkLst>
        </pc:picChg>
        <pc:picChg chg="add del mod">
          <ac:chgData name="DOTOU-SEGLA Jean-Prince" userId="ef61a327-935a-41df-8140-b55c5fbbd926" providerId="ADAL" clId="{E28C3372-29F8-4498-8732-6260B4E6B964}" dt="2023-02-14T13:36:51.139" v="1749" actId="478"/>
          <ac:picMkLst>
            <pc:docMk/>
            <pc:sldMk cId="4023856794" sldId="2147470909"/>
            <ac:picMk id="10" creationId="{35EEB34D-E622-CD06-4B65-F55341CF8AFE}"/>
          </ac:picMkLst>
        </pc:picChg>
        <pc:picChg chg="add mod">
          <ac:chgData name="DOTOU-SEGLA Jean-Prince" userId="ef61a327-935a-41df-8140-b55c5fbbd926" providerId="ADAL" clId="{E28C3372-29F8-4498-8732-6260B4E6B964}" dt="2023-02-14T13:38:03.043" v="1781" actId="1035"/>
          <ac:picMkLst>
            <pc:docMk/>
            <pc:sldMk cId="4023856794" sldId="2147470909"/>
            <ac:picMk id="12" creationId="{530057F0-B017-CED1-D7C9-57DAFEED397D}"/>
          </ac:picMkLst>
        </pc:picChg>
        <pc:picChg chg="del">
          <ac:chgData name="DOTOU-SEGLA Jean-Prince" userId="ef61a327-935a-41df-8140-b55c5fbbd926" providerId="ADAL" clId="{E28C3372-29F8-4498-8732-6260B4E6B964}" dt="2023-02-14T13:18:57.784" v="1597" actId="478"/>
          <ac:picMkLst>
            <pc:docMk/>
            <pc:sldMk cId="4023856794" sldId="2147470909"/>
            <ac:picMk id="14" creationId="{867BD34B-BB86-47B4-B190-184F3A72AFC1}"/>
          </ac:picMkLst>
        </pc:picChg>
        <pc:picChg chg="del">
          <ac:chgData name="DOTOU-SEGLA Jean-Prince" userId="ef61a327-935a-41df-8140-b55c5fbbd926" providerId="ADAL" clId="{E28C3372-29F8-4498-8732-6260B4E6B964}" dt="2023-02-14T13:18:13.813" v="1512" actId="478"/>
          <ac:picMkLst>
            <pc:docMk/>
            <pc:sldMk cId="4023856794" sldId="2147470909"/>
            <ac:picMk id="30" creationId="{355C424E-BDF6-4A73-A265-12D65E7A3584}"/>
          </ac:picMkLst>
        </pc:picChg>
        <pc:picChg chg="del">
          <ac:chgData name="DOTOU-SEGLA Jean-Prince" userId="ef61a327-935a-41df-8140-b55c5fbbd926" providerId="ADAL" clId="{E28C3372-29F8-4498-8732-6260B4E6B964}" dt="2023-02-14T13:18:10.423" v="1510" actId="478"/>
          <ac:picMkLst>
            <pc:docMk/>
            <pc:sldMk cId="4023856794" sldId="2147470909"/>
            <ac:picMk id="52" creationId="{6C6BF7A7-B146-43B8-A98E-E521C4BFA302}"/>
          </ac:picMkLst>
        </pc:picChg>
        <pc:cxnChg chg="del">
          <ac:chgData name="DOTOU-SEGLA Jean-Prince" userId="ef61a327-935a-41df-8140-b55c5fbbd926" providerId="ADAL" clId="{E28C3372-29F8-4498-8732-6260B4E6B964}" dt="2023-02-14T13:18:54.967" v="1596" actId="478"/>
          <ac:cxnSpMkLst>
            <pc:docMk/>
            <pc:sldMk cId="4023856794" sldId="2147470909"/>
            <ac:cxnSpMk id="34" creationId="{840D7380-E715-4AF3-A624-6FA57437EEC9}"/>
          </ac:cxnSpMkLst>
        </pc:cxnChg>
        <pc:cxnChg chg="del">
          <ac:chgData name="DOTOU-SEGLA Jean-Prince" userId="ef61a327-935a-41df-8140-b55c5fbbd926" providerId="ADAL" clId="{E28C3372-29F8-4498-8732-6260B4E6B964}" dt="2023-02-14T13:18:53.690" v="1595" actId="478"/>
          <ac:cxnSpMkLst>
            <pc:docMk/>
            <pc:sldMk cId="4023856794" sldId="2147470909"/>
            <ac:cxnSpMk id="36" creationId="{3BB6CD1B-4E87-4269-8A16-B2B0D8D2268A}"/>
          </ac:cxnSpMkLst>
        </pc:cxnChg>
        <pc:cxnChg chg="del">
          <ac:chgData name="DOTOU-SEGLA Jean-Prince" userId="ef61a327-935a-41df-8140-b55c5fbbd926" providerId="ADAL" clId="{E28C3372-29F8-4498-8732-6260B4E6B964}" dt="2023-02-14T13:18:09.153" v="1509" actId="478"/>
          <ac:cxnSpMkLst>
            <pc:docMk/>
            <pc:sldMk cId="4023856794" sldId="2147470909"/>
            <ac:cxnSpMk id="51" creationId="{5E65BC19-8ABC-44E7-AA8B-DCC0BE0631DC}"/>
          </ac:cxnSpMkLst>
        </pc:cxnChg>
      </pc:sldChg>
      <pc:sldMasterChg chg="delSldLayout">
        <pc:chgData name="DOTOU-SEGLA Jean-Prince" userId="ef61a327-935a-41df-8140-b55c5fbbd926" providerId="ADAL" clId="{E28C3372-29F8-4498-8732-6260B4E6B964}" dt="2023-02-14T13:50:20.475" v="2051" actId="47"/>
        <pc:sldMasterMkLst>
          <pc:docMk/>
          <pc:sldMasterMk cId="322057491" sldId="2147483973"/>
        </pc:sldMasterMkLst>
        <pc:sldLayoutChg chg="del">
          <pc:chgData name="DOTOU-SEGLA Jean-Prince" userId="ef61a327-935a-41df-8140-b55c5fbbd926" providerId="ADAL" clId="{E28C3372-29F8-4498-8732-6260B4E6B964}" dt="2023-02-09T09:33:34.320" v="692" actId="47"/>
          <pc:sldLayoutMkLst>
            <pc:docMk/>
            <pc:sldMasterMk cId="322057491" sldId="2147483973"/>
            <pc:sldLayoutMk cId="1163132380" sldId="2147483989"/>
          </pc:sldLayoutMkLst>
        </pc:sldLayoutChg>
        <pc:sldLayoutChg chg="del">
          <pc:chgData name="DOTOU-SEGLA Jean-Prince" userId="ef61a327-935a-41df-8140-b55c5fbbd926" providerId="ADAL" clId="{E28C3372-29F8-4498-8732-6260B4E6B964}" dt="2023-02-14T13:50:20.475" v="2051" actId="47"/>
          <pc:sldLayoutMkLst>
            <pc:docMk/>
            <pc:sldMasterMk cId="322057491" sldId="2147483973"/>
            <pc:sldLayoutMk cId="3190674947" sldId="2147483990"/>
          </pc:sldLayoutMkLst>
        </pc:sldLayoutChg>
      </pc:sldMasterChg>
    </pc:docChg>
  </pc:docChgLst>
  <pc:docChgLst>
    <pc:chgData name="ARUL Joseph" userId="32ecbb52-9b58-4da6-b483-131a4a24c596" providerId="ADAL" clId="{6F9CC21B-0105-4277-BD1B-AEFE1774D3A6}"/>
    <pc:docChg chg="undo custSel modSld">
      <pc:chgData name="ARUL Joseph" userId="32ecbb52-9b58-4da6-b483-131a4a24c596" providerId="ADAL" clId="{6F9CC21B-0105-4277-BD1B-AEFE1774D3A6}" dt="2023-02-13T16:04:32.671" v="439" actId="20577"/>
      <pc:docMkLst>
        <pc:docMk/>
      </pc:docMkLst>
      <pc:sldChg chg="modSp mod">
        <pc:chgData name="ARUL Joseph" userId="32ecbb52-9b58-4da6-b483-131a4a24c596" providerId="ADAL" clId="{6F9CC21B-0105-4277-BD1B-AEFE1774D3A6}" dt="2023-02-09T10:34:45.134" v="382" actId="13926"/>
        <pc:sldMkLst>
          <pc:docMk/>
          <pc:sldMk cId="2831867188" sldId="2147470878"/>
        </pc:sldMkLst>
        <pc:spChg chg="mod">
          <ac:chgData name="ARUL Joseph" userId="32ecbb52-9b58-4da6-b483-131a4a24c596" providerId="ADAL" clId="{6F9CC21B-0105-4277-BD1B-AEFE1774D3A6}" dt="2023-02-09T10:34:45.134" v="382" actId="13926"/>
          <ac:spMkLst>
            <pc:docMk/>
            <pc:sldMk cId="2831867188" sldId="2147470878"/>
            <ac:spMk id="10" creationId="{3082DF56-5EEB-4571-8A6D-0247D9D1CD76}"/>
          </ac:spMkLst>
        </pc:spChg>
      </pc:sldChg>
      <pc:sldChg chg="modSp mod">
        <pc:chgData name="ARUL Joseph" userId="32ecbb52-9b58-4da6-b483-131a4a24c596" providerId="ADAL" clId="{6F9CC21B-0105-4277-BD1B-AEFE1774D3A6}" dt="2023-02-09T10:14:55.356" v="321" actId="20577"/>
        <pc:sldMkLst>
          <pc:docMk/>
          <pc:sldMk cId="2084846352" sldId="2147470893"/>
        </pc:sldMkLst>
        <pc:graphicFrameChg chg="modGraphic">
          <ac:chgData name="ARUL Joseph" userId="32ecbb52-9b58-4da6-b483-131a4a24c596" providerId="ADAL" clId="{6F9CC21B-0105-4277-BD1B-AEFE1774D3A6}" dt="2023-02-09T10:14:55.356" v="321" actId="20577"/>
          <ac:graphicFrameMkLst>
            <pc:docMk/>
            <pc:sldMk cId="2084846352" sldId="2147470893"/>
            <ac:graphicFrameMk id="7" creationId="{4ECCEC33-3996-458E-AA0F-54A813E68776}"/>
          </ac:graphicFrameMkLst>
        </pc:graphicFrameChg>
      </pc:sldChg>
      <pc:sldChg chg="modSp mod">
        <pc:chgData name="ARUL Joseph" userId="32ecbb52-9b58-4da6-b483-131a4a24c596" providerId="ADAL" clId="{6F9CC21B-0105-4277-BD1B-AEFE1774D3A6}" dt="2023-02-09T10:05:50.945" v="139" actId="13926"/>
        <pc:sldMkLst>
          <pc:docMk/>
          <pc:sldMk cId="480180273" sldId="2147470897"/>
        </pc:sldMkLst>
        <pc:spChg chg="mod">
          <ac:chgData name="ARUL Joseph" userId="32ecbb52-9b58-4da6-b483-131a4a24c596" providerId="ADAL" clId="{6F9CC21B-0105-4277-BD1B-AEFE1774D3A6}" dt="2023-02-09T10:05:50.945" v="139" actId="13926"/>
          <ac:spMkLst>
            <pc:docMk/>
            <pc:sldMk cId="480180273" sldId="2147470897"/>
            <ac:spMk id="4" creationId="{C18DFA26-10F8-4880-803A-29697DD48185}"/>
          </ac:spMkLst>
        </pc:spChg>
      </pc:sldChg>
      <pc:sldChg chg="modSp">
        <pc:chgData name="ARUL Joseph" userId="32ecbb52-9b58-4da6-b483-131a4a24c596" providerId="ADAL" clId="{6F9CC21B-0105-4277-BD1B-AEFE1774D3A6}" dt="2023-02-13T16:04:32.671" v="439" actId="20577"/>
        <pc:sldMkLst>
          <pc:docMk/>
          <pc:sldMk cId="2619532644" sldId="2147470899"/>
        </pc:sldMkLst>
        <pc:graphicFrameChg chg="mod">
          <ac:chgData name="ARUL Joseph" userId="32ecbb52-9b58-4da6-b483-131a4a24c596" providerId="ADAL" clId="{6F9CC21B-0105-4277-BD1B-AEFE1774D3A6}" dt="2023-02-13T16:04:32.671" v="439" actId="20577"/>
          <ac:graphicFrameMkLst>
            <pc:docMk/>
            <pc:sldMk cId="2619532644" sldId="2147470899"/>
            <ac:graphicFrameMk id="13" creationId="{C555C755-2037-4351-FF6F-3F121DA259FD}"/>
          </ac:graphicFrameMkLst>
        </pc:graphicFrameChg>
      </pc:sldChg>
      <pc:sldChg chg="modSp mod">
        <pc:chgData name="ARUL Joseph" userId="32ecbb52-9b58-4da6-b483-131a4a24c596" providerId="ADAL" clId="{6F9CC21B-0105-4277-BD1B-AEFE1774D3A6}" dt="2023-02-09T10:13:11.802" v="314" actId="20577"/>
        <pc:sldMkLst>
          <pc:docMk/>
          <pc:sldMk cId="1782460719" sldId="2147470904"/>
        </pc:sldMkLst>
        <pc:spChg chg="mod">
          <ac:chgData name="ARUL Joseph" userId="32ecbb52-9b58-4da6-b483-131a4a24c596" providerId="ADAL" clId="{6F9CC21B-0105-4277-BD1B-AEFE1774D3A6}" dt="2023-02-09T10:13:11.802" v="314" actId="20577"/>
          <ac:spMkLst>
            <pc:docMk/>
            <pc:sldMk cId="1782460719" sldId="2147470904"/>
            <ac:spMk id="8" creationId="{3EAD7FAE-813A-4E33-AE06-A5D3D8E3548B}"/>
          </ac:spMkLst>
        </pc:spChg>
      </pc:sldChg>
    </pc:docChg>
  </pc:docChgLst>
  <pc:docChgLst>
    <pc:chgData name="Jean-Prince DOTOU-SEGLA" userId="ef61a327-935a-41df-8140-b55c5fbbd926" providerId="ADAL" clId="{E28C3372-29F8-4498-8732-6260B4E6B964}"/>
    <pc:docChg chg="modSld">
      <pc:chgData name="Jean-Prince DOTOU-SEGLA" userId="ef61a327-935a-41df-8140-b55c5fbbd926" providerId="ADAL" clId="{E28C3372-29F8-4498-8732-6260B4E6B964}" dt="2023-03-13T16:54:20.590" v="15" actId="20577"/>
      <pc:docMkLst>
        <pc:docMk/>
      </pc:docMkLst>
      <pc:sldChg chg="modSp mod">
        <pc:chgData name="Jean-Prince DOTOU-SEGLA" userId="ef61a327-935a-41df-8140-b55c5fbbd926" providerId="ADAL" clId="{E28C3372-29F8-4498-8732-6260B4E6B964}" dt="2023-03-13T16:24:40.068" v="3" actId="20577"/>
        <pc:sldMkLst>
          <pc:docMk/>
          <pc:sldMk cId="2005648879" sldId="2147470896"/>
        </pc:sldMkLst>
        <pc:graphicFrameChg chg="modGraphic">
          <ac:chgData name="Jean-Prince DOTOU-SEGLA" userId="ef61a327-935a-41df-8140-b55c5fbbd926" providerId="ADAL" clId="{E28C3372-29F8-4498-8732-6260B4E6B964}" dt="2023-03-13T16:24:40.068" v="3" actId="20577"/>
          <ac:graphicFrameMkLst>
            <pc:docMk/>
            <pc:sldMk cId="2005648879" sldId="2147470896"/>
            <ac:graphicFrameMk id="7" creationId="{A75B5804-2BDF-4114-B21D-F67E9B226A38}"/>
          </ac:graphicFrameMkLst>
        </pc:graphicFrameChg>
      </pc:sldChg>
      <pc:sldChg chg="modSp mod">
        <pc:chgData name="Jean-Prince DOTOU-SEGLA" userId="ef61a327-935a-41df-8140-b55c5fbbd926" providerId="ADAL" clId="{E28C3372-29F8-4498-8732-6260B4E6B964}" dt="2023-03-13T16:54:20.590" v="15" actId="20577"/>
        <pc:sldMkLst>
          <pc:docMk/>
          <pc:sldMk cId="3527971517" sldId="2147470907"/>
        </pc:sldMkLst>
        <pc:spChg chg="mod">
          <ac:chgData name="Jean-Prince DOTOU-SEGLA" userId="ef61a327-935a-41df-8140-b55c5fbbd926" providerId="ADAL" clId="{E28C3372-29F8-4498-8732-6260B4E6B964}" dt="2023-03-13T16:54:05.747" v="9" actId="20577"/>
          <ac:spMkLst>
            <pc:docMk/>
            <pc:sldMk cId="3527971517" sldId="2147470907"/>
            <ac:spMk id="12" creationId="{26B6A31B-E339-4C0A-9166-FE8DDCB587A6}"/>
          </ac:spMkLst>
        </pc:spChg>
        <pc:spChg chg="mod">
          <ac:chgData name="Jean-Prince DOTOU-SEGLA" userId="ef61a327-935a-41df-8140-b55c5fbbd926" providerId="ADAL" clId="{E28C3372-29F8-4498-8732-6260B4E6B964}" dt="2023-03-13T16:54:20.590" v="15" actId="20577"/>
          <ac:spMkLst>
            <pc:docMk/>
            <pc:sldMk cId="3527971517" sldId="2147470907"/>
            <ac:spMk id="13" creationId="{7A64F2A4-031C-4497-9AC3-863D05335C7C}"/>
          </ac:spMkLst>
        </pc:spChg>
      </pc:sldChg>
    </pc:docChg>
  </pc:docChgLst>
  <pc:docChgLst>
    <pc:chgData name="DOTOU-SEGLA Jean-Prince" userId="ef61a327-935a-41df-8140-b55c5fbbd926" providerId="ADAL" clId="{F2328637-4702-4008-8301-5214D5749A40}"/>
    <pc:docChg chg="modSld">
      <pc:chgData name="DOTOU-SEGLA Jean-Prince" userId="ef61a327-935a-41df-8140-b55c5fbbd926" providerId="ADAL" clId="{F2328637-4702-4008-8301-5214D5749A40}" dt="2022-12-20T16:29:53.119" v="1" actId="20577"/>
      <pc:docMkLst>
        <pc:docMk/>
      </pc:docMkLst>
      <pc:sldChg chg="modSp mod">
        <pc:chgData name="DOTOU-SEGLA Jean-Prince" userId="ef61a327-935a-41df-8140-b55c5fbbd926" providerId="ADAL" clId="{F2328637-4702-4008-8301-5214D5749A40}" dt="2022-12-20T16:29:53.119" v="1" actId="20577"/>
        <pc:sldMkLst>
          <pc:docMk/>
          <pc:sldMk cId="1665224666" sldId="381"/>
        </pc:sldMkLst>
        <pc:spChg chg="mod">
          <ac:chgData name="DOTOU-SEGLA Jean-Prince" userId="ef61a327-935a-41df-8140-b55c5fbbd926" providerId="ADAL" clId="{F2328637-4702-4008-8301-5214D5749A40}" dt="2022-12-20T16:29:53.119" v="1" actId="20577"/>
          <ac:spMkLst>
            <pc:docMk/>
            <pc:sldMk cId="1665224666" sldId="381"/>
            <ac:spMk id="2" creationId="{6B95D8C5-DA37-4B95-BFB4-1DFB075C6F90}"/>
          </ac:spMkLst>
        </pc:spChg>
      </pc:sldChg>
    </pc:docChg>
  </pc:docChgLst>
  <pc:docChgLst>
    <pc:chgData name="YUAN Huaxing" userId="680cda70-8f8f-41b8-bd50-03497d97776e" providerId="ADAL" clId="{8952FAEC-942D-4C4D-BC41-E1982216D151}"/>
    <pc:docChg chg="undo custSel addSld delSld modSld sldOrd addSection delSection modSection">
      <pc:chgData name="YUAN Huaxing" userId="680cda70-8f8f-41b8-bd50-03497d97776e" providerId="ADAL" clId="{8952FAEC-942D-4C4D-BC41-E1982216D151}" dt="2023-03-20T10:22:33.770" v="6310" actId="12"/>
      <pc:docMkLst>
        <pc:docMk/>
      </pc:docMkLst>
      <pc:sldChg chg="addSp delSp modSp mod modClrScheme chgLayout">
        <pc:chgData name="YUAN Huaxing" userId="680cda70-8f8f-41b8-bd50-03497d97776e" providerId="ADAL" clId="{8952FAEC-942D-4C4D-BC41-E1982216D151}" dt="2023-03-20T10:22:33.770" v="6310" actId="12"/>
        <pc:sldMkLst>
          <pc:docMk/>
          <pc:sldMk cId="0" sldId="256"/>
        </pc:sldMkLst>
        <pc:spChg chg="add mod ord">
          <ac:chgData name="YUAN Huaxing" userId="680cda70-8f8f-41b8-bd50-03497d97776e" providerId="ADAL" clId="{8952FAEC-942D-4C4D-BC41-E1982216D151}" dt="2023-03-20T10:18:04.693" v="6247" actId="6549"/>
          <ac:spMkLst>
            <pc:docMk/>
            <pc:sldMk cId="0" sldId="256"/>
            <ac:spMk id="2" creationId="{7B8EDB6E-57FA-AE03-DAE3-5C986DE06B18}"/>
          </ac:spMkLst>
        </pc:spChg>
        <pc:spChg chg="add mod ord">
          <ac:chgData name="YUAN Huaxing" userId="680cda70-8f8f-41b8-bd50-03497d97776e" providerId="ADAL" clId="{8952FAEC-942D-4C4D-BC41-E1982216D151}" dt="2023-03-20T10:22:33.770" v="6310" actId="12"/>
          <ac:spMkLst>
            <pc:docMk/>
            <pc:sldMk cId="0" sldId="256"/>
            <ac:spMk id="3" creationId="{AC38C4DC-8E93-075C-EE50-84D8B21E8E20}"/>
          </ac:spMkLst>
        </pc:spChg>
        <pc:spChg chg="del mod">
          <ac:chgData name="YUAN Huaxing" userId="680cda70-8f8f-41b8-bd50-03497d97776e" providerId="ADAL" clId="{8952FAEC-942D-4C4D-BC41-E1982216D151}" dt="2023-02-07T15:11:04.127" v="2018"/>
          <ac:spMkLst>
            <pc:docMk/>
            <pc:sldMk cId="0" sldId="256"/>
            <ac:spMk id="8194" creationId="{00000000-0000-0000-0000-000000000000}"/>
          </ac:spMkLst>
        </pc:spChg>
      </pc:sldChg>
      <pc:sldChg chg="del">
        <pc:chgData name="YUAN Huaxing" userId="680cda70-8f8f-41b8-bd50-03497d97776e" providerId="ADAL" clId="{8952FAEC-942D-4C4D-BC41-E1982216D151}" dt="2023-02-06T16:06:47.933" v="33" actId="47"/>
        <pc:sldMkLst>
          <pc:docMk/>
          <pc:sldMk cId="3617964995" sldId="339"/>
        </pc:sldMkLst>
      </pc:sldChg>
      <pc:sldChg chg="del">
        <pc:chgData name="YUAN Huaxing" userId="680cda70-8f8f-41b8-bd50-03497d97776e" providerId="ADAL" clId="{8952FAEC-942D-4C4D-BC41-E1982216D151}" dt="2023-02-07T14:56:17.962" v="1738" actId="47"/>
        <pc:sldMkLst>
          <pc:docMk/>
          <pc:sldMk cId="1006277900" sldId="349"/>
        </pc:sldMkLst>
      </pc:sldChg>
      <pc:sldChg chg="del">
        <pc:chgData name="YUAN Huaxing" userId="680cda70-8f8f-41b8-bd50-03497d97776e" providerId="ADAL" clId="{8952FAEC-942D-4C4D-BC41-E1982216D151}" dt="2023-02-06T16:07:50.666" v="49" actId="47"/>
        <pc:sldMkLst>
          <pc:docMk/>
          <pc:sldMk cId="1665224666" sldId="381"/>
        </pc:sldMkLst>
      </pc:sldChg>
      <pc:sldChg chg="addSp delSp modSp mod ord chgLayout">
        <pc:chgData name="YUAN Huaxing" userId="680cda70-8f8f-41b8-bd50-03497d97776e" providerId="ADAL" clId="{8952FAEC-942D-4C4D-BC41-E1982216D151}" dt="2023-02-14T10:04:14.999" v="5022" actId="700"/>
        <pc:sldMkLst>
          <pc:docMk/>
          <pc:sldMk cId="801933456" sldId="886"/>
        </pc:sldMkLst>
        <pc:spChg chg="mod ord">
          <ac:chgData name="YUAN Huaxing" userId="680cda70-8f8f-41b8-bd50-03497d97776e" providerId="ADAL" clId="{8952FAEC-942D-4C4D-BC41-E1982216D151}" dt="2023-02-14T10:04:14.999" v="5022" actId="700"/>
          <ac:spMkLst>
            <pc:docMk/>
            <pc:sldMk cId="801933456" sldId="886"/>
            <ac:spMk id="2" creationId="{E7136351-2C0B-46DC-BF93-6365ABA5BDC0}"/>
          </ac:spMkLst>
        </pc:spChg>
        <pc:spChg chg="add del mod ord">
          <ac:chgData name="YUAN Huaxing" userId="680cda70-8f8f-41b8-bd50-03497d97776e" providerId="ADAL" clId="{8952FAEC-942D-4C4D-BC41-E1982216D151}" dt="2023-02-14T10:04:14.999" v="5022" actId="700"/>
          <ac:spMkLst>
            <pc:docMk/>
            <pc:sldMk cId="801933456" sldId="886"/>
            <ac:spMk id="3" creationId="{BC303137-19D0-15AF-9B77-5B83938C2DE5}"/>
          </ac:spMkLst>
        </pc:spChg>
        <pc:spChg chg="mod ord">
          <ac:chgData name="YUAN Huaxing" userId="680cda70-8f8f-41b8-bd50-03497d97776e" providerId="ADAL" clId="{8952FAEC-942D-4C4D-BC41-E1982216D151}" dt="2023-02-14T10:04:14.999" v="5022" actId="700"/>
          <ac:spMkLst>
            <pc:docMk/>
            <pc:sldMk cId="801933456" sldId="886"/>
            <ac:spMk id="4" creationId="{A25B5029-BFB3-458F-ACA2-566BAFC77FD4}"/>
          </ac:spMkLst>
        </pc:spChg>
        <pc:spChg chg="mod">
          <ac:chgData name="YUAN Huaxing" userId="680cda70-8f8f-41b8-bd50-03497d97776e" providerId="ADAL" clId="{8952FAEC-942D-4C4D-BC41-E1982216D151}" dt="2023-02-14T10:04:09.107" v="5021" actId="14100"/>
          <ac:spMkLst>
            <pc:docMk/>
            <pc:sldMk cId="801933456" sldId="886"/>
            <ac:spMk id="5" creationId="{8B4306EE-B13F-4FA0-B917-D305A0950FEE}"/>
          </ac:spMkLst>
        </pc:spChg>
        <pc:spChg chg="add del">
          <ac:chgData name="YUAN Huaxing" userId="680cda70-8f8f-41b8-bd50-03497d97776e" providerId="ADAL" clId="{8952FAEC-942D-4C4D-BC41-E1982216D151}" dt="2023-02-14T10:04:14.999" v="5022" actId="700"/>
          <ac:spMkLst>
            <pc:docMk/>
            <pc:sldMk cId="801933456" sldId="886"/>
            <ac:spMk id="6" creationId="{854E875F-39DE-43CE-A74E-8DF76D63A928}"/>
          </ac:spMkLst>
        </pc:spChg>
        <pc:spChg chg="mod">
          <ac:chgData name="YUAN Huaxing" userId="680cda70-8f8f-41b8-bd50-03497d97776e" providerId="ADAL" clId="{8952FAEC-942D-4C4D-BC41-E1982216D151}" dt="2023-02-14T10:04:09.107" v="5021" actId="14100"/>
          <ac:spMkLst>
            <pc:docMk/>
            <pc:sldMk cId="801933456" sldId="886"/>
            <ac:spMk id="7" creationId="{A1C9DE21-EB50-4A8D-A8FC-6188500EE0BD}"/>
          </ac:spMkLst>
        </pc:spChg>
        <pc:spChg chg="mod">
          <ac:chgData name="YUAN Huaxing" userId="680cda70-8f8f-41b8-bd50-03497d97776e" providerId="ADAL" clId="{8952FAEC-942D-4C4D-BC41-E1982216D151}" dt="2023-02-14T10:04:09.107" v="5021" actId="14100"/>
          <ac:spMkLst>
            <pc:docMk/>
            <pc:sldMk cId="801933456" sldId="886"/>
            <ac:spMk id="12" creationId="{16D8AE48-7495-4383-BCC0-3B159C173A3F}"/>
          </ac:spMkLst>
        </pc:spChg>
        <pc:spChg chg="mod">
          <ac:chgData name="YUAN Huaxing" userId="680cda70-8f8f-41b8-bd50-03497d97776e" providerId="ADAL" clId="{8952FAEC-942D-4C4D-BC41-E1982216D151}" dt="2023-02-14T10:04:09.107" v="5021" actId="14100"/>
          <ac:spMkLst>
            <pc:docMk/>
            <pc:sldMk cId="801933456" sldId="886"/>
            <ac:spMk id="13" creationId="{5FE1CF7B-5D73-4FDE-8AA9-A21C63217028}"/>
          </ac:spMkLst>
        </pc:spChg>
        <pc:spChg chg="mod">
          <ac:chgData name="YUAN Huaxing" userId="680cda70-8f8f-41b8-bd50-03497d97776e" providerId="ADAL" clId="{8952FAEC-942D-4C4D-BC41-E1982216D151}" dt="2023-02-14T10:04:09.107" v="5021" actId="14100"/>
          <ac:spMkLst>
            <pc:docMk/>
            <pc:sldMk cId="801933456" sldId="886"/>
            <ac:spMk id="14" creationId="{DD91090C-F419-46C5-B7CC-ADC380E134D7}"/>
          </ac:spMkLst>
        </pc:spChg>
        <pc:spChg chg="mod">
          <ac:chgData name="YUAN Huaxing" userId="680cda70-8f8f-41b8-bd50-03497d97776e" providerId="ADAL" clId="{8952FAEC-942D-4C4D-BC41-E1982216D151}" dt="2023-02-14T10:04:09.107" v="5021" actId="14100"/>
          <ac:spMkLst>
            <pc:docMk/>
            <pc:sldMk cId="801933456" sldId="886"/>
            <ac:spMk id="15" creationId="{335F8E7C-C8D7-4CC1-A051-7D6A3D5D6393}"/>
          </ac:spMkLst>
        </pc:spChg>
        <pc:spChg chg="mod">
          <ac:chgData name="YUAN Huaxing" userId="680cda70-8f8f-41b8-bd50-03497d97776e" providerId="ADAL" clId="{8952FAEC-942D-4C4D-BC41-E1982216D151}" dt="2023-02-14T10:04:09.107" v="5021" actId="14100"/>
          <ac:spMkLst>
            <pc:docMk/>
            <pc:sldMk cId="801933456" sldId="886"/>
            <ac:spMk id="18" creationId="{3AEBCACE-9CD6-4223-B5BD-886288150B1E}"/>
          </ac:spMkLst>
        </pc:spChg>
        <pc:spChg chg="mod">
          <ac:chgData name="YUAN Huaxing" userId="680cda70-8f8f-41b8-bd50-03497d97776e" providerId="ADAL" clId="{8952FAEC-942D-4C4D-BC41-E1982216D151}" dt="2023-02-14T10:04:09.107" v="5021" actId="14100"/>
          <ac:spMkLst>
            <pc:docMk/>
            <pc:sldMk cId="801933456" sldId="886"/>
            <ac:spMk id="20" creationId="{7933D722-377B-4B45-8C8C-B17F59AABA83}"/>
          </ac:spMkLst>
        </pc:spChg>
        <pc:spChg chg="mod">
          <ac:chgData name="YUAN Huaxing" userId="680cda70-8f8f-41b8-bd50-03497d97776e" providerId="ADAL" clId="{8952FAEC-942D-4C4D-BC41-E1982216D151}" dt="2023-02-14T10:04:09.107" v="5021" actId="14100"/>
          <ac:spMkLst>
            <pc:docMk/>
            <pc:sldMk cId="801933456" sldId="886"/>
            <ac:spMk id="22" creationId="{EE3AAD9A-B24E-4B84-B936-E96D6D837197}"/>
          </ac:spMkLst>
        </pc:spChg>
        <pc:spChg chg="mod">
          <ac:chgData name="YUAN Huaxing" userId="680cda70-8f8f-41b8-bd50-03497d97776e" providerId="ADAL" clId="{8952FAEC-942D-4C4D-BC41-E1982216D151}" dt="2023-02-14T10:04:09.107" v="5021" actId="14100"/>
          <ac:spMkLst>
            <pc:docMk/>
            <pc:sldMk cId="801933456" sldId="886"/>
            <ac:spMk id="29" creationId="{43332355-A5A9-4113-86EE-9C623431C6DD}"/>
          </ac:spMkLst>
        </pc:spChg>
        <pc:spChg chg="mod">
          <ac:chgData name="YUAN Huaxing" userId="680cda70-8f8f-41b8-bd50-03497d97776e" providerId="ADAL" clId="{8952FAEC-942D-4C4D-BC41-E1982216D151}" dt="2023-02-14T10:04:09.107" v="5021" actId="14100"/>
          <ac:spMkLst>
            <pc:docMk/>
            <pc:sldMk cId="801933456" sldId="886"/>
            <ac:spMk id="30" creationId="{6923B600-EF75-45B3-BD7A-B2502BA6DB02}"/>
          </ac:spMkLst>
        </pc:spChg>
        <pc:spChg chg="mod">
          <ac:chgData name="YUAN Huaxing" userId="680cda70-8f8f-41b8-bd50-03497d97776e" providerId="ADAL" clId="{8952FAEC-942D-4C4D-BC41-E1982216D151}" dt="2023-02-14T10:04:09.107" v="5021" actId="14100"/>
          <ac:spMkLst>
            <pc:docMk/>
            <pc:sldMk cId="801933456" sldId="886"/>
            <ac:spMk id="31" creationId="{20C4A87C-D956-4DA0-BEC0-7933EAE77FE5}"/>
          </ac:spMkLst>
        </pc:spChg>
        <pc:spChg chg="mod">
          <ac:chgData name="YUAN Huaxing" userId="680cda70-8f8f-41b8-bd50-03497d97776e" providerId="ADAL" clId="{8952FAEC-942D-4C4D-BC41-E1982216D151}" dt="2023-02-14T10:04:09.107" v="5021" actId="14100"/>
          <ac:spMkLst>
            <pc:docMk/>
            <pc:sldMk cId="801933456" sldId="886"/>
            <ac:spMk id="32" creationId="{AEFBFE4A-186D-4B05-ABEE-5171FF0792C2}"/>
          </ac:spMkLst>
        </pc:spChg>
        <pc:spChg chg="mod">
          <ac:chgData name="YUAN Huaxing" userId="680cda70-8f8f-41b8-bd50-03497d97776e" providerId="ADAL" clId="{8952FAEC-942D-4C4D-BC41-E1982216D151}" dt="2023-02-14T10:04:09.107" v="5021" actId="14100"/>
          <ac:spMkLst>
            <pc:docMk/>
            <pc:sldMk cId="801933456" sldId="886"/>
            <ac:spMk id="33" creationId="{89A620E8-F9E1-43AE-A324-30D3097B35E4}"/>
          </ac:spMkLst>
        </pc:spChg>
        <pc:spChg chg="mod">
          <ac:chgData name="YUAN Huaxing" userId="680cda70-8f8f-41b8-bd50-03497d97776e" providerId="ADAL" clId="{8952FAEC-942D-4C4D-BC41-E1982216D151}" dt="2023-02-14T10:04:09.107" v="5021" actId="14100"/>
          <ac:spMkLst>
            <pc:docMk/>
            <pc:sldMk cId="801933456" sldId="886"/>
            <ac:spMk id="37" creationId="{8D4144AF-BB1C-4F50-B088-3D6E47573A27}"/>
          </ac:spMkLst>
        </pc:spChg>
        <pc:spChg chg="mod">
          <ac:chgData name="YUAN Huaxing" userId="680cda70-8f8f-41b8-bd50-03497d97776e" providerId="ADAL" clId="{8952FAEC-942D-4C4D-BC41-E1982216D151}" dt="2023-02-14T10:04:09.107" v="5021" actId="14100"/>
          <ac:spMkLst>
            <pc:docMk/>
            <pc:sldMk cId="801933456" sldId="886"/>
            <ac:spMk id="38" creationId="{0E74270C-6928-47BC-9B21-D0841E204264}"/>
          </ac:spMkLst>
        </pc:spChg>
        <pc:spChg chg="mod">
          <ac:chgData name="YUAN Huaxing" userId="680cda70-8f8f-41b8-bd50-03497d97776e" providerId="ADAL" clId="{8952FAEC-942D-4C4D-BC41-E1982216D151}" dt="2023-02-14T10:04:09.107" v="5021" actId="14100"/>
          <ac:spMkLst>
            <pc:docMk/>
            <pc:sldMk cId="801933456" sldId="886"/>
            <ac:spMk id="47" creationId="{1E8F8DAA-33F2-4D24-BBB5-1E4D514B6386}"/>
          </ac:spMkLst>
        </pc:spChg>
        <pc:spChg chg="mod">
          <ac:chgData name="YUAN Huaxing" userId="680cda70-8f8f-41b8-bd50-03497d97776e" providerId="ADAL" clId="{8952FAEC-942D-4C4D-BC41-E1982216D151}" dt="2023-02-14T10:04:09.107" v="5021" actId="14100"/>
          <ac:spMkLst>
            <pc:docMk/>
            <pc:sldMk cId="801933456" sldId="886"/>
            <ac:spMk id="50" creationId="{9B4EA88B-23C0-44F1-9577-D56DC86B239C}"/>
          </ac:spMkLst>
        </pc:spChg>
        <pc:spChg chg="mod">
          <ac:chgData name="YUAN Huaxing" userId="680cda70-8f8f-41b8-bd50-03497d97776e" providerId="ADAL" clId="{8952FAEC-942D-4C4D-BC41-E1982216D151}" dt="2023-02-14T10:04:09.107" v="5021" actId="14100"/>
          <ac:spMkLst>
            <pc:docMk/>
            <pc:sldMk cId="801933456" sldId="886"/>
            <ac:spMk id="53" creationId="{407B2449-C836-4897-A654-86DE0B4C170D}"/>
          </ac:spMkLst>
        </pc:spChg>
        <pc:spChg chg="mod">
          <ac:chgData name="YUAN Huaxing" userId="680cda70-8f8f-41b8-bd50-03497d97776e" providerId="ADAL" clId="{8952FAEC-942D-4C4D-BC41-E1982216D151}" dt="2023-02-14T10:04:09.107" v="5021" actId="14100"/>
          <ac:spMkLst>
            <pc:docMk/>
            <pc:sldMk cId="801933456" sldId="886"/>
            <ac:spMk id="56" creationId="{9BAAE4F8-47E7-4C3A-84F8-591253867CF0}"/>
          </ac:spMkLst>
        </pc:spChg>
        <pc:spChg chg="mod">
          <ac:chgData name="YUAN Huaxing" userId="680cda70-8f8f-41b8-bd50-03497d97776e" providerId="ADAL" clId="{8952FAEC-942D-4C4D-BC41-E1982216D151}" dt="2023-02-14T10:04:09.107" v="5021" actId="14100"/>
          <ac:spMkLst>
            <pc:docMk/>
            <pc:sldMk cId="801933456" sldId="886"/>
            <ac:spMk id="59" creationId="{417D60B8-D43B-4051-8EE5-207331180AA3}"/>
          </ac:spMkLst>
        </pc:spChg>
        <pc:spChg chg="mod">
          <ac:chgData name="YUAN Huaxing" userId="680cda70-8f8f-41b8-bd50-03497d97776e" providerId="ADAL" clId="{8952FAEC-942D-4C4D-BC41-E1982216D151}" dt="2023-02-14T10:04:09.107" v="5021" actId="14100"/>
          <ac:spMkLst>
            <pc:docMk/>
            <pc:sldMk cId="801933456" sldId="886"/>
            <ac:spMk id="62" creationId="{FF48481E-11D3-4044-8D50-E0E4D27D4012}"/>
          </ac:spMkLst>
        </pc:spChg>
        <pc:spChg chg="mod">
          <ac:chgData name="YUAN Huaxing" userId="680cda70-8f8f-41b8-bd50-03497d97776e" providerId="ADAL" clId="{8952FAEC-942D-4C4D-BC41-E1982216D151}" dt="2023-02-14T10:04:09.107" v="5021" actId="14100"/>
          <ac:spMkLst>
            <pc:docMk/>
            <pc:sldMk cId="801933456" sldId="886"/>
            <ac:spMk id="65" creationId="{1E999489-AA5B-4F4B-ADE9-D6A54F650C9B}"/>
          </ac:spMkLst>
        </pc:spChg>
        <pc:spChg chg="mod">
          <ac:chgData name="YUAN Huaxing" userId="680cda70-8f8f-41b8-bd50-03497d97776e" providerId="ADAL" clId="{8952FAEC-942D-4C4D-BC41-E1982216D151}" dt="2023-02-14T10:04:09.107" v="5021" actId="14100"/>
          <ac:spMkLst>
            <pc:docMk/>
            <pc:sldMk cId="801933456" sldId="886"/>
            <ac:spMk id="68" creationId="{BA1D400F-1606-4686-8AA5-ACC7C74ABA39}"/>
          </ac:spMkLst>
        </pc:spChg>
        <pc:spChg chg="mod">
          <ac:chgData name="YUAN Huaxing" userId="680cda70-8f8f-41b8-bd50-03497d97776e" providerId="ADAL" clId="{8952FAEC-942D-4C4D-BC41-E1982216D151}" dt="2023-02-14T10:04:09.107" v="5021" actId="14100"/>
          <ac:spMkLst>
            <pc:docMk/>
            <pc:sldMk cId="801933456" sldId="886"/>
            <ac:spMk id="71" creationId="{23B83952-8B90-4F0D-A850-D83B964E4C4E}"/>
          </ac:spMkLst>
        </pc:spChg>
        <pc:spChg chg="mod">
          <ac:chgData name="YUAN Huaxing" userId="680cda70-8f8f-41b8-bd50-03497d97776e" providerId="ADAL" clId="{8952FAEC-942D-4C4D-BC41-E1982216D151}" dt="2023-02-14T10:04:09.107" v="5021" actId="14100"/>
          <ac:spMkLst>
            <pc:docMk/>
            <pc:sldMk cId="801933456" sldId="886"/>
            <ac:spMk id="74" creationId="{52BAB6EC-8010-407F-9938-F77C25EB9EDB}"/>
          </ac:spMkLst>
        </pc:spChg>
        <pc:spChg chg="mod">
          <ac:chgData name="YUAN Huaxing" userId="680cda70-8f8f-41b8-bd50-03497d97776e" providerId="ADAL" clId="{8952FAEC-942D-4C4D-BC41-E1982216D151}" dt="2023-02-14T10:04:09.107" v="5021" actId="14100"/>
          <ac:spMkLst>
            <pc:docMk/>
            <pc:sldMk cId="801933456" sldId="886"/>
            <ac:spMk id="88" creationId="{0AAB6F70-D251-4B4A-9C6F-5BFFE7FB255E}"/>
          </ac:spMkLst>
        </pc:spChg>
        <pc:spChg chg="mod">
          <ac:chgData name="YUAN Huaxing" userId="680cda70-8f8f-41b8-bd50-03497d97776e" providerId="ADAL" clId="{8952FAEC-942D-4C4D-BC41-E1982216D151}" dt="2023-02-14T10:04:09.107" v="5021" actId="14100"/>
          <ac:spMkLst>
            <pc:docMk/>
            <pc:sldMk cId="801933456" sldId="886"/>
            <ac:spMk id="100" creationId="{CCF8B81A-2096-48BB-92D9-3DFCFCB8095D}"/>
          </ac:spMkLst>
        </pc:spChg>
        <pc:spChg chg="mod">
          <ac:chgData name="YUAN Huaxing" userId="680cda70-8f8f-41b8-bd50-03497d97776e" providerId="ADAL" clId="{8952FAEC-942D-4C4D-BC41-E1982216D151}" dt="2023-02-14T10:04:09.107" v="5021" actId="14100"/>
          <ac:spMkLst>
            <pc:docMk/>
            <pc:sldMk cId="801933456" sldId="886"/>
            <ac:spMk id="102" creationId="{39573FB4-739B-47B6-952C-B1322FF01E8C}"/>
          </ac:spMkLst>
        </pc:spChg>
        <pc:spChg chg="mod">
          <ac:chgData name="YUAN Huaxing" userId="680cda70-8f8f-41b8-bd50-03497d97776e" providerId="ADAL" clId="{8952FAEC-942D-4C4D-BC41-E1982216D151}" dt="2023-02-14T10:04:09.107" v="5021" actId="14100"/>
          <ac:spMkLst>
            <pc:docMk/>
            <pc:sldMk cId="801933456" sldId="886"/>
            <ac:spMk id="111" creationId="{32AFAF59-0F5E-41EE-BE82-BDFA7AC66B87}"/>
          </ac:spMkLst>
        </pc:spChg>
        <pc:spChg chg="mod">
          <ac:chgData name="YUAN Huaxing" userId="680cda70-8f8f-41b8-bd50-03497d97776e" providerId="ADAL" clId="{8952FAEC-942D-4C4D-BC41-E1982216D151}" dt="2023-02-14T10:04:09.107" v="5021" actId="14100"/>
          <ac:spMkLst>
            <pc:docMk/>
            <pc:sldMk cId="801933456" sldId="886"/>
            <ac:spMk id="112" creationId="{959FCC99-2A86-43D6-AD10-2EDBC7CD44C9}"/>
          </ac:spMkLst>
        </pc:spChg>
        <pc:spChg chg="mod">
          <ac:chgData name="YUAN Huaxing" userId="680cda70-8f8f-41b8-bd50-03497d97776e" providerId="ADAL" clId="{8952FAEC-942D-4C4D-BC41-E1982216D151}" dt="2023-02-14T10:04:09.107" v="5021" actId="14100"/>
          <ac:spMkLst>
            <pc:docMk/>
            <pc:sldMk cId="801933456" sldId="886"/>
            <ac:spMk id="113" creationId="{E6D2E9BC-314F-42C3-B7CC-12CB64218DB2}"/>
          </ac:spMkLst>
        </pc:spChg>
        <pc:spChg chg="mod">
          <ac:chgData name="YUAN Huaxing" userId="680cda70-8f8f-41b8-bd50-03497d97776e" providerId="ADAL" clId="{8952FAEC-942D-4C4D-BC41-E1982216D151}" dt="2023-02-14T10:04:09.107" v="5021" actId="14100"/>
          <ac:spMkLst>
            <pc:docMk/>
            <pc:sldMk cId="801933456" sldId="886"/>
            <ac:spMk id="114" creationId="{BE353E46-3598-43B7-AA24-2A2EA806004B}"/>
          </ac:spMkLst>
        </pc:spChg>
        <pc:spChg chg="mod">
          <ac:chgData name="YUAN Huaxing" userId="680cda70-8f8f-41b8-bd50-03497d97776e" providerId="ADAL" clId="{8952FAEC-942D-4C4D-BC41-E1982216D151}" dt="2023-02-14T10:04:09.107" v="5021" actId="14100"/>
          <ac:spMkLst>
            <pc:docMk/>
            <pc:sldMk cId="801933456" sldId="886"/>
            <ac:spMk id="115" creationId="{668103C9-1B79-45DF-97E9-7BC62361E6D0}"/>
          </ac:spMkLst>
        </pc:spChg>
        <pc:spChg chg="mod">
          <ac:chgData name="YUAN Huaxing" userId="680cda70-8f8f-41b8-bd50-03497d97776e" providerId="ADAL" clId="{8952FAEC-942D-4C4D-BC41-E1982216D151}" dt="2023-02-14T10:04:09.107" v="5021" actId="14100"/>
          <ac:spMkLst>
            <pc:docMk/>
            <pc:sldMk cId="801933456" sldId="886"/>
            <ac:spMk id="129" creationId="{E426EB7F-8EED-44C5-8CAA-1AD03807F02A}"/>
          </ac:spMkLst>
        </pc:spChg>
        <pc:spChg chg="mod">
          <ac:chgData name="YUAN Huaxing" userId="680cda70-8f8f-41b8-bd50-03497d97776e" providerId="ADAL" clId="{8952FAEC-942D-4C4D-BC41-E1982216D151}" dt="2023-02-14T10:04:09.107" v="5021" actId="14100"/>
          <ac:spMkLst>
            <pc:docMk/>
            <pc:sldMk cId="801933456" sldId="886"/>
            <ac:spMk id="133" creationId="{30148100-8DC4-41BA-8F6A-8815C6D83D6E}"/>
          </ac:spMkLst>
        </pc:spChg>
        <pc:spChg chg="mod">
          <ac:chgData name="YUAN Huaxing" userId="680cda70-8f8f-41b8-bd50-03497d97776e" providerId="ADAL" clId="{8952FAEC-942D-4C4D-BC41-E1982216D151}" dt="2023-02-14T10:04:09.107" v="5021" actId="14100"/>
          <ac:spMkLst>
            <pc:docMk/>
            <pc:sldMk cId="801933456" sldId="886"/>
            <ac:spMk id="150" creationId="{C0F6948C-57B4-4BB6-BD9E-00D06EFFFECB}"/>
          </ac:spMkLst>
        </pc:spChg>
        <pc:grpChg chg="mod">
          <ac:chgData name="YUAN Huaxing" userId="680cda70-8f8f-41b8-bd50-03497d97776e" providerId="ADAL" clId="{8952FAEC-942D-4C4D-BC41-E1982216D151}" dt="2023-02-14T10:04:09.107" v="5021" actId="14100"/>
          <ac:grpSpMkLst>
            <pc:docMk/>
            <pc:sldMk cId="801933456" sldId="886"/>
            <ac:grpSpMk id="16" creationId="{EFC770E7-C0EB-4AF2-8D38-33F71EC46D76}"/>
          </ac:grpSpMkLst>
        </pc:grpChg>
        <pc:grpChg chg="mod">
          <ac:chgData name="YUAN Huaxing" userId="680cda70-8f8f-41b8-bd50-03497d97776e" providerId="ADAL" clId="{8952FAEC-942D-4C4D-BC41-E1982216D151}" dt="2023-02-14T10:04:09.107" v="5021" actId="14100"/>
          <ac:grpSpMkLst>
            <pc:docMk/>
            <pc:sldMk cId="801933456" sldId="886"/>
            <ac:grpSpMk id="19" creationId="{E4308B0D-70BE-4CFB-8FB0-D590F02FFECF}"/>
          </ac:grpSpMkLst>
        </pc:grpChg>
        <pc:grpChg chg="mod">
          <ac:chgData name="YUAN Huaxing" userId="680cda70-8f8f-41b8-bd50-03497d97776e" providerId="ADAL" clId="{8952FAEC-942D-4C4D-BC41-E1982216D151}" dt="2023-02-14T10:04:09.107" v="5021" actId="14100"/>
          <ac:grpSpMkLst>
            <pc:docMk/>
            <pc:sldMk cId="801933456" sldId="886"/>
            <ac:grpSpMk id="23" creationId="{EE395A36-601F-4C53-A2B8-EF5E9CF4E244}"/>
          </ac:grpSpMkLst>
        </pc:grpChg>
        <pc:grpChg chg="mod">
          <ac:chgData name="YUAN Huaxing" userId="680cda70-8f8f-41b8-bd50-03497d97776e" providerId="ADAL" clId="{8952FAEC-942D-4C4D-BC41-E1982216D151}" dt="2023-02-14T10:04:09.107" v="5021" actId="14100"/>
          <ac:grpSpMkLst>
            <pc:docMk/>
            <pc:sldMk cId="801933456" sldId="886"/>
            <ac:grpSpMk id="24" creationId="{A383AC14-0569-4A2A-88AC-520A51B8BBB5}"/>
          </ac:grpSpMkLst>
        </pc:grpChg>
        <pc:grpChg chg="mod">
          <ac:chgData name="YUAN Huaxing" userId="680cda70-8f8f-41b8-bd50-03497d97776e" providerId="ADAL" clId="{8952FAEC-942D-4C4D-BC41-E1982216D151}" dt="2023-02-14T10:04:09.107" v="5021" actId="14100"/>
          <ac:grpSpMkLst>
            <pc:docMk/>
            <pc:sldMk cId="801933456" sldId="886"/>
            <ac:grpSpMk id="36" creationId="{E66955E4-E69A-4948-8083-B523E56DB74C}"/>
          </ac:grpSpMkLst>
        </pc:grpChg>
        <pc:grpChg chg="mod">
          <ac:chgData name="YUAN Huaxing" userId="680cda70-8f8f-41b8-bd50-03497d97776e" providerId="ADAL" clId="{8952FAEC-942D-4C4D-BC41-E1982216D151}" dt="2023-02-14T10:04:09.107" v="5021" actId="14100"/>
          <ac:grpSpMkLst>
            <pc:docMk/>
            <pc:sldMk cId="801933456" sldId="886"/>
            <ac:grpSpMk id="39" creationId="{BD454907-B780-46A7-BC4B-14EB41F71B09}"/>
          </ac:grpSpMkLst>
        </pc:grpChg>
        <pc:grpChg chg="mod">
          <ac:chgData name="YUAN Huaxing" userId="680cda70-8f8f-41b8-bd50-03497d97776e" providerId="ADAL" clId="{8952FAEC-942D-4C4D-BC41-E1982216D151}" dt="2023-02-14T10:04:09.107" v="5021" actId="14100"/>
          <ac:grpSpMkLst>
            <pc:docMk/>
            <pc:sldMk cId="801933456" sldId="886"/>
            <ac:grpSpMk id="40" creationId="{CB82EEB6-2444-4CA2-BF59-65DCE542FDA3}"/>
          </ac:grpSpMkLst>
        </pc:grpChg>
        <pc:grpChg chg="mod">
          <ac:chgData name="YUAN Huaxing" userId="680cda70-8f8f-41b8-bd50-03497d97776e" providerId="ADAL" clId="{8952FAEC-942D-4C4D-BC41-E1982216D151}" dt="2023-02-14T10:04:09.107" v="5021" actId="14100"/>
          <ac:grpSpMkLst>
            <pc:docMk/>
            <pc:sldMk cId="801933456" sldId="886"/>
            <ac:grpSpMk id="41" creationId="{2CBA1F34-C329-49A8-8D2C-1848F7422ADA}"/>
          </ac:grpSpMkLst>
        </pc:grpChg>
        <pc:grpChg chg="mod">
          <ac:chgData name="YUAN Huaxing" userId="680cda70-8f8f-41b8-bd50-03497d97776e" providerId="ADAL" clId="{8952FAEC-942D-4C4D-BC41-E1982216D151}" dt="2023-02-14T10:04:09.107" v="5021" actId="14100"/>
          <ac:grpSpMkLst>
            <pc:docMk/>
            <pc:sldMk cId="801933456" sldId="886"/>
            <ac:grpSpMk id="42" creationId="{7A1DC665-0CF6-4A30-AE1C-00D7C922A304}"/>
          </ac:grpSpMkLst>
        </pc:grpChg>
        <pc:grpChg chg="mod">
          <ac:chgData name="YUAN Huaxing" userId="680cda70-8f8f-41b8-bd50-03497d97776e" providerId="ADAL" clId="{8952FAEC-942D-4C4D-BC41-E1982216D151}" dt="2023-02-14T10:04:09.107" v="5021" actId="14100"/>
          <ac:grpSpMkLst>
            <pc:docMk/>
            <pc:sldMk cId="801933456" sldId="886"/>
            <ac:grpSpMk id="43" creationId="{81116B39-D1DA-4D5A-A6B6-D313D73EF7FA}"/>
          </ac:grpSpMkLst>
        </pc:grpChg>
        <pc:grpChg chg="mod">
          <ac:chgData name="YUAN Huaxing" userId="680cda70-8f8f-41b8-bd50-03497d97776e" providerId="ADAL" clId="{8952FAEC-942D-4C4D-BC41-E1982216D151}" dt="2023-02-14T10:04:09.107" v="5021" actId="14100"/>
          <ac:grpSpMkLst>
            <pc:docMk/>
            <pc:sldMk cId="801933456" sldId="886"/>
            <ac:grpSpMk id="45" creationId="{8028D5DD-2494-42C2-BA83-8C6E8680CEAA}"/>
          </ac:grpSpMkLst>
        </pc:grpChg>
        <pc:grpChg chg="mod">
          <ac:chgData name="YUAN Huaxing" userId="680cda70-8f8f-41b8-bd50-03497d97776e" providerId="ADAL" clId="{8952FAEC-942D-4C4D-BC41-E1982216D151}" dt="2023-02-14T10:04:09.107" v="5021" actId="14100"/>
          <ac:grpSpMkLst>
            <pc:docMk/>
            <pc:sldMk cId="801933456" sldId="886"/>
            <ac:grpSpMk id="46" creationId="{6230A6F8-818A-4F8F-ADCA-D2D0DCCA3B79}"/>
          </ac:grpSpMkLst>
        </pc:grpChg>
        <pc:grpChg chg="mod">
          <ac:chgData name="YUAN Huaxing" userId="680cda70-8f8f-41b8-bd50-03497d97776e" providerId="ADAL" clId="{8952FAEC-942D-4C4D-BC41-E1982216D151}" dt="2023-02-14T10:04:09.107" v="5021" actId="14100"/>
          <ac:grpSpMkLst>
            <pc:docMk/>
            <pc:sldMk cId="801933456" sldId="886"/>
            <ac:grpSpMk id="51" creationId="{0D1349A1-0F64-435C-8072-34C58D4BFE27}"/>
          </ac:grpSpMkLst>
        </pc:grpChg>
        <pc:grpChg chg="mod">
          <ac:chgData name="YUAN Huaxing" userId="680cda70-8f8f-41b8-bd50-03497d97776e" providerId="ADAL" clId="{8952FAEC-942D-4C4D-BC41-E1982216D151}" dt="2023-02-14T10:04:09.107" v="5021" actId="14100"/>
          <ac:grpSpMkLst>
            <pc:docMk/>
            <pc:sldMk cId="801933456" sldId="886"/>
            <ac:grpSpMk id="52" creationId="{95DC0886-EB82-4C4C-BE71-18A279C96216}"/>
          </ac:grpSpMkLst>
        </pc:grpChg>
        <pc:grpChg chg="mod">
          <ac:chgData name="YUAN Huaxing" userId="680cda70-8f8f-41b8-bd50-03497d97776e" providerId="ADAL" clId="{8952FAEC-942D-4C4D-BC41-E1982216D151}" dt="2023-02-14T10:04:09.107" v="5021" actId="14100"/>
          <ac:grpSpMkLst>
            <pc:docMk/>
            <pc:sldMk cId="801933456" sldId="886"/>
            <ac:grpSpMk id="57" creationId="{85FA91B8-A387-40C6-9EB5-E9CFA8F48D2C}"/>
          </ac:grpSpMkLst>
        </pc:grpChg>
        <pc:grpChg chg="mod">
          <ac:chgData name="YUAN Huaxing" userId="680cda70-8f8f-41b8-bd50-03497d97776e" providerId="ADAL" clId="{8952FAEC-942D-4C4D-BC41-E1982216D151}" dt="2023-02-14T10:04:09.107" v="5021" actId="14100"/>
          <ac:grpSpMkLst>
            <pc:docMk/>
            <pc:sldMk cId="801933456" sldId="886"/>
            <ac:grpSpMk id="58" creationId="{2AA0EC6E-0153-45BA-B721-8F26468691D1}"/>
          </ac:grpSpMkLst>
        </pc:grpChg>
        <pc:grpChg chg="mod">
          <ac:chgData name="YUAN Huaxing" userId="680cda70-8f8f-41b8-bd50-03497d97776e" providerId="ADAL" clId="{8952FAEC-942D-4C4D-BC41-E1982216D151}" dt="2023-02-14T10:04:09.107" v="5021" actId="14100"/>
          <ac:grpSpMkLst>
            <pc:docMk/>
            <pc:sldMk cId="801933456" sldId="886"/>
            <ac:grpSpMk id="63" creationId="{0EC0076D-7CD7-48BC-88C7-B6950D5004A7}"/>
          </ac:grpSpMkLst>
        </pc:grpChg>
        <pc:grpChg chg="mod">
          <ac:chgData name="YUAN Huaxing" userId="680cda70-8f8f-41b8-bd50-03497d97776e" providerId="ADAL" clId="{8952FAEC-942D-4C4D-BC41-E1982216D151}" dt="2023-02-14T10:04:09.107" v="5021" actId="14100"/>
          <ac:grpSpMkLst>
            <pc:docMk/>
            <pc:sldMk cId="801933456" sldId="886"/>
            <ac:grpSpMk id="64" creationId="{8A47244D-6F61-4E1B-B3A0-D7BC1590ED81}"/>
          </ac:grpSpMkLst>
        </pc:grpChg>
        <pc:grpChg chg="mod">
          <ac:chgData name="YUAN Huaxing" userId="680cda70-8f8f-41b8-bd50-03497d97776e" providerId="ADAL" clId="{8952FAEC-942D-4C4D-BC41-E1982216D151}" dt="2023-02-14T10:04:09.107" v="5021" actId="14100"/>
          <ac:grpSpMkLst>
            <pc:docMk/>
            <pc:sldMk cId="801933456" sldId="886"/>
            <ac:grpSpMk id="69" creationId="{6BE1EA52-6837-497A-BAB0-2E74A00FE7FF}"/>
          </ac:grpSpMkLst>
        </pc:grpChg>
        <pc:grpChg chg="mod">
          <ac:chgData name="YUAN Huaxing" userId="680cda70-8f8f-41b8-bd50-03497d97776e" providerId="ADAL" clId="{8952FAEC-942D-4C4D-BC41-E1982216D151}" dt="2023-02-14T10:04:09.107" v="5021" actId="14100"/>
          <ac:grpSpMkLst>
            <pc:docMk/>
            <pc:sldMk cId="801933456" sldId="886"/>
            <ac:grpSpMk id="70" creationId="{ED21B8AE-70F6-41AD-A493-FC22F6B63504}"/>
          </ac:grpSpMkLst>
        </pc:grpChg>
        <pc:grpChg chg="mod">
          <ac:chgData name="YUAN Huaxing" userId="680cda70-8f8f-41b8-bd50-03497d97776e" providerId="ADAL" clId="{8952FAEC-942D-4C4D-BC41-E1982216D151}" dt="2023-02-14T10:04:09.107" v="5021" actId="14100"/>
          <ac:grpSpMkLst>
            <pc:docMk/>
            <pc:sldMk cId="801933456" sldId="886"/>
            <ac:grpSpMk id="76" creationId="{7C57C924-3F42-4B31-884B-F0D4C02EB783}"/>
          </ac:grpSpMkLst>
        </pc:grpChg>
        <pc:grpChg chg="mod">
          <ac:chgData name="YUAN Huaxing" userId="680cda70-8f8f-41b8-bd50-03497d97776e" providerId="ADAL" clId="{8952FAEC-942D-4C4D-BC41-E1982216D151}" dt="2023-02-14T10:04:09.107" v="5021" actId="14100"/>
          <ac:grpSpMkLst>
            <pc:docMk/>
            <pc:sldMk cId="801933456" sldId="886"/>
            <ac:grpSpMk id="108" creationId="{620716C0-DF3C-4346-8508-CD6E511C7AF6}"/>
          </ac:grpSpMkLst>
        </pc:grpChg>
        <pc:grpChg chg="mod">
          <ac:chgData name="YUAN Huaxing" userId="680cda70-8f8f-41b8-bd50-03497d97776e" providerId="ADAL" clId="{8952FAEC-942D-4C4D-BC41-E1982216D151}" dt="2023-02-14T10:04:09.107" v="5021" actId="14100"/>
          <ac:grpSpMkLst>
            <pc:docMk/>
            <pc:sldMk cId="801933456" sldId="886"/>
            <ac:grpSpMk id="109" creationId="{2D96D183-9E79-432E-B9EC-DC8D21A9B577}"/>
          </ac:grpSpMkLst>
        </pc:grpChg>
        <pc:grpChg chg="mod">
          <ac:chgData name="YUAN Huaxing" userId="680cda70-8f8f-41b8-bd50-03497d97776e" providerId="ADAL" clId="{8952FAEC-942D-4C4D-BC41-E1982216D151}" dt="2023-02-14T10:04:09.107" v="5021" actId="14100"/>
          <ac:grpSpMkLst>
            <pc:docMk/>
            <pc:sldMk cId="801933456" sldId="886"/>
            <ac:grpSpMk id="110" creationId="{8D188655-2FFD-4892-A70A-766A3CBB6C53}"/>
          </ac:grpSpMkLst>
        </pc:grpChg>
        <pc:grpChg chg="del">
          <ac:chgData name="YUAN Huaxing" userId="680cda70-8f8f-41b8-bd50-03497d97776e" providerId="ADAL" clId="{8952FAEC-942D-4C4D-BC41-E1982216D151}" dt="2023-02-14T10:03:04.038" v="5014" actId="478"/>
          <ac:grpSpMkLst>
            <pc:docMk/>
            <pc:sldMk cId="801933456" sldId="886"/>
            <ac:grpSpMk id="116" creationId="{72C53B4D-48F2-43F8-A3ED-1F29AAEB34CB}"/>
          </ac:grpSpMkLst>
        </pc:grpChg>
        <pc:grpChg chg="del">
          <ac:chgData name="YUAN Huaxing" userId="680cda70-8f8f-41b8-bd50-03497d97776e" providerId="ADAL" clId="{8952FAEC-942D-4C4D-BC41-E1982216D151}" dt="2023-02-14T10:03:06.244" v="5015" actId="478"/>
          <ac:grpSpMkLst>
            <pc:docMk/>
            <pc:sldMk cId="801933456" sldId="886"/>
            <ac:grpSpMk id="117" creationId="{0D2BBA5B-A6B9-4E50-8E49-65B0DFC0ECB1}"/>
          </ac:grpSpMkLst>
        </pc:grpChg>
        <pc:grpChg chg="del">
          <ac:chgData name="YUAN Huaxing" userId="680cda70-8f8f-41b8-bd50-03497d97776e" providerId="ADAL" clId="{8952FAEC-942D-4C4D-BC41-E1982216D151}" dt="2023-02-14T10:03:08.220" v="5016" actId="478"/>
          <ac:grpSpMkLst>
            <pc:docMk/>
            <pc:sldMk cId="801933456" sldId="886"/>
            <ac:grpSpMk id="118" creationId="{5CBAFCD2-FCCE-4A6F-9BC6-0246B36518D3}"/>
          </ac:grpSpMkLst>
        </pc:grpChg>
        <pc:grpChg chg="del">
          <ac:chgData name="YUAN Huaxing" userId="680cda70-8f8f-41b8-bd50-03497d97776e" providerId="ADAL" clId="{8952FAEC-942D-4C4D-BC41-E1982216D151}" dt="2023-02-14T10:03:10.453" v="5017" actId="478"/>
          <ac:grpSpMkLst>
            <pc:docMk/>
            <pc:sldMk cId="801933456" sldId="886"/>
            <ac:grpSpMk id="119" creationId="{D7731108-F301-47EE-B559-D93908DE53FD}"/>
          </ac:grpSpMkLst>
        </pc:grpChg>
        <pc:grpChg chg="mod">
          <ac:chgData name="YUAN Huaxing" userId="680cda70-8f8f-41b8-bd50-03497d97776e" providerId="ADAL" clId="{8952FAEC-942D-4C4D-BC41-E1982216D151}" dt="2023-02-14T10:04:09.107" v="5021" actId="14100"/>
          <ac:grpSpMkLst>
            <pc:docMk/>
            <pc:sldMk cId="801933456" sldId="886"/>
            <ac:grpSpMk id="126" creationId="{7E9DB490-8F7A-4E2B-B4CB-33047F489747}"/>
          </ac:grpSpMkLst>
        </pc:grpChg>
        <pc:grpChg chg="mod">
          <ac:chgData name="YUAN Huaxing" userId="680cda70-8f8f-41b8-bd50-03497d97776e" providerId="ADAL" clId="{8952FAEC-942D-4C4D-BC41-E1982216D151}" dt="2023-02-14T10:04:09.107" v="5021" actId="14100"/>
          <ac:grpSpMkLst>
            <pc:docMk/>
            <pc:sldMk cId="801933456" sldId="886"/>
            <ac:grpSpMk id="132" creationId="{60B74550-FF4C-4995-B4D5-AF99697E6EF7}"/>
          </ac:grpSpMkLst>
        </pc:grpChg>
        <pc:grpChg chg="mod">
          <ac:chgData name="YUAN Huaxing" userId="680cda70-8f8f-41b8-bd50-03497d97776e" providerId="ADAL" clId="{8952FAEC-942D-4C4D-BC41-E1982216D151}" dt="2023-02-14T10:04:09.107" v="5021" actId="14100"/>
          <ac:grpSpMkLst>
            <pc:docMk/>
            <pc:sldMk cId="801933456" sldId="886"/>
            <ac:grpSpMk id="149" creationId="{292D407F-C9AB-4AB5-A365-C565372D5E34}"/>
          </ac:grpSpMkLst>
        </pc:grpChg>
        <pc:grpChg chg="mod">
          <ac:chgData name="YUAN Huaxing" userId="680cda70-8f8f-41b8-bd50-03497d97776e" providerId="ADAL" clId="{8952FAEC-942D-4C4D-BC41-E1982216D151}" dt="2023-02-14T10:04:09.107" v="5021" actId="14100"/>
          <ac:grpSpMkLst>
            <pc:docMk/>
            <pc:sldMk cId="801933456" sldId="886"/>
            <ac:grpSpMk id="151" creationId="{953BC613-5B9E-45AF-B342-4FF7C1DBB6A0}"/>
          </ac:grpSpMkLst>
        </pc:grpChg>
        <pc:picChg chg="mod">
          <ac:chgData name="YUAN Huaxing" userId="680cda70-8f8f-41b8-bd50-03497d97776e" providerId="ADAL" clId="{8952FAEC-942D-4C4D-BC41-E1982216D151}" dt="2023-02-14T10:04:09.107" v="5021" actId="14100"/>
          <ac:picMkLst>
            <pc:docMk/>
            <pc:sldMk cId="801933456" sldId="886"/>
            <ac:picMk id="8" creationId="{48214F5F-9403-4165-8C30-E742B21A824F}"/>
          </ac:picMkLst>
        </pc:picChg>
        <pc:picChg chg="mod">
          <ac:chgData name="YUAN Huaxing" userId="680cda70-8f8f-41b8-bd50-03497d97776e" providerId="ADAL" clId="{8952FAEC-942D-4C4D-BC41-E1982216D151}" dt="2023-02-14T10:04:09.107" v="5021" actId="14100"/>
          <ac:picMkLst>
            <pc:docMk/>
            <pc:sldMk cId="801933456" sldId="886"/>
            <ac:picMk id="9" creationId="{3B7EF109-6834-4C9B-AF9E-B2BA9DE20C3E}"/>
          </ac:picMkLst>
        </pc:picChg>
        <pc:picChg chg="mod">
          <ac:chgData name="YUAN Huaxing" userId="680cda70-8f8f-41b8-bd50-03497d97776e" providerId="ADAL" clId="{8952FAEC-942D-4C4D-BC41-E1982216D151}" dt="2023-02-14T10:04:09.107" v="5021" actId="14100"/>
          <ac:picMkLst>
            <pc:docMk/>
            <pc:sldMk cId="801933456" sldId="886"/>
            <ac:picMk id="10" creationId="{5FE8B37E-1B7A-4687-A0CE-C0589BA20041}"/>
          </ac:picMkLst>
        </pc:picChg>
        <pc:picChg chg="mod">
          <ac:chgData name="YUAN Huaxing" userId="680cda70-8f8f-41b8-bd50-03497d97776e" providerId="ADAL" clId="{8952FAEC-942D-4C4D-BC41-E1982216D151}" dt="2023-02-14T10:04:09.107" v="5021" actId="14100"/>
          <ac:picMkLst>
            <pc:docMk/>
            <pc:sldMk cId="801933456" sldId="886"/>
            <ac:picMk id="11" creationId="{DF789326-145A-4587-85D1-CBE82A26B27A}"/>
          </ac:picMkLst>
        </pc:picChg>
        <pc:picChg chg="mod">
          <ac:chgData name="YUAN Huaxing" userId="680cda70-8f8f-41b8-bd50-03497d97776e" providerId="ADAL" clId="{8952FAEC-942D-4C4D-BC41-E1982216D151}" dt="2023-02-14T10:04:09.107" v="5021" actId="14100"/>
          <ac:picMkLst>
            <pc:docMk/>
            <pc:sldMk cId="801933456" sldId="886"/>
            <ac:picMk id="17" creationId="{D02A59EA-0CBE-43C5-8E40-6F5506F85BBB}"/>
          </ac:picMkLst>
        </pc:picChg>
        <pc:picChg chg="mod">
          <ac:chgData name="YUAN Huaxing" userId="680cda70-8f8f-41b8-bd50-03497d97776e" providerId="ADAL" clId="{8952FAEC-942D-4C4D-BC41-E1982216D151}" dt="2023-02-14T10:04:09.107" v="5021" actId="14100"/>
          <ac:picMkLst>
            <pc:docMk/>
            <pc:sldMk cId="801933456" sldId="886"/>
            <ac:picMk id="21" creationId="{BB9F067C-D98A-4280-AF0A-BC9EE4D696FD}"/>
          </ac:picMkLst>
        </pc:picChg>
        <pc:picChg chg="mod">
          <ac:chgData name="YUAN Huaxing" userId="680cda70-8f8f-41b8-bd50-03497d97776e" providerId="ADAL" clId="{8952FAEC-942D-4C4D-BC41-E1982216D151}" dt="2023-02-14T10:04:09.107" v="5021" actId="14100"/>
          <ac:picMkLst>
            <pc:docMk/>
            <pc:sldMk cId="801933456" sldId="886"/>
            <ac:picMk id="48" creationId="{59F382EA-AD1C-4153-9B42-04872CB394C9}"/>
          </ac:picMkLst>
        </pc:picChg>
        <pc:picChg chg="mod">
          <ac:chgData name="YUAN Huaxing" userId="680cda70-8f8f-41b8-bd50-03497d97776e" providerId="ADAL" clId="{8952FAEC-942D-4C4D-BC41-E1982216D151}" dt="2023-02-14T10:04:09.107" v="5021" actId="14100"/>
          <ac:picMkLst>
            <pc:docMk/>
            <pc:sldMk cId="801933456" sldId="886"/>
            <ac:picMk id="49" creationId="{B1DE8305-4B91-4701-BE06-2B129EB16154}"/>
          </ac:picMkLst>
        </pc:picChg>
        <pc:picChg chg="mod">
          <ac:chgData name="YUAN Huaxing" userId="680cda70-8f8f-41b8-bd50-03497d97776e" providerId="ADAL" clId="{8952FAEC-942D-4C4D-BC41-E1982216D151}" dt="2023-02-14T10:04:09.107" v="5021" actId="14100"/>
          <ac:picMkLst>
            <pc:docMk/>
            <pc:sldMk cId="801933456" sldId="886"/>
            <ac:picMk id="54" creationId="{E98B6265-101B-4ADC-B9B2-9F194DB7B557}"/>
          </ac:picMkLst>
        </pc:picChg>
        <pc:picChg chg="mod">
          <ac:chgData name="YUAN Huaxing" userId="680cda70-8f8f-41b8-bd50-03497d97776e" providerId="ADAL" clId="{8952FAEC-942D-4C4D-BC41-E1982216D151}" dt="2023-02-14T10:04:09.107" v="5021" actId="14100"/>
          <ac:picMkLst>
            <pc:docMk/>
            <pc:sldMk cId="801933456" sldId="886"/>
            <ac:picMk id="55" creationId="{319914AE-82A0-4134-8D72-815F5EA00945}"/>
          </ac:picMkLst>
        </pc:picChg>
        <pc:picChg chg="mod">
          <ac:chgData name="YUAN Huaxing" userId="680cda70-8f8f-41b8-bd50-03497d97776e" providerId="ADAL" clId="{8952FAEC-942D-4C4D-BC41-E1982216D151}" dt="2023-02-14T10:04:09.107" v="5021" actId="14100"/>
          <ac:picMkLst>
            <pc:docMk/>
            <pc:sldMk cId="801933456" sldId="886"/>
            <ac:picMk id="60" creationId="{FB54C039-A508-4082-8CC7-EF136E555232}"/>
          </ac:picMkLst>
        </pc:picChg>
        <pc:picChg chg="mod">
          <ac:chgData name="YUAN Huaxing" userId="680cda70-8f8f-41b8-bd50-03497d97776e" providerId="ADAL" clId="{8952FAEC-942D-4C4D-BC41-E1982216D151}" dt="2023-02-14T10:04:09.107" v="5021" actId="14100"/>
          <ac:picMkLst>
            <pc:docMk/>
            <pc:sldMk cId="801933456" sldId="886"/>
            <ac:picMk id="61" creationId="{C9523093-15F3-4F7B-88F2-4F0F81653198}"/>
          </ac:picMkLst>
        </pc:picChg>
        <pc:picChg chg="mod">
          <ac:chgData name="YUAN Huaxing" userId="680cda70-8f8f-41b8-bd50-03497d97776e" providerId="ADAL" clId="{8952FAEC-942D-4C4D-BC41-E1982216D151}" dt="2023-02-14T10:04:09.107" v="5021" actId="14100"/>
          <ac:picMkLst>
            <pc:docMk/>
            <pc:sldMk cId="801933456" sldId="886"/>
            <ac:picMk id="66" creationId="{CCB5995D-4979-44D0-BE9C-6CB1526F4573}"/>
          </ac:picMkLst>
        </pc:picChg>
        <pc:picChg chg="mod">
          <ac:chgData name="YUAN Huaxing" userId="680cda70-8f8f-41b8-bd50-03497d97776e" providerId="ADAL" clId="{8952FAEC-942D-4C4D-BC41-E1982216D151}" dt="2023-02-14T10:04:09.107" v="5021" actId="14100"/>
          <ac:picMkLst>
            <pc:docMk/>
            <pc:sldMk cId="801933456" sldId="886"/>
            <ac:picMk id="67" creationId="{2DA0CFD9-DAD5-45EB-9D69-C03AC71CE901}"/>
          </ac:picMkLst>
        </pc:picChg>
        <pc:picChg chg="mod">
          <ac:chgData name="YUAN Huaxing" userId="680cda70-8f8f-41b8-bd50-03497d97776e" providerId="ADAL" clId="{8952FAEC-942D-4C4D-BC41-E1982216D151}" dt="2023-02-14T10:04:09.107" v="5021" actId="14100"/>
          <ac:picMkLst>
            <pc:docMk/>
            <pc:sldMk cId="801933456" sldId="886"/>
            <ac:picMk id="72" creationId="{1D6F49CF-5A50-4E1E-9C84-76DBD36254A8}"/>
          </ac:picMkLst>
        </pc:picChg>
        <pc:picChg chg="mod">
          <ac:chgData name="YUAN Huaxing" userId="680cda70-8f8f-41b8-bd50-03497d97776e" providerId="ADAL" clId="{8952FAEC-942D-4C4D-BC41-E1982216D151}" dt="2023-02-14T10:04:09.107" v="5021" actId="14100"/>
          <ac:picMkLst>
            <pc:docMk/>
            <pc:sldMk cId="801933456" sldId="886"/>
            <ac:picMk id="73" creationId="{694185C0-6AF2-416C-AFBB-A15C74FD1E58}"/>
          </ac:picMkLst>
        </pc:picChg>
        <pc:picChg chg="mod">
          <ac:chgData name="YUAN Huaxing" userId="680cda70-8f8f-41b8-bd50-03497d97776e" providerId="ADAL" clId="{8952FAEC-942D-4C4D-BC41-E1982216D151}" dt="2023-02-14T10:04:09.107" v="5021" actId="14100"/>
          <ac:picMkLst>
            <pc:docMk/>
            <pc:sldMk cId="801933456" sldId="886"/>
            <ac:picMk id="89" creationId="{270FBC2D-408D-4159-A955-2C3ED734EE30}"/>
          </ac:picMkLst>
        </pc:picChg>
        <pc:picChg chg="mod">
          <ac:chgData name="YUAN Huaxing" userId="680cda70-8f8f-41b8-bd50-03497d97776e" providerId="ADAL" clId="{8952FAEC-942D-4C4D-BC41-E1982216D151}" dt="2023-02-14T10:04:09.107" v="5021" actId="14100"/>
          <ac:picMkLst>
            <pc:docMk/>
            <pc:sldMk cId="801933456" sldId="886"/>
            <ac:picMk id="99" creationId="{3B48651C-49DD-4194-B5FC-1E222083D6E7}"/>
          </ac:picMkLst>
        </pc:picChg>
        <pc:picChg chg="mod">
          <ac:chgData name="YUAN Huaxing" userId="680cda70-8f8f-41b8-bd50-03497d97776e" providerId="ADAL" clId="{8952FAEC-942D-4C4D-BC41-E1982216D151}" dt="2023-02-14T10:04:09.107" v="5021" actId="14100"/>
          <ac:picMkLst>
            <pc:docMk/>
            <pc:sldMk cId="801933456" sldId="886"/>
            <ac:picMk id="101" creationId="{94E01CA1-0F26-45BA-8EC3-C69807FF0B57}"/>
          </ac:picMkLst>
        </pc:picChg>
        <pc:picChg chg="mod">
          <ac:chgData name="YUAN Huaxing" userId="680cda70-8f8f-41b8-bd50-03497d97776e" providerId="ADAL" clId="{8952FAEC-942D-4C4D-BC41-E1982216D151}" dt="2023-02-14T10:04:09.107" v="5021" actId="14100"/>
          <ac:picMkLst>
            <pc:docMk/>
            <pc:sldMk cId="801933456" sldId="886"/>
            <ac:picMk id="120" creationId="{9695DFFC-0AD0-48D1-B226-2D8271510AD7}"/>
          </ac:picMkLst>
        </pc:picChg>
        <pc:picChg chg="del">
          <ac:chgData name="YUAN Huaxing" userId="680cda70-8f8f-41b8-bd50-03497d97776e" providerId="ADAL" clId="{8952FAEC-942D-4C4D-BC41-E1982216D151}" dt="2023-02-14T10:03:10.453" v="5017" actId="478"/>
          <ac:picMkLst>
            <pc:docMk/>
            <pc:sldMk cId="801933456" sldId="886"/>
            <ac:picMk id="121" creationId="{552B1F74-3D11-4E7A-A4DB-261BDEFC4FB1}"/>
          </ac:picMkLst>
        </pc:picChg>
        <pc:picChg chg="mod">
          <ac:chgData name="YUAN Huaxing" userId="680cda70-8f8f-41b8-bd50-03497d97776e" providerId="ADAL" clId="{8952FAEC-942D-4C4D-BC41-E1982216D151}" dt="2023-02-14T10:04:09.107" v="5021" actId="14100"/>
          <ac:picMkLst>
            <pc:docMk/>
            <pc:sldMk cId="801933456" sldId="886"/>
            <ac:picMk id="122" creationId="{B115DB0A-4A34-44F5-B238-D4620D56EB79}"/>
          </ac:picMkLst>
        </pc:picChg>
        <pc:picChg chg="del">
          <ac:chgData name="YUAN Huaxing" userId="680cda70-8f8f-41b8-bd50-03497d97776e" providerId="ADAL" clId="{8952FAEC-942D-4C4D-BC41-E1982216D151}" dt="2023-02-14T10:03:08.220" v="5016" actId="478"/>
          <ac:picMkLst>
            <pc:docMk/>
            <pc:sldMk cId="801933456" sldId="886"/>
            <ac:picMk id="123" creationId="{C89D4D95-12E7-4CA1-9AEC-E241DF69160C}"/>
          </ac:picMkLst>
        </pc:picChg>
        <pc:picChg chg="mod">
          <ac:chgData name="YUAN Huaxing" userId="680cda70-8f8f-41b8-bd50-03497d97776e" providerId="ADAL" clId="{8952FAEC-942D-4C4D-BC41-E1982216D151}" dt="2023-02-14T10:04:09.107" v="5021" actId="14100"/>
          <ac:picMkLst>
            <pc:docMk/>
            <pc:sldMk cId="801933456" sldId="886"/>
            <ac:picMk id="124" creationId="{3FB9F3A5-7C12-4FD8-B5A7-731B2888AE87}"/>
          </ac:picMkLst>
        </pc:picChg>
        <pc:picChg chg="del">
          <ac:chgData name="YUAN Huaxing" userId="680cda70-8f8f-41b8-bd50-03497d97776e" providerId="ADAL" clId="{8952FAEC-942D-4C4D-BC41-E1982216D151}" dt="2023-02-14T10:03:06.244" v="5015" actId="478"/>
          <ac:picMkLst>
            <pc:docMk/>
            <pc:sldMk cId="801933456" sldId="886"/>
            <ac:picMk id="125" creationId="{C437AA70-0D8A-48CB-92C1-B0201E7A8B3D}"/>
          </ac:picMkLst>
        </pc:picChg>
        <pc:picChg chg="del">
          <ac:chgData name="YUAN Huaxing" userId="680cda70-8f8f-41b8-bd50-03497d97776e" providerId="ADAL" clId="{8952FAEC-942D-4C4D-BC41-E1982216D151}" dt="2023-02-14T10:03:04.038" v="5014" actId="478"/>
          <ac:picMkLst>
            <pc:docMk/>
            <pc:sldMk cId="801933456" sldId="886"/>
            <ac:picMk id="127" creationId="{58444184-EBA9-476E-B559-D496A943E8EB}"/>
          </ac:picMkLst>
        </pc:picChg>
        <pc:picChg chg="mod">
          <ac:chgData name="YUAN Huaxing" userId="680cda70-8f8f-41b8-bd50-03497d97776e" providerId="ADAL" clId="{8952FAEC-942D-4C4D-BC41-E1982216D151}" dt="2023-02-14T10:04:09.107" v="5021" actId="14100"/>
          <ac:picMkLst>
            <pc:docMk/>
            <pc:sldMk cId="801933456" sldId="886"/>
            <ac:picMk id="128" creationId="{68A874F0-A50F-4E29-81B3-744A5ADCBD1A}"/>
          </ac:picMkLst>
        </pc:picChg>
        <pc:picChg chg="mod">
          <ac:chgData name="YUAN Huaxing" userId="680cda70-8f8f-41b8-bd50-03497d97776e" providerId="ADAL" clId="{8952FAEC-942D-4C4D-BC41-E1982216D151}" dt="2023-02-14T10:04:09.107" v="5021" actId="14100"/>
          <ac:picMkLst>
            <pc:docMk/>
            <pc:sldMk cId="801933456" sldId="886"/>
            <ac:picMk id="130" creationId="{3F55E924-4210-4681-8C26-022AF04037EA}"/>
          </ac:picMkLst>
        </pc:picChg>
        <pc:picChg chg="mod">
          <ac:chgData name="YUAN Huaxing" userId="680cda70-8f8f-41b8-bd50-03497d97776e" providerId="ADAL" clId="{8952FAEC-942D-4C4D-BC41-E1982216D151}" dt="2023-02-14T10:04:09.107" v="5021" actId="14100"/>
          <ac:picMkLst>
            <pc:docMk/>
            <pc:sldMk cId="801933456" sldId="886"/>
            <ac:picMk id="134" creationId="{D943AA02-6A5E-4269-B08C-EFBC8137FA4C}"/>
          </ac:picMkLst>
        </pc:picChg>
        <pc:cxnChg chg="mod">
          <ac:chgData name="YUAN Huaxing" userId="680cda70-8f8f-41b8-bd50-03497d97776e" providerId="ADAL" clId="{8952FAEC-942D-4C4D-BC41-E1982216D151}" dt="2023-02-14T10:04:09.107" v="5021" actId="14100"/>
          <ac:cxnSpMkLst>
            <pc:docMk/>
            <pc:sldMk cId="801933456" sldId="886"/>
            <ac:cxnSpMk id="25" creationId="{12160831-1668-4A32-89DC-0D1ED4574CF7}"/>
          </ac:cxnSpMkLst>
        </pc:cxnChg>
        <pc:cxnChg chg="mod">
          <ac:chgData name="YUAN Huaxing" userId="680cda70-8f8f-41b8-bd50-03497d97776e" providerId="ADAL" clId="{8952FAEC-942D-4C4D-BC41-E1982216D151}" dt="2023-02-14T10:04:09.107" v="5021" actId="14100"/>
          <ac:cxnSpMkLst>
            <pc:docMk/>
            <pc:sldMk cId="801933456" sldId="886"/>
            <ac:cxnSpMk id="26" creationId="{47DB13F2-0638-463C-A6F8-DA9A71CD6FA2}"/>
          </ac:cxnSpMkLst>
        </pc:cxnChg>
        <pc:cxnChg chg="mod">
          <ac:chgData name="YUAN Huaxing" userId="680cda70-8f8f-41b8-bd50-03497d97776e" providerId="ADAL" clId="{8952FAEC-942D-4C4D-BC41-E1982216D151}" dt="2023-02-14T10:04:09.107" v="5021" actId="14100"/>
          <ac:cxnSpMkLst>
            <pc:docMk/>
            <pc:sldMk cId="801933456" sldId="886"/>
            <ac:cxnSpMk id="27" creationId="{F4926B79-FB71-4046-9867-2071F2E6F72B}"/>
          </ac:cxnSpMkLst>
        </pc:cxnChg>
        <pc:cxnChg chg="mod">
          <ac:chgData name="YUAN Huaxing" userId="680cda70-8f8f-41b8-bd50-03497d97776e" providerId="ADAL" clId="{8952FAEC-942D-4C4D-BC41-E1982216D151}" dt="2023-02-14T10:04:09.107" v="5021" actId="14100"/>
          <ac:cxnSpMkLst>
            <pc:docMk/>
            <pc:sldMk cId="801933456" sldId="886"/>
            <ac:cxnSpMk id="28" creationId="{35AA72E8-AA1B-420D-9A7F-FF0650936282}"/>
          </ac:cxnSpMkLst>
        </pc:cxnChg>
        <pc:cxnChg chg="mod">
          <ac:chgData name="YUAN Huaxing" userId="680cda70-8f8f-41b8-bd50-03497d97776e" providerId="ADAL" clId="{8952FAEC-942D-4C4D-BC41-E1982216D151}" dt="2023-02-14T10:04:09.107" v="5021" actId="14100"/>
          <ac:cxnSpMkLst>
            <pc:docMk/>
            <pc:sldMk cId="801933456" sldId="886"/>
            <ac:cxnSpMk id="34" creationId="{57A616D7-75F2-4E17-ADDE-1A33682019EC}"/>
          </ac:cxnSpMkLst>
        </pc:cxnChg>
        <pc:cxnChg chg="mod">
          <ac:chgData name="YUAN Huaxing" userId="680cda70-8f8f-41b8-bd50-03497d97776e" providerId="ADAL" clId="{8952FAEC-942D-4C4D-BC41-E1982216D151}" dt="2023-02-14T10:04:09.107" v="5021" actId="14100"/>
          <ac:cxnSpMkLst>
            <pc:docMk/>
            <pc:sldMk cId="801933456" sldId="886"/>
            <ac:cxnSpMk id="90" creationId="{5DD27249-F4A8-4DCF-9F07-5BB8E06308CA}"/>
          </ac:cxnSpMkLst>
        </pc:cxnChg>
        <pc:cxnChg chg="mod">
          <ac:chgData name="YUAN Huaxing" userId="680cda70-8f8f-41b8-bd50-03497d97776e" providerId="ADAL" clId="{8952FAEC-942D-4C4D-BC41-E1982216D151}" dt="2023-02-14T10:04:09.107" v="5021" actId="14100"/>
          <ac:cxnSpMkLst>
            <pc:docMk/>
            <pc:sldMk cId="801933456" sldId="886"/>
            <ac:cxnSpMk id="91" creationId="{2F727C79-7C94-4C68-A8E6-5D2462064032}"/>
          </ac:cxnSpMkLst>
        </pc:cxnChg>
        <pc:cxnChg chg="mod">
          <ac:chgData name="YUAN Huaxing" userId="680cda70-8f8f-41b8-bd50-03497d97776e" providerId="ADAL" clId="{8952FAEC-942D-4C4D-BC41-E1982216D151}" dt="2023-02-14T10:04:09.107" v="5021" actId="14100"/>
          <ac:cxnSpMkLst>
            <pc:docMk/>
            <pc:sldMk cId="801933456" sldId="886"/>
            <ac:cxnSpMk id="92" creationId="{2A460D32-9AAE-426D-A3D5-66C09D97D7BE}"/>
          </ac:cxnSpMkLst>
        </pc:cxnChg>
        <pc:cxnChg chg="mod">
          <ac:chgData name="YUAN Huaxing" userId="680cda70-8f8f-41b8-bd50-03497d97776e" providerId="ADAL" clId="{8952FAEC-942D-4C4D-BC41-E1982216D151}" dt="2023-02-14T10:04:09.107" v="5021" actId="14100"/>
          <ac:cxnSpMkLst>
            <pc:docMk/>
            <pc:sldMk cId="801933456" sldId="886"/>
            <ac:cxnSpMk id="131" creationId="{0F59751B-3E83-4BF0-A49E-AE2C1179CF04}"/>
          </ac:cxnSpMkLst>
        </pc:cxnChg>
        <pc:cxnChg chg="mod">
          <ac:chgData name="YUAN Huaxing" userId="680cda70-8f8f-41b8-bd50-03497d97776e" providerId="ADAL" clId="{8952FAEC-942D-4C4D-BC41-E1982216D151}" dt="2023-02-14T10:04:09.107" v="5021" actId="14100"/>
          <ac:cxnSpMkLst>
            <pc:docMk/>
            <pc:sldMk cId="801933456" sldId="886"/>
            <ac:cxnSpMk id="135" creationId="{8684E1E2-266A-4021-B30C-F94392201430}"/>
          </ac:cxnSpMkLst>
        </pc:cxnChg>
        <pc:cxnChg chg="mod">
          <ac:chgData name="YUAN Huaxing" userId="680cda70-8f8f-41b8-bd50-03497d97776e" providerId="ADAL" clId="{8952FAEC-942D-4C4D-BC41-E1982216D151}" dt="2023-02-14T10:04:09.107" v="5021" actId="14100"/>
          <ac:cxnSpMkLst>
            <pc:docMk/>
            <pc:sldMk cId="801933456" sldId="886"/>
            <ac:cxnSpMk id="138" creationId="{EDD64BD4-AD5C-4CB8-8C78-E642F03393B7}"/>
          </ac:cxnSpMkLst>
        </pc:cxnChg>
        <pc:cxnChg chg="mod">
          <ac:chgData name="YUAN Huaxing" userId="680cda70-8f8f-41b8-bd50-03497d97776e" providerId="ADAL" clId="{8952FAEC-942D-4C4D-BC41-E1982216D151}" dt="2023-02-14T10:04:09.107" v="5021" actId="14100"/>
          <ac:cxnSpMkLst>
            <pc:docMk/>
            <pc:sldMk cId="801933456" sldId="886"/>
            <ac:cxnSpMk id="143" creationId="{0CB21FD0-FB6E-4DBF-A525-41CF09032ED3}"/>
          </ac:cxnSpMkLst>
        </pc:cxnChg>
        <pc:cxnChg chg="mod">
          <ac:chgData name="YUAN Huaxing" userId="680cda70-8f8f-41b8-bd50-03497d97776e" providerId="ADAL" clId="{8952FAEC-942D-4C4D-BC41-E1982216D151}" dt="2023-02-14T10:04:09.107" v="5021" actId="14100"/>
          <ac:cxnSpMkLst>
            <pc:docMk/>
            <pc:sldMk cId="801933456" sldId="886"/>
            <ac:cxnSpMk id="146" creationId="{063B7632-6358-4CF0-B1D0-3E1413D18540}"/>
          </ac:cxnSpMkLst>
        </pc:cxnChg>
      </pc:sldChg>
      <pc:sldChg chg="addSp delSp modSp mod">
        <pc:chgData name="YUAN Huaxing" userId="680cda70-8f8f-41b8-bd50-03497d97776e" providerId="ADAL" clId="{8952FAEC-942D-4C4D-BC41-E1982216D151}" dt="2023-02-14T12:39:12.457" v="5656" actId="1038"/>
        <pc:sldMkLst>
          <pc:docMk/>
          <pc:sldMk cId="4255054038" sldId="2147470873"/>
        </pc:sldMkLst>
        <pc:spChg chg="mod">
          <ac:chgData name="YUAN Huaxing" userId="680cda70-8f8f-41b8-bd50-03497d97776e" providerId="ADAL" clId="{8952FAEC-942D-4C4D-BC41-E1982216D151}" dt="2023-02-08T15:56:12.797" v="3566"/>
          <ac:spMkLst>
            <pc:docMk/>
            <pc:sldMk cId="4255054038" sldId="2147470873"/>
            <ac:spMk id="2" creationId="{3D5DE8C4-8D5B-4E5C-9313-A9077ED0EAB9}"/>
          </ac:spMkLst>
        </pc:spChg>
        <pc:spChg chg="add mod">
          <ac:chgData name="YUAN Huaxing" userId="680cda70-8f8f-41b8-bd50-03497d97776e" providerId="ADAL" clId="{8952FAEC-942D-4C4D-BC41-E1982216D151}" dt="2023-02-14T12:39:12.457" v="5656" actId="1038"/>
          <ac:spMkLst>
            <pc:docMk/>
            <pc:sldMk cId="4255054038" sldId="2147470873"/>
            <ac:spMk id="3" creationId="{7FC57960-4049-A52E-8B61-B70393AB8E90}"/>
          </ac:spMkLst>
        </pc:spChg>
        <pc:spChg chg="del">
          <ac:chgData name="YUAN Huaxing" userId="680cda70-8f8f-41b8-bd50-03497d97776e" providerId="ADAL" clId="{8952FAEC-942D-4C4D-BC41-E1982216D151}" dt="2023-02-07T15:04:16.996" v="1861" actId="478"/>
          <ac:spMkLst>
            <pc:docMk/>
            <pc:sldMk cId="4255054038" sldId="2147470873"/>
            <ac:spMk id="21" creationId="{AD7EC900-0673-4231-9CB5-96513CBB161C}"/>
          </ac:spMkLst>
        </pc:spChg>
        <pc:graphicFrameChg chg="modGraphic">
          <ac:chgData name="YUAN Huaxing" userId="680cda70-8f8f-41b8-bd50-03497d97776e" providerId="ADAL" clId="{8952FAEC-942D-4C4D-BC41-E1982216D151}" dt="2023-02-14T10:58:51.653" v="5279" actId="20577"/>
          <ac:graphicFrameMkLst>
            <pc:docMk/>
            <pc:sldMk cId="4255054038" sldId="2147470873"/>
            <ac:graphicFrameMk id="4" creationId="{C1375BA8-286D-4BD3-A31B-9DFF4D466EC6}"/>
          </ac:graphicFrameMkLst>
        </pc:graphicFrameChg>
      </pc:sldChg>
      <pc:sldChg chg="del">
        <pc:chgData name="YUAN Huaxing" userId="680cda70-8f8f-41b8-bd50-03497d97776e" providerId="ADAL" clId="{8952FAEC-942D-4C4D-BC41-E1982216D151}" dt="2023-02-06T16:06:47.933" v="33" actId="47"/>
        <pc:sldMkLst>
          <pc:docMk/>
          <pc:sldMk cId="2268126563" sldId="2147470875"/>
        </pc:sldMkLst>
      </pc:sldChg>
      <pc:sldChg chg="delSp modSp mod">
        <pc:chgData name="YUAN Huaxing" userId="680cda70-8f8f-41b8-bd50-03497d97776e" providerId="ADAL" clId="{8952FAEC-942D-4C4D-BC41-E1982216D151}" dt="2023-02-08T15:56:02.617" v="3562" actId="20577"/>
        <pc:sldMkLst>
          <pc:docMk/>
          <pc:sldMk cId="1728893319" sldId="2147470876"/>
        </pc:sldMkLst>
        <pc:spChg chg="mod">
          <ac:chgData name="YUAN Huaxing" userId="680cda70-8f8f-41b8-bd50-03497d97776e" providerId="ADAL" clId="{8952FAEC-942D-4C4D-BC41-E1982216D151}" dt="2023-02-08T15:56:02.617" v="3562" actId="20577"/>
          <ac:spMkLst>
            <pc:docMk/>
            <pc:sldMk cId="1728893319" sldId="2147470876"/>
            <ac:spMk id="2" creationId="{80DFCC74-A22C-4FF0-9ECA-9EF632A22690}"/>
          </ac:spMkLst>
        </pc:spChg>
        <pc:spChg chg="del">
          <ac:chgData name="YUAN Huaxing" userId="680cda70-8f8f-41b8-bd50-03497d97776e" providerId="ADAL" clId="{8952FAEC-942D-4C4D-BC41-E1982216D151}" dt="2023-02-07T15:04:10.276" v="1858" actId="478"/>
          <ac:spMkLst>
            <pc:docMk/>
            <pc:sldMk cId="1728893319" sldId="2147470876"/>
            <ac:spMk id="8" creationId="{5A54F5EA-E936-40F1-A012-F3763766188E}"/>
          </ac:spMkLst>
        </pc:spChg>
      </pc:sldChg>
      <pc:sldChg chg="del">
        <pc:chgData name="YUAN Huaxing" userId="680cda70-8f8f-41b8-bd50-03497d97776e" providerId="ADAL" clId="{8952FAEC-942D-4C4D-BC41-E1982216D151}" dt="2023-02-06T16:06:47.933" v="33" actId="47"/>
        <pc:sldMkLst>
          <pc:docMk/>
          <pc:sldMk cId="1873259815" sldId="2147470877"/>
        </pc:sldMkLst>
      </pc:sldChg>
      <pc:sldChg chg="delSp modSp mod">
        <pc:chgData name="YUAN Huaxing" userId="680cda70-8f8f-41b8-bd50-03497d97776e" providerId="ADAL" clId="{8952FAEC-942D-4C4D-BC41-E1982216D151}" dt="2023-02-14T10:58:06.660" v="5277" actId="13926"/>
        <pc:sldMkLst>
          <pc:docMk/>
          <pc:sldMk cId="2831867188" sldId="2147470878"/>
        </pc:sldMkLst>
        <pc:spChg chg="mod">
          <ac:chgData name="YUAN Huaxing" userId="680cda70-8f8f-41b8-bd50-03497d97776e" providerId="ADAL" clId="{8952FAEC-942D-4C4D-BC41-E1982216D151}" dt="2023-02-08T15:56:08.093" v="3564"/>
          <ac:spMkLst>
            <pc:docMk/>
            <pc:sldMk cId="2831867188" sldId="2147470878"/>
            <ac:spMk id="2" creationId="{211B5C40-23A7-4240-B895-F3E6AAF775F8}"/>
          </ac:spMkLst>
        </pc:spChg>
        <pc:spChg chg="mod">
          <ac:chgData name="YUAN Huaxing" userId="680cda70-8f8f-41b8-bd50-03497d97776e" providerId="ADAL" clId="{8952FAEC-942D-4C4D-BC41-E1982216D151}" dt="2023-02-14T10:58:06.660" v="5277" actId="13926"/>
          <ac:spMkLst>
            <pc:docMk/>
            <pc:sldMk cId="2831867188" sldId="2147470878"/>
            <ac:spMk id="10" creationId="{3082DF56-5EEB-4571-8A6D-0247D9D1CD76}"/>
          </ac:spMkLst>
        </pc:spChg>
        <pc:spChg chg="del">
          <ac:chgData name="YUAN Huaxing" userId="680cda70-8f8f-41b8-bd50-03497d97776e" providerId="ADAL" clId="{8952FAEC-942D-4C4D-BC41-E1982216D151}" dt="2023-02-07T15:04:12.044" v="1859" actId="478"/>
          <ac:spMkLst>
            <pc:docMk/>
            <pc:sldMk cId="2831867188" sldId="2147470878"/>
            <ac:spMk id="11" creationId="{707F8558-9D12-433E-B903-770C59F6D32A}"/>
          </ac:spMkLst>
        </pc:spChg>
      </pc:sldChg>
      <pc:sldChg chg="delSp modSp mod">
        <pc:chgData name="YUAN Huaxing" userId="680cda70-8f8f-41b8-bd50-03497d97776e" providerId="ADAL" clId="{8952FAEC-942D-4C4D-BC41-E1982216D151}" dt="2023-02-08T15:56:10.394" v="3565"/>
        <pc:sldMkLst>
          <pc:docMk/>
          <pc:sldMk cId="3711128851" sldId="2147470880"/>
        </pc:sldMkLst>
        <pc:spChg chg="mod">
          <ac:chgData name="YUAN Huaxing" userId="680cda70-8f8f-41b8-bd50-03497d97776e" providerId="ADAL" clId="{8952FAEC-942D-4C4D-BC41-E1982216D151}" dt="2023-02-08T15:56:10.394" v="3565"/>
          <ac:spMkLst>
            <pc:docMk/>
            <pc:sldMk cId="3711128851" sldId="2147470880"/>
            <ac:spMk id="2" creationId="{A290AFE0-0993-470C-B43F-41AFFF87E4E5}"/>
          </ac:spMkLst>
        </pc:spChg>
        <pc:spChg chg="mod">
          <ac:chgData name="YUAN Huaxing" userId="680cda70-8f8f-41b8-bd50-03497d97776e" providerId="ADAL" clId="{8952FAEC-942D-4C4D-BC41-E1982216D151}" dt="2023-02-07T14:56:58.383" v="1803" actId="20577"/>
          <ac:spMkLst>
            <pc:docMk/>
            <pc:sldMk cId="3711128851" sldId="2147470880"/>
            <ac:spMk id="3" creationId="{96DB8F50-9AB5-4150-9684-A33B3C0A0F12}"/>
          </ac:spMkLst>
        </pc:spChg>
        <pc:spChg chg="mod">
          <ac:chgData name="YUAN Huaxing" userId="680cda70-8f8f-41b8-bd50-03497d97776e" providerId="ADAL" clId="{8952FAEC-942D-4C4D-BC41-E1982216D151}" dt="2023-02-07T14:57:14.363" v="1808" actId="20577"/>
          <ac:spMkLst>
            <pc:docMk/>
            <pc:sldMk cId="3711128851" sldId="2147470880"/>
            <ac:spMk id="8" creationId="{AA133D81-9EF9-4CF2-8702-703BE07E407E}"/>
          </ac:spMkLst>
        </pc:spChg>
        <pc:spChg chg="del">
          <ac:chgData name="YUAN Huaxing" userId="680cda70-8f8f-41b8-bd50-03497d97776e" providerId="ADAL" clId="{8952FAEC-942D-4C4D-BC41-E1982216D151}" dt="2023-02-07T15:04:14.236" v="1860" actId="478"/>
          <ac:spMkLst>
            <pc:docMk/>
            <pc:sldMk cId="3711128851" sldId="2147470880"/>
            <ac:spMk id="9" creationId="{87624D93-F9F5-4146-A5A4-52661FFD92C4}"/>
          </ac:spMkLst>
        </pc:spChg>
      </pc:sldChg>
      <pc:sldChg chg="modSp del mod ord">
        <pc:chgData name="YUAN Huaxing" userId="680cda70-8f8f-41b8-bd50-03497d97776e" providerId="ADAL" clId="{8952FAEC-942D-4C4D-BC41-E1982216D151}" dt="2023-02-07T16:12:02.844" v="2950" actId="47"/>
        <pc:sldMkLst>
          <pc:docMk/>
          <pc:sldMk cId="3414867377" sldId="2147470881"/>
        </pc:sldMkLst>
        <pc:spChg chg="mod">
          <ac:chgData name="YUAN Huaxing" userId="680cda70-8f8f-41b8-bd50-03497d97776e" providerId="ADAL" clId="{8952FAEC-942D-4C4D-BC41-E1982216D151}" dt="2023-02-07T14:59:40.142" v="1838" actId="14100"/>
          <ac:spMkLst>
            <pc:docMk/>
            <pc:sldMk cId="3414867377" sldId="2147470881"/>
            <ac:spMk id="10" creationId="{919A0F7B-3C5F-41DA-919A-3F0D1087D18D}"/>
          </ac:spMkLst>
        </pc:spChg>
        <pc:spChg chg="mod">
          <ac:chgData name="YUAN Huaxing" userId="680cda70-8f8f-41b8-bd50-03497d97776e" providerId="ADAL" clId="{8952FAEC-942D-4C4D-BC41-E1982216D151}" dt="2023-02-07T14:58:26.545" v="1822" actId="404"/>
          <ac:spMkLst>
            <pc:docMk/>
            <pc:sldMk cId="3414867377" sldId="2147470881"/>
            <ac:spMk id="19" creationId="{5FFE6B68-1704-4491-8673-5308FA8E7F5D}"/>
          </ac:spMkLst>
        </pc:spChg>
        <pc:spChg chg="mod">
          <ac:chgData name="YUAN Huaxing" userId="680cda70-8f8f-41b8-bd50-03497d97776e" providerId="ADAL" clId="{8952FAEC-942D-4C4D-BC41-E1982216D151}" dt="2023-02-07T14:58:18.443" v="1820" actId="14100"/>
          <ac:spMkLst>
            <pc:docMk/>
            <pc:sldMk cId="3414867377" sldId="2147470881"/>
            <ac:spMk id="22" creationId="{CC4F602E-12DF-41BA-8046-97A856B3695A}"/>
          </ac:spMkLst>
        </pc:spChg>
        <pc:spChg chg="mod">
          <ac:chgData name="YUAN Huaxing" userId="680cda70-8f8f-41b8-bd50-03497d97776e" providerId="ADAL" clId="{8952FAEC-942D-4C4D-BC41-E1982216D151}" dt="2023-02-07T14:58:35.699" v="1826" actId="14100"/>
          <ac:spMkLst>
            <pc:docMk/>
            <pc:sldMk cId="3414867377" sldId="2147470881"/>
            <ac:spMk id="23" creationId="{B16FA916-7E8A-4CFF-A126-4569B8D63C38}"/>
          </ac:spMkLst>
        </pc:spChg>
        <pc:spChg chg="mod">
          <ac:chgData name="YUAN Huaxing" userId="680cda70-8f8f-41b8-bd50-03497d97776e" providerId="ADAL" clId="{8952FAEC-942D-4C4D-BC41-E1982216D151}" dt="2023-02-07T14:58:44.079" v="1830" actId="14100"/>
          <ac:spMkLst>
            <pc:docMk/>
            <pc:sldMk cId="3414867377" sldId="2147470881"/>
            <ac:spMk id="24" creationId="{D4AB9144-DCBF-41A7-8D40-AEB52926A21D}"/>
          </ac:spMkLst>
        </pc:spChg>
        <pc:spChg chg="mod">
          <ac:chgData name="YUAN Huaxing" userId="680cda70-8f8f-41b8-bd50-03497d97776e" providerId="ADAL" clId="{8952FAEC-942D-4C4D-BC41-E1982216D151}" dt="2023-02-07T14:58:33.342" v="1825" actId="1076"/>
          <ac:spMkLst>
            <pc:docMk/>
            <pc:sldMk cId="3414867377" sldId="2147470881"/>
            <ac:spMk id="26" creationId="{B6607990-F425-4D89-9BF0-BBE693381A9C}"/>
          </ac:spMkLst>
        </pc:spChg>
        <pc:spChg chg="mod">
          <ac:chgData name="YUAN Huaxing" userId="680cda70-8f8f-41b8-bd50-03497d97776e" providerId="ADAL" clId="{8952FAEC-942D-4C4D-BC41-E1982216D151}" dt="2023-02-07T14:58:40.611" v="1829" actId="1076"/>
          <ac:spMkLst>
            <pc:docMk/>
            <pc:sldMk cId="3414867377" sldId="2147470881"/>
            <ac:spMk id="27" creationId="{6B96D4BC-425D-40AC-8469-4415C919A11C}"/>
          </ac:spMkLst>
        </pc:spChg>
        <pc:spChg chg="mod">
          <ac:chgData name="YUAN Huaxing" userId="680cda70-8f8f-41b8-bd50-03497d97776e" providerId="ADAL" clId="{8952FAEC-942D-4C4D-BC41-E1982216D151}" dt="2023-02-07T14:59:19.853" v="1834" actId="313"/>
          <ac:spMkLst>
            <pc:docMk/>
            <pc:sldMk cId="3414867377" sldId="2147470881"/>
            <ac:spMk id="28" creationId="{4E4AC994-3764-43B4-8F78-9617A8909AA6}"/>
          </ac:spMkLst>
        </pc:spChg>
        <pc:spChg chg="mod">
          <ac:chgData name="YUAN Huaxing" userId="680cda70-8f8f-41b8-bd50-03497d97776e" providerId="ADAL" clId="{8952FAEC-942D-4C4D-BC41-E1982216D151}" dt="2023-02-07T14:58:50.461" v="1832" actId="14100"/>
          <ac:spMkLst>
            <pc:docMk/>
            <pc:sldMk cId="3414867377" sldId="2147470881"/>
            <ac:spMk id="29" creationId="{9CD43F80-8838-424C-8080-70973F095ED3}"/>
          </ac:spMkLst>
        </pc:spChg>
        <pc:spChg chg="mod">
          <ac:chgData name="YUAN Huaxing" userId="680cda70-8f8f-41b8-bd50-03497d97776e" providerId="ADAL" clId="{8952FAEC-942D-4C4D-BC41-E1982216D151}" dt="2023-02-07T14:59:25.541" v="1835" actId="14100"/>
          <ac:spMkLst>
            <pc:docMk/>
            <pc:sldMk cId="3414867377" sldId="2147470881"/>
            <ac:spMk id="33" creationId="{F256BB39-3AD9-48D9-B704-93A191583D74}"/>
          </ac:spMkLst>
        </pc:spChg>
        <pc:spChg chg="mod">
          <ac:chgData name="YUAN Huaxing" userId="680cda70-8f8f-41b8-bd50-03497d97776e" providerId="ADAL" clId="{8952FAEC-942D-4C4D-BC41-E1982216D151}" dt="2023-02-07T14:59:28.672" v="1836" actId="1076"/>
          <ac:spMkLst>
            <pc:docMk/>
            <pc:sldMk cId="3414867377" sldId="2147470881"/>
            <ac:spMk id="34" creationId="{16D1027B-1A3A-40F7-91F9-A9CEE42F8D72}"/>
          </ac:spMkLst>
        </pc:spChg>
      </pc:sldChg>
      <pc:sldChg chg="delSp modSp mod">
        <pc:chgData name="YUAN Huaxing" userId="680cda70-8f8f-41b8-bd50-03497d97776e" providerId="ADAL" clId="{8952FAEC-942D-4C4D-BC41-E1982216D151}" dt="2023-02-14T12:39:34.519" v="5657" actId="20577"/>
        <pc:sldMkLst>
          <pc:docMk/>
          <pc:sldMk cId="675789009" sldId="2147470882"/>
        </pc:sldMkLst>
        <pc:spChg chg="mod">
          <ac:chgData name="YUAN Huaxing" userId="680cda70-8f8f-41b8-bd50-03497d97776e" providerId="ADAL" clId="{8952FAEC-942D-4C4D-BC41-E1982216D151}" dt="2023-02-08T15:55:48.709" v="3539" actId="20577"/>
          <ac:spMkLst>
            <pc:docMk/>
            <pc:sldMk cId="675789009" sldId="2147470882"/>
            <ac:spMk id="2" creationId="{4668118C-5BF6-443C-A2EC-463F5CAA2F82}"/>
          </ac:spMkLst>
        </pc:spChg>
        <pc:spChg chg="mod">
          <ac:chgData name="YUAN Huaxing" userId="680cda70-8f8f-41b8-bd50-03497d97776e" providerId="ADAL" clId="{8952FAEC-942D-4C4D-BC41-E1982216D151}" dt="2023-02-08T15:55:52.659" v="3546" actId="20577"/>
          <ac:spMkLst>
            <pc:docMk/>
            <pc:sldMk cId="675789009" sldId="2147470882"/>
            <ac:spMk id="3" creationId="{E95B1184-1EAB-4FA1-BF84-E943A1FD9E3C}"/>
          </ac:spMkLst>
        </pc:spChg>
        <pc:spChg chg="del">
          <ac:chgData name="YUAN Huaxing" userId="680cda70-8f8f-41b8-bd50-03497d97776e" providerId="ADAL" clId="{8952FAEC-942D-4C4D-BC41-E1982216D151}" dt="2023-02-07T15:04:07.865" v="1857" actId="478"/>
          <ac:spMkLst>
            <pc:docMk/>
            <pc:sldMk cId="675789009" sldId="2147470882"/>
            <ac:spMk id="7" creationId="{3BCC87EE-8073-4ED1-9DEB-D9D927864281}"/>
          </ac:spMkLst>
        </pc:spChg>
        <pc:spChg chg="mod">
          <ac:chgData name="YUAN Huaxing" userId="680cda70-8f8f-41b8-bd50-03497d97776e" providerId="ADAL" clId="{8952FAEC-942D-4C4D-BC41-E1982216D151}" dt="2023-02-14T12:39:34.519" v="5657" actId="20577"/>
          <ac:spMkLst>
            <pc:docMk/>
            <pc:sldMk cId="675789009" sldId="2147470882"/>
            <ac:spMk id="11" creationId="{94FCB41A-BFF6-4A94-B8EF-097D6FBF744F}"/>
          </ac:spMkLst>
        </pc:spChg>
      </pc:sldChg>
      <pc:sldChg chg="modSp mod">
        <pc:chgData name="YUAN Huaxing" userId="680cda70-8f8f-41b8-bd50-03497d97776e" providerId="ADAL" clId="{8952FAEC-942D-4C4D-BC41-E1982216D151}" dt="2023-02-08T15:55:20.659" v="3504" actId="20577"/>
        <pc:sldMkLst>
          <pc:docMk/>
          <pc:sldMk cId="92693578" sldId="2147470883"/>
        </pc:sldMkLst>
        <pc:spChg chg="mod">
          <ac:chgData name="YUAN Huaxing" userId="680cda70-8f8f-41b8-bd50-03497d97776e" providerId="ADAL" clId="{8952FAEC-942D-4C4D-BC41-E1982216D151}" dt="2023-02-08T15:55:20.659" v="3504" actId="20577"/>
          <ac:spMkLst>
            <pc:docMk/>
            <pc:sldMk cId="92693578" sldId="2147470883"/>
            <ac:spMk id="2" creationId="{48CB7A46-1C35-44FD-AD41-6313CAE8F12D}"/>
          </ac:spMkLst>
        </pc:spChg>
      </pc:sldChg>
      <pc:sldChg chg="modSp mod">
        <pc:chgData name="YUAN Huaxing" userId="680cda70-8f8f-41b8-bd50-03497d97776e" providerId="ADAL" clId="{8952FAEC-942D-4C4D-BC41-E1982216D151}" dt="2023-02-08T15:55:23.710" v="3505"/>
        <pc:sldMkLst>
          <pc:docMk/>
          <pc:sldMk cId="2191590700" sldId="2147470885"/>
        </pc:sldMkLst>
        <pc:spChg chg="mod">
          <ac:chgData name="YUAN Huaxing" userId="680cda70-8f8f-41b8-bd50-03497d97776e" providerId="ADAL" clId="{8952FAEC-942D-4C4D-BC41-E1982216D151}" dt="2023-02-08T15:55:23.710" v="3505"/>
          <ac:spMkLst>
            <pc:docMk/>
            <pc:sldMk cId="2191590700" sldId="2147470885"/>
            <ac:spMk id="2" creationId="{2BC4C480-D603-48C5-9664-BBE026D4EF3E}"/>
          </ac:spMkLst>
        </pc:spChg>
      </pc:sldChg>
      <pc:sldChg chg="modSp mod">
        <pc:chgData name="YUAN Huaxing" userId="680cda70-8f8f-41b8-bd50-03497d97776e" providerId="ADAL" clId="{8952FAEC-942D-4C4D-BC41-E1982216D151}" dt="2023-02-08T15:55:25.673" v="3506"/>
        <pc:sldMkLst>
          <pc:docMk/>
          <pc:sldMk cId="4131925369" sldId="2147470886"/>
        </pc:sldMkLst>
        <pc:spChg chg="mod">
          <ac:chgData name="YUAN Huaxing" userId="680cda70-8f8f-41b8-bd50-03497d97776e" providerId="ADAL" clId="{8952FAEC-942D-4C4D-BC41-E1982216D151}" dt="2023-02-08T15:55:25.673" v="3506"/>
          <ac:spMkLst>
            <pc:docMk/>
            <pc:sldMk cId="4131925369" sldId="2147470886"/>
            <ac:spMk id="2" creationId="{A9309B85-7D1F-4D6A-B8A6-81D46C849BE2}"/>
          </ac:spMkLst>
        </pc:spChg>
      </pc:sldChg>
      <pc:sldChg chg="modSp mod">
        <pc:chgData name="YUAN Huaxing" userId="680cda70-8f8f-41b8-bd50-03497d97776e" providerId="ADAL" clId="{8952FAEC-942D-4C4D-BC41-E1982216D151}" dt="2023-02-14T10:56:58.678" v="5213" actId="27636"/>
        <pc:sldMkLst>
          <pc:docMk/>
          <pc:sldMk cId="3057778062" sldId="2147470887"/>
        </pc:sldMkLst>
        <pc:spChg chg="mod">
          <ac:chgData name="YUAN Huaxing" userId="680cda70-8f8f-41b8-bd50-03497d97776e" providerId="ADAL" clId="{8952FAEC-942D-4C4D-BC41-E1982216D151}" dt="2023-02-08T15:55:30.094" v="3508"/>
          <ac:spMkLst>
            <pc:docMk/>
            <pc:sldMk cId="3057778062" sldId="2147470887"/>
            <ac:spMk id="2" creationId="{505DEB7E-49EE-45D7-9B97-E1C9DBBAF625}"/>
          </ac:spMkLst>
        </pc:spChg>
        <pc:spChg chg="mod">
          <ac:chgData name="YUAN Huaxing" userId="680cda70-8f8f-41b8-bd50-03497d97776e" providerId="ADAL" clId="{8952FAEC-942D-4C4D-BC41-E1982216D151}" dt="2023-02-14T10:56:58.678" v="5213" actId="27636"/>
          <ac:spMkLst>
            <pc:docMk/>
            <pc:sldMk cId="3057778062" sldId="2147470887"/>
            <ac:spMk id="4" creationId="{4E4A9147-04B7-4744-BD77-A41EFA0C8DA8}"/>
          </ac:spMkLst>
        </pc:spChg>
      </pc:sldChg>
      <pc:sldChg chg="addSp delSp modSp mod">
        <pc:chgData name="YUAN Huaxing" userId="680cda70-8f8f-41b8-bd50-03497d97776e" providerId="ADAL" clId="{8952FAEC-942D-4C4D-BC41-E1982216D151}" dt="2023-02-14T10:01:54.604" v="4989" actId="790"/>
        <pc:sldMkLst>
          <pc:docMk/>
          <pc:sldMk cId="1349800289" sldId="2147470888"/>
        </pc:sldMkLst>
        <pc:spChg chg="add del mod">
          <ac:chgData name="YUAN Huaxing" userId="680cda70-8f8f-41b8-bd50-03497d97776e" providerId="ADAL" clId="{8952FAEC-942D-4C4D-BC41-E1982216D151}" dt="2023-02-07T15:14:25.328" v="2058" actId="478"/>
          <ac:spMkLst>
            <pc:docMk/>
            <pc:sldMk cId="1349800289" sldId="2147470888"/>
            <ac:spMk id="4" creationId="{1E8F8CBF-7A47-CC6E-F0F4-654E51CA284F}"/>
          </ac:spMkLst>
        </pc:spChg>
        <pc:spChg chg="del">
          <ac:chgData name="YUAN Huaxing" userId="680cda70-8f8f-41b8-bd50-03497d97776e" providerId="ADAL" clId="{8952FAEC-942D-4C4D-BC41-E1982216D151}" dt="2023-02-07T15:14:19.655" v="2057" actId="478"/>
          <ac:spMkLst>
            <pc:docMk/>
            <pc:sldMk cId="1349800289" sldId="2147470888"/>
            <ac:spMk id="10" creationId="{C1E338E8-E84D-4E38-92A6-B844C769892E}"/>
          </ac:spMkLst>
        </pc:spChg>
        <pc:spChg chg="mod">
          <ac:chgData name="YUAN Huaxing" userId="680cda70-8f8f-41b8-bd50-03497d97776e" providerId="ADAL" clId="{8952FAEC-942D-4C4D-BC41-E1982216D151}" dt="2023-02-07T15:14:28.001" v="2059" actId="1076"/>
          <ac:spMkLst>
            <pc:docMk/>
            <pc:sldMk cId="1349800289" sldId="2147470888"/>
            <ac:spMk id="11" creationId="{D086E61C-EE66-4C4A-BEC4-FBD9A1511AF2}"/>
          </ac:spMkLst>
        </pc:spChg>
        <pc:graphicFrameChg chg="mod modGraphic">
          <ac:chgData name="YUAN Huaxing" userId="680cda70-8f8f-41b8-bd50-03497d97776e" providerId="ADAL" clId="{8952FAEC-942D-4C4D-BC41-E1982216D151}" dt="2023-02-14T10:01:54.604" v="4989" actId="790"/>
          <ac:graphicFrameMkLst>
            <pc:docMk/>
            <pc:sldMk cId="1349800289" sldId="2147470888"/>
            <ac:graphicFrameMk id="7" creationId="{818F4A08-B265-4906-9459-52D7E5763DAD}"/>
          </ac:graphicFrameMkLst>
        </pc:graphicFrameChg>
        <pc:graphicFrameChg chg="del">
          <ac:chgData name="YUAN Huaxing" userId="680cda70-8f8f-41b8-bd50-03497d97776e" providerId="ADAL" clId="{8952FAEC-942D-4C4D-BC41-E1982216D151}" dt="2023-02-07T15:14:17.991" v="2056" actId="478"/>
          <ac:graphicFrameMkLst>
            <pc:docMk/>
            <pc:sldMk cId="1349800289" sldId="2147470888"/>
            <ac:graphicFrameMk id="8" creationId="{161E330E-CD2A-4601-9BDF-9596A6077B27}"/>
          </ac:graphicFrameMkLst>
        </pc:graphicFrameChg>
      </pc:sldChg>
      <pc:sldChg chg="modSp mod ord">
        <pc:chgData name="YUAN Huaxing" userId="680cda70-8f8f-41b8-bd50-03497d97776e" providerId="ADAL" clId="{8952FAEC-942D-4C4D-BC41-E1982216D151}" dt="2023-02-07T16:14:36.941" v="2961" actId="20577"/>
        <pc:sldMkLst>
          <pc:docMk/>
          <pc:sldMk cId="546259168" sldId="2147470891"/>
        </pc:sldMkLst>
        <pc:spChg chg="mod">
          <ac:chgData name="YUAN Huaxing" userId="680cda70-8f8f-41b8-bd50-03497d97776e" providerId="ADAL" clId="{8952FAEC-942D-4C4D-BC41-E1982216D151}" dt="2023-02-07T16:14:31.423" v="2952" actId="20577"/>
          <ac:spMkLst>
            <pc:docMk/>
            <pc:sldMk cId="546259168" sldId="2147470891"/>
            <ac:spMk id="5" creationId="{A8202F02-255E-43C5-912F-1D3EC6DDCE78}"/>
          </ac:spMkLst>
        </pc:spChg>
        <pc:spChg chg="mod">
          <ac:chgData name="YUAN Huaxing" userId="680cda70-8f8f-41b8-bd50-03497d97776e" providerId="ADAL" clId="{8952FAEC-942D-4C4D-BC41-E1982216D151}" dt="2023-02-07T16:14:36.941" v="2961" actId="20577"/>
          <ac:spMkLst>
            <pc:docMk/>
            <pc:sldMk cId="546259168" sldId="2147470891"/>
            <ac:spMk id="6" creationId="{1DA17E71-94E5-4AAF-AE1B-0C5811DF5E85}"/>
          </ac:spMkLst>
        </pc:spChg>
      </pc:sldChg>
      <pc:sldChg chg="addSp modSp mod ord">
        <pc:chgData name="YUAN Huaxing" userId="680cda70-8f8f-41b8-bd50-03497d97776e" providerId="ADAL" clId="{8952FAEC-942D-4C4D-BC41-E1982216D151}" dt="2023-02-14T11:06:23.524" v="5638" actId="13926"/>
        <pc:sldMkLst>
          <pc:docMk/>
          <pc:sldMk cId="1386994369" sldId="2147470892"/>
        </pc:sldMkLst>
        <pc:spChg chg="mod">
          <ac:chgData name="YUAN Huaxing" userId="680cda70-8f8f-41b8-bd50-03497d97776e" providerId="ADAL" clId="{8952FAEC-942D-4C4D-BC41-E1982216D151}" dt="2023-02-07T16:14:42.893" v="2966" actId="20577"/>
          <ac:spMkLst>
            <pc:docMk/>
            <pc:sldMk cId="1386994369" sldId="2147470892"/>
            <ac:spMk id="2" creationId="{36F0644C-FBE3-418D-846E-E0C7A578B765}"/>
          </ac:spMkLst>
        </pc:spChg>
        <pc:spChg chg="mod">
          <ac:chgData name="YUAN Huaxing" userId="680cda70-8f8f-41b8-bd50-03497d97776e" providerId="ADAL" clId="{8952FAEC-942D-4C4D-BC41-E1982216D151}" dt="2023-02-07T16:15:00.997" v="3029" actId="20577"/>
          <ac:spMkLst>
            <pc:docMk/>
            <pc:sldMk cId="1386994369" sldId="2147470892"/>
            <ac:spMk id="3" creationId="{D142C2DB-4B85-4156-9FD4-BBAA52DE7CE5}"/>
          </ac:spMkLst>
        </pc:spChg>
        <pc:spChg chg="add mod">
          <ac:chgData name="YUAN Huaxing" userId="680cda70-8f8f-41b8-bd50-03497d97776e" providerId="ADAL" clId="{8952FAEC-942D-4C4D-BC41-E1982216D151}" dt="2023-02-08T15:58:05.797" v="3645" actId="1076"/>
          <ac:spMkLst>
            <pc:docMk/>
            <pc:sldMk cId="1386994369" sldId="2147470892"/>
            <ac:spMk id="4" creationId="{54AF75BB-C0CB-CADD-4A0A-C9640DC96270}"/>
          </ac:spMkLst>
        </pc:spChg>
        <pc:spChg chg="mod">
          <ac:chgData name="YUAN Huaxing" userId="680cda70-8f8f-41b8-bd50-03497d97776e" providerId="ADAL" clId="{8952FAEC-942D-4C4D-BC41-E1982216D151}" dt="2023-02-14T11:06:12.741" v="5636" actId="13926"/>
          <ac:spMkLst>
            <pc:docMk/>
            <pc:sldMk cId="1386994369" sldId="2147470892"/>
            <ac:spMk id="11" creationId="{74D18408-8A84-41CE-AB31-C492A7E834AE}"/>
          </ac:spMkLst>
        </pc:spChg>
        <pc:spChg chg="mod">
          <ac:chgData name="YUAN Huaxing" userId="680cda70-8f8f-41b8-bd50-03497d97776e" providerId="ADAL" clId="{8952FAEC-942D-4C4D-BC41-E1982216D151}" dt="2023-02-14T11:06:23.524" v="5638" actId="13926"/>
          <ac:spMkLst>
            <pc:docMk/>
            <pc:sldMk cId="1386994369" sldId="2147470892"/>
            <ac:spMk id="18" creationId="{6DD5A138-18AA-4638-B173-C0E549FB63A9}"/>
          </ac:spMkLst>
        </pc:spChg>
        <pc:spChg chg="mod">
          <ac:chgData name="YUAN Huaxing" userId="680cda70-8f8f-41b8-bd50-03497d97776e" providerId="ADAL" clId="{8952FAEC-942D-4C4D-BC41-E1982216D151}" dt="2023-02-14T11:05:42.695" v="5635" actId="6549"/>
          <ac:spMkLst>
            <pc:docMk/>
            <pc:sldMk cId="1386994369" sldId="2147470892"/>
            <ac:spMk id="20" creationId="{DFB34521-E8F2-4F02-9467-DAC4A694D185}"/>
          </ac:spMkLst>
        </pc:spChg>
        <pc:spChg chg="mod">
          <ac:chgData name="YUAN Huaxing" userId="680cda70-8f8f-41b8-bd50-03497d97776e" providerId="ADAL" clId="{8952FAEC-942D-4C4D-BC41-E1982216D151}" dt="2023-02-14T11:03:26.803" v="5550" actId="14100"/>
          <ac:spMkLst>
            <pc:docMk/>
            <pc:sldMk cId="1386994369" sldId="2147470892"/>
            <ac:spMk id="25" creationId="{77AB5D36-4B2D-4FE8-9D79-E244F82B837A}"/>
          </ac:spMkLst>
        </pc:spChg>
        <pc:spChg chg="mod">
          <ac:chgData name="YUAN Huaxing" userId="680cda70-8f8f-41b8-bd50-03497d97776e" providerId="ADAL" clId="{8952FAEC-942D-4C4D-BC41-E1982216D151}" dt="2023-02-14T11:03:42.348" v="5553" actId="14100"/>
          <ac:spMkLst>
            <pc:docMk/>
            <pc:sldMk cId="1386994369" sldId="2147470892"/>
            <ac:spMk id="34" creationId="{E6F5AF4B-C889-4BB5-B4D8-4A42A23D8887}"/>
          </ac:spMkLst>
        </pc:spChg>
        <pc:spChg chg="mod">
          <ac:chgData name="YUAN Huaxing" userId="680cda70-8f8f-41b8-bd50-03497d97776e" providerId="ADAL" clId="{8952FAEC-942D-4C4D-BC41-E1982216D151}" dt="2023-02-14T11:03:46.008" v="5555"/>
          <ac:spMkLst>
            <pc:docMk/>
            <pc:sldMk cId="1386994369" sldId="2147470892"/>
            <ac:spMk id="36" creationId="{9F1AE134-7FF8-4DC1-9AC8-5592A1CD3119}"/>
          </ac:spMkLst>
        </pc:spChg>
        <pc:spChg chg="mod">
          <ac:chgData name="YUAN Huaxing" userId="680cda70-8f8f-41b8-bd50-03497d97776e" providerId="ADAL" clId="{8952FAEC-942D-4C4D-BC41-E1982216D151}" dt="2023-02-14T11:03:49.343" v="5557"/>
          <ac:spMkLst>
            <pc:docMk/>
            <pc:sldMk cId="1386994369" sldId="2147470892"/>
            <ac:spMk id="38" creationId="{DC71BC99-5A94-411D-82A5-592D7BE9E8F7}"/>
          </ac:spMkLst>
        </pc:spChg>
      </pc:sldChg>
      <pc:sldChg chg="modSp mod ord addCm">
        <pc:chgData name="YUAN Huaxing" userId="680cda70-8f8f-41b8-bd50-03497d97776e" providerId="ADAL" clId="{8952FAEC-942D-4C4D-BC41-E1982216D151}" dt="2023-02-14T12:46:17.917" v="5701" actId="6549"/>
        <pc:sldMkLst>
          <pc:docMk/>
          <pc:sldMk cId="2084846352" sldId="2147470893"/>
        </pc:sldMkLst>
        <pc:spChg chg="mod">
          <ac:chgData name="YUAN Huaxing" userId="680cda70-8f8f-41b8-bd50-03497d97776e" providerId="ADAL" clId="{8952FAEC-942D-4C4D-BC41-E1982216D151}" dt="2023-02-14T12:46:17.917" v="5701" actId="6549"/>
          <ac:spMkLst>
            <pc:docMk/>
            <pc:sldMk cId="2084846352" sldId="2147470893"/>
            <ac:spMk id="3" creationId="{68AF8710-928C-4B35-9F5D-394182D25184}"/>
          </ac:spMkLst>
        </pc:spChg>
        <pc:graphicFrameChg chg="modGraphic">
          <ac:chgData name="YUAN Huaxing" userId="680cda70-8f8f-41b8-bd50-03497d97776e" providerId="ADAL" clId="{8952FAEC-942D-4C4D-BC41-E1982216D151}" dt="2023-02-14T11:02:49.371" v="5515" actId="13926"/>
          <ac:graphicFrameMkLst>
            <pc:docMk/>
            <pc:sldMk cId="2084846352" sldId="2147470893"/>
            <ac:graphicFrameMk id="7" creationId="{4ECCEC33-3996-458E-AA0F-54A813E68776}"/>
          </ac:graphicFrameMkLst>
        </pc:graphicFrameChg>
      </pc:sldChg>
      <pc:sldChg chg="addSp delSp modSp mod ord">
        <pc:chgData name="YUAN Huaxing" userId="680cda70-8f8f-41b8-bd50-03497d97776e" providerId="ADAL" clId="{8952FAEC-942D-4C4D-BC41-E1982216D151}" dt="2023-02-14T10:50:43.035" v="5026" actId="1076"/>
        <pc:sldMkLst>
          <pc:docMk/>
          <pc:sldMk cId="1963164929" sldId="2147470894"/>
        </pc:sldMkLst>
        <pc:spChg chg="mod">
          <ac:chgData name="YUAN Huaxing" userId="680cda70-8f8f-41b8-bd50-03497d97776e" providerId="ADAL" clId="{8952FAEC-942D-4C4D-BC41-E1982216D151}" dt="2023-02-06T16:07:16.308" v="48" actId="20577"/>
          <ac:spMkLst>
            <pc:docMk/>
            <pc:sldMk cId="1963164929" sldId="2147470894"/>
            <ac:spMk id="2" creationId="{F916A355-C0B9-40DE-8181-511D69D2D157}"/>
          </ac:spMkLst>
        </pc:spChg>
        <pc:spChg chg="mod">
          <ac:chgData name="YUAN Huaxing" userId="680cda70-8f8f-41b8-bd50-03497d97776e" providerId="ADAL" clId="{8952FAEC-942D-4C4D-BC41-E1982216D151}" dt="2023-02-14T09:57:37.825" v="4874" actId="1076"/>
          <ac:spMkLst>
            <pc:docMk/>
            <pc:sldMk cId="1963164929" sldId="2147470894"/>
            <ac:spMk id="4" creationId="{41D721B7-7CF3-5762-53BE-B3482F763E11}"/>
          </ac:spMkLst>
        </pc:spChg>
        <pc:spChg chg="mod">
          <ac:chgData name="YUAN Huaxing" userId="680cda70-8f8f-41b8-bd50-03497d97776e" providerId="ADAL" clId="{8952FAEC-942D-4C4D-BC41-E1982216D151}" dt="2023-02-14T09:57:22.514" v="4870" actId="1076"/>
          <ac:spMkLst>
            <pc:docMk/>
            <pc:sldMk cId="1963164929" sldId="2147470894"/>
            <ac:spMk id="39" creationId="{98D8AD3D-0177-404F-8063-E51C440FB1FF}"/>
          </ac:spMkLst>
        </pc:spChg>
        <pc:spChg chg="mod">
          <ac:chgData name="YUAN Huaxing" userId="680cda70-8f8f-41b8-bd50-03497d97776e" providerId="ADAL" clId="{8952FAEC-942D-4C4D-BC41-E1982216D151}" dt="2023-02-07T16:38:03.897" v="3127" actId="404"/>
          <ac:spMkLst>
            <pc:docMk/>
            <pc:sldMk cId="1963164929" sldId="2147470894"/>
            <ac:spMk id="43" creationId="{255D00A6-FF68-4165-B496-4A0BC0995B66}"/>
          </ac:spMkLst>
        </pc:spChg>
        <pc:spChg chg="ord topLvl">
          <ac:chgData name="YUAN Huaxing" userId="680cda70-8f8f-41b8-bd50-03497d97776e" providerId="ADAL" clId="{8952FAEC-942D-4C4D-BC41-E1982216D151}" dt="2023-02-09T13:41:44.601" v="3797" actId="166"/>
          <ac:spMkLst>
            <pc:docMk/>
            <pc:sldMk cId="1963164929" sldId="2147470894"/>
            <ac:spMk id="46" creationId="{4EE30973-6F78-4A65-9E30-1DEF365F7504}"/>
          </ac:spMkLst>
        </pc:spChg>
        <pc:spChg chg="mod">
          <ac:chgData name="YUAN Huaxing" userId="680cda70-8f8f-41b8-bd50-03497d97776e" providerId="ADAL" clId="{8952FAEC-942D-4C4D-BC41-E1982216D151}" dt="2023-02-14T10:50:22.804" v="5025" actId="13822"/>
          <ac:spMkLst>
            <pc:docMk/>
            <pc:sldMk cId="1963164929" sldId="2147470894"/>
            <ac:spMk id="49" creationId="{F77E57F5-DAE7-4AE6-884B-58724A68B261}"/>
          </ac:spMkLst>
        </pc:spChg>
        <pc:spChg chg="mod">
          <ac:chgData name="YUAN Huaxing" userId="680cda70-8f8f-41b8-bd50-03497d97776e" providerId="ADAL" clId="{8952FAEC-942D-4C4D-BC41-E1982216D151}" dt="2023-02-07T16:38:15.330" v="3130" actId="404"/>
          <ac:spMkLst>
            <pc:docMk/>
            <pc:sldMk cId="1963164929" sldId="2147470894"/>
            <ac:spMk id="86" creationId="{032C0152-8F19-4352-BCA6-9F2B9D7C97BF}"/>
          </ac:spMkLst>
        </pc:spChg>
        <pc:spChg chg="mod">
          <ac:chgData name="YUAN Huaxing" userId="680cda70-8f8f-41b8-bd50-03497d97776e" providerId="ADAL" clId="{8952FAEC-942D-4C4D-BC41-E1982216D151}" dt="2023-02-07T16:38:06.698" v="3128" actId="404"/>
          <ac:spMkLst>
            <pc:docMk/>
            <pc:sldMk cId="1963164929" sldId="2147470894"/>
            <ac:spMk id="87" creationId="{B124F027-CD4B-4D6D-98AA-E39F3ACA40E3}"/>
          </ac:spMkLst>
        </pc:spChg>
        <pc:spChg chg="mod">
          <ac:chgData name="YUAN Huaxing" userId="680cda70-8f8f-41b8-bd50-03497d97776e" providerId="ADAL" clId="{8952FAEC-942D-4C4D-BC41-E1982216D151}" dt="2023-02-07T16:38:10.664" v="3129" actId="404"/>
          <ac:spMkLst>
            <pc:docMk/>
            <pc:sldMk cId="1963164929" sldId="2147470894"/>
            <ac:spMk id="88" creationId="{D551C193-E4DA-4ED9-8766-164B366E0F60}"/>
          </ac:spMkLst>
        </pc:spChg>
        <pc:grpChg chg="mod">
          <ac:chgData name="YUAN Huaxing" userId="680cda70-8f8f-41b8-bd50-03497d97776e" providerId="ADAL" clId="{8952FAEC-942D-4C4D-BC41-E1982216D151}" dt="2023-02-14T09:57:22.514" v="4870" actId="1076"/>
          <ac:grpSpMkLst>
            <pc:docMk/>
            <pc:sldMk cId="1963164929" sldId="2147470894"/>
            <ac:grpSpMk id="42" creationId="{F55F9654-0DB5-46B3-868C-AF9B66204FFF}"/>
          </ac:grpSpMkLst>
        </pc:grpChg>
        <pc:grpChg chg="mod">
          <ac:chgData name="YUAN Huaxing" userId="680cda70-8f8f-41b8-bd50-03497d97776e" providerId="ADAL" clId="{8952FAEC-942D-4C4D-BC41-E1982216D151}" dt="2023-02-14T10:50:43.035" v="5026" actId="1076"/>
          <ac:grpSpMkLst>
            <pc:docMk/>
            <pc:sldMk cId="1963164929" sldId="2147470894"/>
            <ac:grpSpMk id="47" creationId="{107300C8-0E4E-45A5-A42A-705890308E8A}"/>
          </ac:grpSpMkLst>
        </pc:grpChg>
        <pc:grpChg chg="del">
          <ac:chgData name="YUAN Huaxing" userId="680cda70-8f8f-41b8-bd50-03497d97776e" providerId="ADAL" clId="{8952FAEC-942D-4C4D-BC41-E1982216D151}" dt="2023-02-09T13:41:16.396" v="3792" actId="478"/>
          <ac:grpSpMkLst>
            <pc:docMk/>
            <pc:sldMk cId="1963164929" sldId="2147470894"/>
            <ac:grpSpMk id="58" creationId="{6D2F7B24-0566-4CA4-9CBD-4A6198AAE3DB}"/>
          </ac:grpSpMkLst>
        </pc:grpChg>
        <pc:graphicFrameChg chg="add mod modGraphic">
          <ac:chgData name="YUAN Huaxing" userId="680cda70-8f8f-41b8-bd50-03497d97776e" providerId="ADAL" clId="{8952FAEC-942D-4C4D-BC41-E1982216D151}" dt="2023-02-09T13:41:38.570" v="3796" actId="1440"/>
          <ac:graphicFrameMkLst>
            <pc:docMk/>
            <pc:sldMk cId="1963164929" sldId="2147470894"/>
            <ac:graphicFrameMk id="6" creationId="{79014EF4-DC44-91AB-13CB-3780FC77AFA7}"/>
          </ac:graphicFrameMkLst>
        </pc:graphicFrameChg>
        <pc:graphicFrameChg chg="del topLvl">
          <ac:chgData name="YUAN Huaxing" userId="680cda70-8f8f-41b8-bd50-03497d97776e" providerId="ADAL" clId="{8952FAEC-942D-4C4D-BC41-E1982216D151}" dt="2023-02-09T13:41:16.396" v="3792" actId="478"/>
          <ac:graphicFrameMkLst>
            <pc:docMk/>
            <pc:sldMk cId="1963164929" sldId="2147470894"/>
            <ac:graphicFrameMk id="56" creationId="{493C6BD4-FC8B-45AB-9763-641B68296425}"/>
          </ac:graphicFrameMkLst>
        </pc:graphicFrameChg>
        <pc:picChg chg="mod">
          <ac:chgData name="YUAN Huaxing" userId="680cda70-8f8f-41b8-bd50-03497d97776e" providerId="ADAL" clId="{8952FAEC-942D-4C4D-BC41-E1982216D151}" dt="2023-02-14T09:57:22.514" v="4870" actId="1076"/>
          <ac:picMkLst>
            <pc:docMk/>
            <pc:sldMk cId="1963164929" sldId="2147470894"/>
            <ac:picMk id="26" creationId="{E748CAEC-206F-44ED-BB43-C5B852B34764}"/>
          </ac:picMkLst>
        </pc:picChg>
        <pc:picChg chg="mod">
          <ac:chgData name="YUAN Huaxing" userId="680cda70-8f8f-41b8-bd50-03497d97776e" providerId="ADAL" clId="{8952FAEC-942D-4C4D-BC41-E1982216D151}" dt="2023-02-14T09:57:22.514" v="4870" actId="1076"/>
          <ac:picMkLst>
            <pc:docMk/>
            <pc:sldMk cId="1963164929" sldId="2147470894"/>
            <ac:picMk id="27" creationId="{7B3A7C97-7C86-42D5-A401-A87D3F3ACFA9}"/>
          </ac:picMkLst>
        </pc:picChg>
        <pc:picChg chg="mod">
          <ac:chgData name="YUAN Huaxing" userId="680cda70-8f8f-41b8-bd50-03497d97776e" providerId="ADAL" clId="{8952FAEC-942D-4C4D-BC41-E1982216D151}" dt="2023-02-14T09:57:26.033" v="4871" actId="1076"/>
          <ac:picMkLst>
            <pc:docMk/>
            <pc:sldMk cId="1963164929" sldId="2147470894"/>
            <ac:picMk id="28" creationId="{E1B58598-C96A-40FD-B02C-35CCD4405E2E}"/>
          </ac:picMkLst>
        </pc:picChg>
      </pc:sldChg>
      <pc:sldChg chg="addSp delSp modSp add del mod">
        <pc:chgData name="YUAN Huaxing" userId="680cda70-8f8f-41b8-bd50-03497d97776e" providerId="ADAL" clId="{8952FAEC-942D-4C4D-BC41-E1982216D151}" dt="2023-02-14T12:37:38" v="5646" actId="1076"/>
        <pc:sldMkLst>
          <pc:docMk/>
          <pc:sldMk cId="255253220" sldId="2147470895"/>
        </pc:sldMkLst>
        <pc:spChg chg="mod">
          <ac:chgData name="YUAN Huaxing" userId="680cda70-8f8f-41b8-bd50-03497d97776e" providerId="ADAL" clId="{8952FAEC-942D-4C4D-BC41-E1982216D151}" dt="2023-02-08T15:56:15.101" v="3567"/>
          <ac:spMkLst>
            <pc:docMk/>
            <pc:sldMk cId="255253220" sldId="2147470895"/>
            <ac:spMk id="2" creationId="{C7B5BFBF-D724-476A-86A7-14455D9E49C7}"/>
          </ac:spMkLst>
        </pc:spChg>
        <pc:spChg chg="mod">
          <ac:chgData name="YUAN Huaxing" userId="680cda70-8f8f-41b8-bd50-03497d97776e" providerId="ADAL" clId="{8952FAEC-942D-4C4D-BC41-E1982216D151}" dt="2023-02-08T15:56:22.519" v="3570" actId="313"/>
          <ac:spMkLst>
            <pc:docMk/>
            <pc:sldMk cId="255253220" sldId="2147470895"/>
            <ac:spMk id="5" creationId="{71055E83-19BC-40EA-A758-9292BCF059A6}"/>
          </ac:spMkLst>
        </pc:spChg>
        <pc:graphicFrameChg chg="del mod">
          <ac:chgData name="YUAN Huaxing" userId="680cda70-8f8f-41b8-bd50-03497d97776e" providerId="ADAL" clId="{8952FAEC-942D-4C4D-BC41-E1982216D151}" dt="2023-02-14T12:37:27.408" v="5642" actId="478"/>
          <ac:graphicFrameMkLst>
            <pc:docMk/>
            <pc:sldMk cId="255253220" sldId="2147470895"/>
            <ac:graphicFrameMk id="8" creationId="{586D484D-AA25-4A8E-93FA-CCB2A4F22A64}"/>
          </ac:graphicFrameMkLst>
        </pc:graphicFrameChg>
        <pc:graphicFrameChg chg="add mod modGraphic">
          <ac:chgData name="YUAN Huaxing" userId="680cda70-8f8f-41b8-bd50-03497d97776e" providerId="ADAL" clId="{8952FAEC-942D-4C4D-BC41-E1982216D151}" dt="2023-02-14T12:37:38" v="5646" actId="1076"/>
          <ac:graphicFrameMkLst>
            <pc:docMk/>
            <pc:sldMk cId="255253220" sldId="2147470895"/>
            <ac:graphicFrameMk id="9" creationId="{DD947CAF-6AF2-DFEC-D466-3C52798DA815}"/>
          </ac:graphicFrameMkLst>
        </pc:graphicFrameChg>
      </pc:sldChg>
      <pc:sldChg chg="modSp mod">
        <pc:chgData name="YUAN Huaxing" userId="680cda70-8f8f-41b8-bd50-03497d97776e" providerId="ADAL" clId="{8952FAEC-942D-4C4D-BC41-E1982216D151}" dt="2023-02-08T15:55:28.270" v="3507"/>
        <pc:sldMkLst>
          <pc:docMk/>
          <pc:sldMk cId="2005648879" sldId="2147470896"/>
        </pc:sldMkLst>
        <pc:spChg chg="mod">
          <ac:chgData name="YUAN Huaxing" userId="680cda70-8f8f-41b8-bd50-03497d97776e" providerId="ADAL" clId="{8952FAEC-942D-4C4D-BC41-E1982216D151}" dt="2023-02-08T15:55:28.270" v="3507"/>
          <ac:spMkLst>
            <pc:docMk/>
            <pc:sldMk cId="2005648879" sldId="2147470896"/>
            <ac:spMk id="2" creationId="{8C3D9152-F586-4FEB-A401-A739EE09618A}"/>
          </ac:spMkLst>
        </pc:spChg>
      </pc:sldChg>
      <pc:sldChg chg="delSp modSp mod ord">
        <pc:chgData name="YUAN Huaxing" userId="680cda70-8f8f-41b8-bd50-03497d97776e" providerId="ADAL" clId="{8952FAEC-942D-4C4D-BC41-E1982216D151}" dt="2023-02-14T09:54:05.112" v="4813" actId="27636"/>
        <pc:sldMkLst>
          <pc:docMk/>
          <pc:sldMk cId="480180273" sldId="2147470897"/>
        </pc:sldMkLst>
        <pc:spChg chg="mod">
          <ac:chgData name="YUAN Huaxing" userId="680cda70-8f8f-41b8-bd50-03497d97776e" providerId="ADAL" clId="{8952FAEC-942D-4C4D-BC41-E1982216D151}" dt="2023-02-14T09:54:05.112" v="4813" actId="27636"/>
          <ac:spMkLst>
            <pc:docMk/>
            <pc:sldMk cId="480180273" sldId="2147470897"/>
            <ac:spMk id="4" creationId="{C18DFA26-10F8-4880-803A-29697DD48185}"/>
          </ac:spMkLst>
        </pc:spChg>
        <pc:inkChg chg="del">
          <ac:chgData name="YUAN Huaxing" userId="680cda70-8f8f-41b8-bd50-03497d97776e" providerId="ADAL" clId="{8952FAEC-942D-4C4D-BC41-E1982216D151}" dt="2023-02-06T10:56:40.610" v="19" actId="478"/>
          <ac:inkMkLst>
            <pc:docMk/>
            <pc:sldMk cId="480180273" sldId="2147470897"/>
            <ac:inkMk id="3" creationId="{143FDAA3-21E8-404A-A6F1-8EFA1277CDA8}"/>
          </ac:inkMkLst>
        </pc:inkChg>
        <pc:inkChg chg="del">
          <ac:chgData name="YUAN Huaxing" userId="680cda70-8f8f-41b8-bd50-03497d97776e" providerId="ADAL" clId="{8952FAEC-942D-4C4D-BC41-E1982216D151}" dt="2023-02-06T10:56:39.337" v="18" actId="478"/>
          <ac:inkMkLst>
            <pc:docMk/>
            <pc:sldMk cId="480180273" sldId="2147470897"/>
            <ac:inkMk id="7" creationId="{5687C433-167D-4274-A390-6C3BA1213853}"/>
          </ac:inkMkLst>
        </pc:inkChg>
      </pc:sldChg>
      <pc:sldChg chg="new del">
        <pc:chgData name="YUAN Huaxing" userId="680cda70-8f8f-41b8-bd50-03497d97776e" providerId="ADAL" clId="{8952FAEC-942D-4C4D-BC41-E1982216D151}" dt="2023-02-06T16:06:47.933" v="33" actId="47"/>
        <pc:sldMkLst>
          <pc:docMk/>
          <pc:sldMk cId="2474999432" sldId="2147470899"/>
        </pc:sldMkLst>
      </pc:sldChg>
      <pc:sldChg chg="addSp delSp modSp new mod addCm delCm">
        <pc:chgData name="YUAN Huaxing" userId="680cda70-8f8f-41b8-bd50-03497d97776e" providerId="ADAL" clId="{8952FAEC-942D-4C4D-BC41-E1982216D151}" dt="2023-03-06T14:20:02.683" v="6243" actId="1076"/>
        <pc:sldMkLst>
          <pc:docMk/>
          <pc:sldMk cId="2619532644" sldId="2147470899"/>
        </pc:sldMkLst>
        <pc:spChg chg="mod">
          <ac:chgData name="YUAN Huaxing" userId="680cda70-8f8f-41b8-bd50-03497d97776e" providerId="ADAL" clId="{8952FAEC-942D-4C4D-BC41-E1982216D151}" dt="2023-03-06T14:20:02.683" v="6243" actId="1076"/>
          <ac:spMkLst>
            <pc:docMk/>
            <pc:sldMk cId="2619532644" sldId="2147470899"/>
            <ac:spMk id="2" creationId="{A16DA996-77F4-9DFD-6FC4-C67E4BC8B07E}"/>
          </ac:spMkLst>
        </pc:spChg>
        <pc:spChg chg="del mod">
          <ac:chgData name="YUAN Huaxing" userId="680cda70-8f8f-41b8-bd50-03497d97776e" providerId="ADAL" clId="{8952FAEC-942D-4C4D-BC41-E1982216D151}" dt="2023-02-07T15:06:03.248" v="1889" actId="478"/>
          <ac:spMkLst>
            <pc:docMk/>
            <pc:sldMk cId="2619532644" sldId="2147470899"/>
            <ac:spMk id="3" creationId="{E5FF9A85-43E6-1361-6214-76444707CDED}"/>
          </ac:spMkLst>
        </pc:spChg>
        <pc:spChg chg="add mod">
          <ac:chgData name="YUAN Huaxing" userId="680cda70-8f8f-41b8-bd50-03497d97776e" providerId="ADAL" clId="{8952FAEC-942D-4C4D-BC41-E1982216D151}" dt="2023-02-14T11:08:41.363" v="5640" actId="1076"/>
          <ac:spMkLst>
            <pc:docMk/>
            <pc:sldMk cId="2619532644" sldId="2147470899"/>
            <ac:spMk id="3" creationId="{F87B039F-347E-144A-6378-CC7075E5C01A}"/>
          </ac:spMkLst>
        </pc:spChg>
        <pc:spChg chg="del mod">
          <ac:chgData name="YUAN Huaxing" userId="680cda70-8f8f-41b8-bd50-03497d97776e" providerId="ADAL" clId="{8952FAEC-942D-4C4D-BC41-E1982216D151}" dt="2023-02-07T15:04:56.254" v="1867" actId="1032"/>
          <ac:spMkLst>
            <pc:docMk/>
            <pc:sldMk cId="2619532644" sldId="2147470899"/>
            <ac:spMk id="4" creationId="{0A5F2C06-79BF-B392-F975-BC79CE682D56}"/>
          </ac:spMkLst>
        </pc:spChg>
        <pc:spChg chg="add mod">
          <ac:chgData name="YUAN Huaxing" userId="680cda70-8f8f-41b8-bd50-03497d97776e" providerId="ADAL" clId="{8952FAEC-942D-4C4D-BC41-E1982216D151}" dt="2023-02-14T11:08:41.363" v="5640" actId="1076"/>
          <ac:spMkLst>
            <pc:docMk/>
            <pc:sldMk cId="2619532644" sldId="2147470899"/>
            <ac:spMk id="4" creationId="{1215E1D7-4EF8-96BB-E521-85A1B0FB524D}"/>
          </ac:spMkLst>
        </pc:spChg>
        <pc:spChg chg="add mod">
          <ac:chgData name="YUAN Huaxing" userId="680cda70-8f8f-41b8-bd50-03497d97776e" providerId="ADAL" clId="{8952FAEC-942D-4C4D-BC41-E1982216D151}" dt="2023-02-14T11:08:41.363" v="5640" actId="1076"/>
          <ac:spMkLst>
            <pc:docMk/>
            <pc:sldMk cId="2619532644" sldId="2147470899"/>
            <ac:spMk id="5" creationId="{1AA63C6E-5D7F-3DFF-944C-18422A5CCE41}"/>
          </ac:spMkLst>
        </pc:spChg>
        <pc:spChg chg="del mod">
          <ac:chgData name="YUAN Huaxing" userId="680cda70-8f8f-41b8-bd50-03497d97776e" providerId="ADAL" clId="{8952FAEC-942D-4C4D-BC41-E1982216D151}" dt="2023-02-07T16:36:57.270" v="3123" actId="478"/>
          <ac:spMkLst>
            <pc:docMk/>
            <pc:sldMk cId="2619532644" sldId="2147470899"/>
            <ac:spMk id="5" creationId="{F7BF61E0-A5CD-AD4F-DD4F-3100F63792E4}"/>
          </ac:spMkLst>
        </pc:spChg>
        <pc:spChg chg="del mod">
          <ac:chgData name="YUAN Huaxing" userId="680cda70-8f8f-41b8-bd50-03497d97776e" providerId="ADAL" clId="{8952FAEC-942D-4C4D-BC41-E1982216D151}" dt="2023-02-07T16:37:00.165" v="3124" actId="478"/>
          <ac:spMkLst>
            <pc:docMk/>
            <pc:sldMk cId="2619532644" sldId="2147470899"/>
            <ac:spMk id="6" creationId="{30BB0AED-6B8A-FCD5-5888-CC1F1DB49AF8}"/>
          </ac:spMkLst>
        </pc:spChg>
        <pc:graphicFrameChg chg="add del mod modGraphic">
          <ac:chgData name="YUAN Huaxing" userId="680cda70-8f8f-41b8-bd50-03497d97776e" providerId="ADAL" clId="{8952FAEC-942D-4C4D-BC41-E1982216D151}" dt="2023-02-07T15:13:20.103" v="2047" actId="478"/>
          <ac:graphicFrameMkLst>
            <pc:docMk/>
            <pc:sldMk cId="2619532644" sldId="2147470899"/>
            <ac:graphicFrameMk id="8" creationId="{2300C1B0-5E77-337C-89F3-8B6514E868D8}"/>
          </ac:graphicFrameMkLst>
        </pc:graphicFrameChg>
        <pc:graphicFrameChg chg="add mod modGraphic">
          <ac:chgData name="YUAN Huaxing" userId="680cda70-8f8f-41b8-bd50-03497d97776e" providerId="ADAL" clId="{8952FAEC-942D-4C4D-BC41-E1982216D151}" dt="2023-02-08T16:13:37.844" v="3772" actId="1076"/>
          <ac:graphicFrameMkLst>
            <pc:docMk/>
            <pc:sldMk cId="2619532644" sldId="2147470899"/>
            <ac:graphicFrameMk id="10" creationId="{07FF5B8E-9392-2339-1AB2-F360FED5E72F}"/>
          </ac:graphicFrameMkLst>
        </pc:graphicFrameChg>
        <pc:graphicFrameChg chg="add del mod modGraphic">
          <ac:chgData name="YUAN Huaxing" userId="680cda70-8f8f-41b8-bd50-03497d97776e" providerId="ADAL" clId="{8952FAEC-942D-4C4D-BC41-E1982216D151}" dt="2023-02-07T15:13:24.991" v="2049" actId="478"/>
          <ac:graphicFrameMkLst>
            <pc:docMk/>
            <pc:sldMk cId="2619532644" sldId="2147470899"/>
            <ac:graphicFrameMk id="12" creationId="{A3F8F569-7194-130A-EFB4-F0DDC274C3EB}"/>
          </ac:graphicFrameMkLst>
        </pc:graphicFrameChg>
        <pc:graphicFrameChg chg="add mod modGraphic">
          <ac:chgData name="YUAN Huaxing" userId="680cda70-8f8f-41b8-bd50-03497d97776e" providerId="ADAL" clId="{8952FAEC-942D-4C4D-BC41-E1982216D151}" dt="2023-02-14T11:08:33.177" v="5639" actId="14100"/>
          <ac:graphicFrameMkLst>
            <pc:docMk/>
            <pc:sldMk cId="2619532644" sldId="2147470899"/>
            <ac:graphicFrameMk id="13" creationId="{C555C755-2037-4351-FF6F-3F121DA259FD}"/>
          </ac:graphicFrameMkLst>
        </pc:graphicFrameChg>
        <pc:graphicFrameChg chg="add mod modGraphic">
          <ac:chgData name="YUAN Huaxing" userId="680cda70-8f8f-41b8-bd50-03497d97776e" providerId="ADAL" clId="{8952FAEC-942D-4C4D-BC41-E1982216D151}" dt="2023-02-08T16:13:37.844" v="3772" actId="1076"/>
          <ac:graphicFrameMkLst>
            <pc:docMk/>
            <pc:sldMk cId="2619532644" sldId="2147470899"/>
            <ac:graphicFrameMk id="15" creationId="{2D1D95B9-50A4-26E8-EFE2-4BF3834FA288}"/>
          </ac:graphicFrameMkLst>
        </pc:graphicFrameChg>
        <pc:graphicFrameChg chg="add mod modGraphic">
          <ac:chgData name="YUAN Huaxing" userId="680cda70-8f8f-41b8-bd50-03497d97776e" providerId="ADAL" clId="{8952FAEC-942D-4C4D-BC41-E1982216D151}" dt="2023-02-08T16:13:37.844" v="3772" actId="1076"/>
          <ac:graphicFrameMkLst>
            <pc:docMk/>
            <pc:sldMk cId="2619532644" sldId="2147470899"/>
            <ac:graphicFrameMk id="17" creationId="{C1C62E2B-92D0-ACAE-DACB-3D43F9B4B500}"/>
          </ac:graphicFrameMkLst>
        </pc:graphicFrameChg>
      </pc:sldChg>
      <pc:sldChg chg="addSp delSp modSp new del mod">
        <pc:chgData name="YUAN Huaxing" userId="680cda70-8f8f-41b8-bd50-03497d97776e" providerId="ADAL" clId="{8952FAEC-942D-4C4D-BC41-E1982216D151}" dt="2023-02-07T14:33:13.353" v="723" actId="47"/>
        <pc:sldMkLst>
          <pc:docMk/>
          <pc:sldMk cId="4194460127" sldId="2147470899"/>
        </pc:sldMkLst>
        <pc:spChg chg="mod">
          <ac:chgData name="YUAN Huaxing" userId="680cda70-8f8f-41b8-bd50-03497d97776e" providerId="ADAL" clId="{8952FAEC-942D-4C4D-BC41-E1982216D151}" dt="2023-02-06T16:09:13.240" v="77" actId="20577"/>
          <ac:spMkLst>
            <pc:docMk/>
            <pc:sldMk cId="4194460127" sldId="2147470899"/>
            <ac:spMk id="2" creationId="{62BEB988-F96B-8BAD-9CAE-8AFA266B7E90}"/>
          </ac:spMkLst>
        </pc:spChg>
        <pc:spChg chg="del">
          <ac:chgData name="YUAN Huaxing" userId="680cda70-8f8f-41b8-bd50-03497d97776e" providerId="ADAL" clId="{8952FAEC-942D-4C4D-BC41-E1982216D151}" dt="2023-02-06T16:09:37.850" v="78" actId="1032"/>
          <ac:spMkLst>
            <pc:docMk/>
            <pc:sldMk cId="4194460127" sldId="2147470899"/>
            <ac:spMk id="4" creationId="{0B4A9BC6-1B78-67A1-2B3E-FB89C861D431}"/>
          </ac:spMkLst>
        </pc:spChg>
        <pc:graphicFrameChg chg="add mod modGraphic">
          <ac:chgData name="YUAN Huaxing" userId="680cda70-8f8f-41b8-bd50-03497d97776e" providerId="ADAL" clId="{8952FAEC-942D-4C4D-BC41-E1982216D151}" dt="2023-02-06T16:16:20.924" v="722" actId="20577"/>
          <ac:graphicFrameMkLst>
            <pc:docMk/>
            <pc:sldMk cId="4194460127" sldId="2147470899"/>
            <ac:graphicFrameMk id="7" creationId="{1C525489-39AE-4B6F-EBDF-04568CABABB9}"/>
          </ac:graphicFrameMkLst>
        </pc:graphicFrameChg>
      </pc:sldChg>
      <pc:sldChg chg="addSp delSp modSp new mod modClrScheme chgLayout">
        <pc:chgData name="YUAN Huaxing" userId="680cda70-8f8f-41b8-bd50-03497d97776e" providerId="ADAL" clId="{8952FAEC-942D-4C4D-BC41-E1982216D151}" dt="2023-02-07T15:47:45.404" v="2756" actId="403"/>
        <pc:sldMkLst>
          <pc:docMk/>
          <pc:sldMk cId="2839430842" sldId="2147470900"/>
        </pc:sldMkLst>
        <pc:spChg chg="del mod ord">
          <ac:chgData name="YUAN Huaxing" userId="680cda70-8f8f-41b8-bd50-03497d97776e" providerId="ADAL" clId="{8952FAEC-942D-4C4D-BC41-E1982216D151}" dt="2023-02-07T15:09:55.474" v="1923" actId="700"/>
          <ac:spMkLst>
            <pc:docMk/>
            <pc:sldMk cId="2839430842" sldId="2147470900"/>
            <ac:spMk id="2" creationId="{F06103D4-EBE7-36D9-89FA-BE978313EBA1}"/>
          </ac:spMkLst>
        </pc:spChg>
        <pc:spChg chg="del">
          <ac:chgData name="YUAN Huaxing" userId="680cda70-8f8f-41b8-bd50-03497d97776e" providerId="ADAL" clId="{8952FAEC-942D-4C4D-BC41-E1982216D151}" dt="2023-02-07T15:09:55.474" v="1923" actId="700"/>
          <ac:spMkLst>
            <pc:docMk/>
            <pc:sldMk cId="2839430842" sldId="2147470900"/>
            <ac:spMk id="3" creationId="{9DF40B9F-8E35-6EE6-7F66-8155105962D5}"/>
          </ac:spMkLst>
        </pc:spChg>
        <pc:spChg chg="del">
          <ac:chgData name="YUAN Huaxing" userId="680cda70-8f8f-41b8-bd50-03497d97776e" providerId="ADAL" clId="{8952FAEC-942D-4C4D-BC41-E1982216D151}" dt="2023-02-07T15:09:55.474" v="1923" actId="700"/>
          <ac:spMkLst>
            <pc:docMk/>
            <pc:sldMk cId="2839430842" sldId="2147470900"/>
            <ac:spMk id="4" creationId="{E7744DA8-E351-6873-F2B7-9B7D316B0D1C}"/>
          </ac:spMkLst>
        </pc:spChg>
        <pc:spChg chg="mod ord">
          <ac:chgData name="YUAN Huaxing" userId="680cda70-8f8f-41b8-bd50-03497d97776e" providerId="ADAL" clId="{8952FAEC-942D-4C4D-BC41-E1982216D151}" dt="2023-02-07T15:10:21.525" v="2005" actId="700"/>
          <ac:spMkLst>
            <pc:docMk/>
            <pc:sldMk cId="2839430842" sldId="2147470900"/>
            <ac:spMk id="5" creationId="{CB7E0F10-D9E8-9060-9D6A-7B627EFAA3E2}"/>
          </ac:spMkLst>
        </pc:spChg>
        <pc:spChg chg="mod ord">
          <ac:chgData name="YUAN Huaxing" userId="680cda70-8f8f-41b8-bd50-03497d97776e" providerId="ADAL" clId="{8952FAEC-942D-4C4D-BC41-E1982216D151}" dt="2023-02-07T15:10:21.525" v="2005" actId="700"/>
          <ac:spMkLst>
            <pc:docMk/>
            <pc:sldMk cId="2839430842" sldId="2147470900"/>
            <ac:spMk id="6" creationId="{76F7F714-A0CF-DF46-5FF1-7024F07AC1FC}"/>
          </ac:spMkLst>
        </pc:spChg>
        <pc:spChg chg="add mod ord">
          <ac:chgData name="YUAN Huaxing" userId="680cda70-8f8f-41b8-bd50-03497d97776e" providerId="ADAL" clId="{8952FAEC-942D-4C4D-BC41-E1982216D151}" dt="2023-02-07T15:47:45.404" v="2756" actId="403"/>
          <ac:spMkLst>
            <pc:docMk/>
            <pc:sldMk cId="2839430842" sldId="2147470900"/>
            <ac:spMk id="7" creationId="{FCAD9822-55B0-8A0A-ED87-47304374B7A9}"/>
          </ac:spMkLst>
        </pc:spChg>
      </pc:sldChg>
      <pc:sldChg chg="modSp new del mod">
        <pc:chgData name="YUAN Huaxing" userId="680cda70-8f8f-41b8-bd50-03497d97776e" providerId="ADAL" clId="{8952FAEC-942D-4C4D-BC41-E1982216D151}" dt="2023-02-07T15:45:42.267" v="2726" actId="47"/>
        <pc:sldMkLst>
          <pc:docMk/>
          <pc:sldMk cId="2247991122" sldId="2147470901"/>
        </pc:sldMkLst>
        <pc:spChg chg="mod">
          <ac:chgData name="YUAN Huaxing" userId="680cda70-8f8f-41b8-bd50-03497d97776e" providerId="ADAL" clId="{8952FAEC-942D-4C4D-BC41-E1982216D151}" dt="2023-02-07T15:37:03.695" v="2516" actId="20577"/>
          <ac:spMkLst>
            <pc:docMk/>
            <pc:sldMk cId="2247991122" sldId="2147470901"/>
            <ac:spMk id="2" creationId="{1E5A9C4F-0A30-EE02-AB6E-2FC887470118}"/>
          </ac:spMkLst>
        </pc:spChg>
      </pc:sldChg>
      <pc:sldChg chg="addSp delSp modSp new mod chgLayout">
        <pc:chgData name="YUAN Huaxing" userId="680cda70-8f8f-41b8-bd50-03497d97776e" providerId="ADAL" clId="{8952FAEC-942D-4C4D-BC41-E1982216D151}" dt="2023-03-06T15:57:46.517" v="6244" actId="20577"/>
        <pc:sldMkLst>
          <pc:docMk/>
          <pc:sldMk cId="3400253048" sldId="2147470902"/>
        </pc:sldMkLst>
        <pc:spChg chg="del mod ord">
          <ac:chgData name="YUAN Huaxing" userId="680cda70-8f8f-41b8-bd50-03497d97776e" providerId="ADAL" clId="{8952FAEC-942D-4C4D-BC41-E1982216D151}" dt="2023-02-07T15:37:39.986" v="2518" actId="700"/>
          <ac:spMkLst>
            <pc:docMk/>
            <pc:sldMk cId="3400253048" sldId="2147470902"/>
            <ac:spMk id="2" creationId="{2C708A25-04CD-1CB7-D37B-90DD33E8C5D0}"/>
          </ac:spMkLst>
        </pc:spChg>
        <pc:spChg chg="del">
          <ac:chgData name="YUAN Huaxing" userId="680cda70-8f8f-41b8-bd50-03497d97776e" providerId="ADAL" clId="{8952FAEC-942D-4C4D-BC41-E1982216D151}" dt="2023-02-07T15:37:39.986" v="2518" actId="700"/>
          <ac:spMkLst>
            <pc:docMk/>
            <pc:sldMk cId="3400253048" sldId="2147470902"/>
            <ac:spMk id="3" creationId="{A028A18D-0090-7A69-398C-21FC6E24048F}"/>
          </ac:spMkLst>
        </pc:spChg>
        <pc:spChg chg="del">
          <ac:chgData name="YUAN Huaxing" userId="680cda70-8f8f-41b8-bd50-03497d97776e" providerId="ADAL" clId="{8952FAEC-942D-4C4D-BC41-E1982216D151}" dt="2023-02-07T15:37:39.986" v="2518" actId="700"/>
          <ac:spMkLst>
            <pc:docMk/>
            <pc:sldMk cId="3400253048" sldId="2147470902"/>
            <ac:spMk id="4" creationId="{2A12BE42-352F-D1D8-248A-0BDBF01A6ADB}"/>
          </ac:spMkLst>
        </pc:spChg>
        <pc:spChg chg="mod ord">
          <ac:chgData name="YUAN Huaxing" userId="680cda70-8f8f-41b8-bd50-03497d97776e" providerId="ADAL" clId="{8952FAEC-942D-4C4D-BC41-E1982216D151}" dt="2023-02-07T15:37:39.986" v="2518" actId="700"/>
          <ac:spMkLst>
            <pc:docMk/>
            <pc:sldMk cId="3400253048" sldId="2147470902"/>
            <ac:spMk id="5" creationId="{6395D8ED-23B4-A0B9-A083-BB7A9472494A}"/>
          </ac:spMkLst>
        </pc:spChg>
        <pc:spChg chg="mod ord">
          <ac:chgData name="YUAN Huaxing" userId="680cda70-8f8f-41b8-bd50-03497d97776e" providerId="ADAL" clId="{8952FAEC-942D-4C4D-BC41-E1982216D151}" dt="2023-02-07T15:37:39.986" v="2518" actId="700"/>
          <ac:spMkLst>
            <pc:docMk/>
            <pc:sldMk cId="3400253048" sldId="2147470902"/>
            <ac:spMk id="6" creationId="{FBDD9DA8-AEE7-A1EF-AE70-2ED659A345FC}"/>
          </ac:spMkLst>
        </pc:spChg>
        <pc:spChg chg="add mod ord">
          <ac:chgData name="YUAN Huaxing" userId="680cda70-8f8f-41b8-bd50-03497d97776e" providerId="ADAL" clId="{8952FAEC-942D-4C4D-BC41-E1982216D151}" dt="2023-03-06T15:57:46.517" v="6244" actId="20577"/>
          <ac:spMkLst>
            <pc:docMk/>
            <pc:sldMk cId="3400253048" sldId="2147470902"/>
            <ac:spMk id="7" creationId="{FCA69EE1-5CB9-0D5A-AD8A-880E7C0E0F3E}"/>
          </ac:spMkLst>
        </pc:spChg>
      </pc:sldChg>
      <pc:sldChg chg="new del">
        <pc:chgData name="YUAN Huaxing" userId="680cda70-8f8f-41b8-bd50-03497d97776e" providerId="ADAL" clId="{8952FAEC-942D-4C4D-BC41-E1982216D151}" dt="2023-02-07T16:32:29.130" v="3035" actId="47"/>
        <pc:sldMkLst>
          <pc:docMk/>
          <pc:sldMk cId="1831726268" sldId="2147470903"/>
        </pc:sldMkLst>
      </pc:sldChg>
      <pc:sldChg chg="modSp add mod">
        <pc:chgData name="YUAN Huaxing" userId="680cda70-8f8f-41b8-bd50-03497d97776e" providerId="ADAL" clId="{8952FAEC-942D-4C4D-BC41-E1982216D151}" dt="2023-02-15T13:54:51.530" v="6241" actId="27116"/>
        <pc:sldMkLst>
          <pc:docMk/>
          <pc:sldMk cId="1782460719" sldId="2147470904"/>
        </pc:sldMkLst>
        <pc:spChg chg="mod">
          <ac:chgData name="YUAN Huaxing" userId="680cda70-8f8f-41b8-bd50-03497d97776e" providerId="ADAL" clId="{8952FAEC-942D-4C4D-BC41-E1982216D151}" dt="2023-02-08T15:56:50.984" v="3572" actId="790"/>
          <ac:spMkLst>
            <pc:docMk/>
            <pc:sldMk cId="1782460719" sldId="2147470904"/>
            <ac:spMk id="2" creationId="{34C633D1-265D-4E5F-B4D1-FCBC3D60077D}"/>
          </ac:spMkLst>
        </pc:spChg>
        <pc:spChg chg="mod">
          <ac:chgData name="YUAN Huaxing" userId="680cda70-8f8f-41b8-bd50-03497d97776e" providerId="ADAL" clId="{8952FAEC-942D-4C4D-BC41-E1982216D151}" dt="2023-02-08T15:56:50.984" v="3572" actId="790"/>
          <ac:spMkLst>
            <pc:docMk/>
            <pc:sldMk cId="1782460719" sldId="2147470904"/>
            <ac:spMk id="5" creationId="{73BBC34D-2290-40D8-90DF-D46A5C391E18}"/>
          </ac:spMkLst>
        </pc:spChg>
        <pc:spChg chg="mod">
          <ac:chgData name="YUAN Huaxing" userId="680cda70-8f8f-41b8-bd50-03497d97776e" providerId="ADAL" clId="{8952FAEC-942D-4C4D-BC41-E1982216D151}" dt="2023-02-08T15:56:50.984" v="3572" actId="790"/>
          <ac:spMkLst>
            <pc:docMk/>
            <pc:sldMk cId="1782460719" sldId="2147470904"/>
            <ac:spMk id="6" creationId="{738B823F-00C4-44AF-B5C4-5D32A75021D3}"/>
          </ac:spMkLst>
        </pc:spChg>
        <pc:spChg chg="mod">
          <ac:chgData name="YUAN Huaxing" userId="680cda70-8f8f-41b8-bd50-03497d97776e" providerId="ADAL" clId="{8952FAEC-942D-4C4D-BC41-E1982216D151}" dt="2023-02-08T15:56:50.984" v="3572" actId="790"/>
          <ac:spMkLst>
            <pc:docMk/>
            <pc:sldMk cId="1782460719" sldId="2147470904"/>
            <ac:spMk id="7" creationId="{1C2A96EF-620B-44BE-8CC7-65F448AA7267}"/>
          </ac:spMkLst>
        </pc:spChg>
        <pc:spChg chg="mod">
          <ac:chgData name="YUAN Huaxing" userId="680cda70-8f8f-41b8-bd50-03497d97776e" providerId="ADAL" clId="{8952FAEC-942D-4C4D-BC41-E1982216D151}" dt="2023-02-14T10:02:45.154" v="5013" actId="20577"/>
          <ac:spMkLst>
            <pc:docMk/>
            <pc:sldMk cId="1782460719" sldId="2147470904"/>
            <ac:spMk id="8" creationId="{3EAD7FAE-813A-4E33-AE06-A5D3D8E3548B}"/>
          </ac:spMkLst>
        </pc:spChg>
        <pc:graphicFrameChg chg="modGraphic">
          <ac:chgData name="YUAN Huaxing" userId="680cda70-8f8f-41b8-bd50-03497d97776e" providerId="ADAL" clId="{8952FAEC-942D-4C4D-BC41-E1982216D151}" dt="2023-02-15T13:54:51.530" v="6241" actId="27116"/>
          <ac:graphicFrameMkLst>
            <pc:docMk/>
            <pc:sldMk cId="1782460719" sldId="2147470904"/>
            <ac:graphicFrameMk id="38" creationId="{0F5A36C0-2395-7B6B-7374-799729AC702C}"/>
          </ac:graphicFrameMkLst>
        </pc:graphicFrameChg>
      </pc:sldChg>
      <pc:sldChg chg="addSp delSp modSp new mod modClrScheme chgLayout">
        <pc:chgData name="YUAN Huaxing" userId="680cda70-8f8f-41b8-bd50-03497d97776e" providerId="ADAL" clId="{8952FAEC-942D-4C4D-BC41-E1982216D151}" dt="2023-02-14T09:53:48.120" v="4806" actId="313"/>
        <pc:sldMkLst>
          <pc:docMk/>
          <pc:sldMk cId="4105862919" sldId="2147470905"/>
        </pc:sldMkLst>
        <pc:spChg chg="del mod ord">
          <ac:chgData name="YUAN Huaxing" userId="680cda70-8f8f-41b8-bd50-03497d97776e" providerId="ADAL" clId="{8952FAEC-942D-4C4D-BC41-E1982216D151}" dt="2023-02-14T09:45:24.650" v="3993" actId="700"/>
          <ac:spMkLst>
            <pc:docMk/>
            <pc:sldMk cId="4105862919" sldId="2147470905"/>
            <ac:spMk id="2" creationId="{1743847E-B1F4-E9E2-1555-89B500371440}"/>
          </ac:spMkLst>
        </pc:spChg>
        <pc:spChg chg="del mod ord">
          <ac:chgData name="YUAN Huaxing" userId="680cda70-8f8f-41b8-bd50-03497d97776e" providerId="ADAL" clId="{8952FAEC-942D-4C4D-BC41-E1982216D151}" dt="2023-02-14T09:45:24.650" v="3993" actId="700"/>
          <ac:spMkLst>
            <pc:docMk/>
            <pc:sldMk cId="4105862919" sldId="2147470905"/>
            <ac:spMk id="3" creationId="{F49235CD-D6CC-4AE5-58A8-FCACF5388928}"/>
          </ac:spMkLst>
        </pc:spChg>
        <pc:spChg chg="add mod ord">
          <ac:chgData name="YUAN Huaxing" userId="680cda70-8f8f-41b8-bd50-03497d97776e" providerId="ADAL" clId="{8952FAEC-942D-4C4D-BC41-E1982216D151}" dt="2023-02-14T09:48:23.036" v="4390" actId="790"/>
          <ac:spMkLst>
            <pc:docMk/>
            <pc:sldMk cId="4105862919" sldId="2147470905"/>
            <ac:spMk id="4" creationId="{F749EA5F-3AD8-955B-E738-92595941DFB6}"/>
          </ac:spMkLst>
        </pc:spChg>
        <pc:spChg chg="add mod ord">
          <ac:chgData name="YUAN Huaxing" userId="680cda70-8f8f-41b8-bd50-03497d97776e" providerId="ADAL" clId="{8952FAEC-942D-4C4D-BC41-E1982216D151}" dt="2023-02-14T09:48:23.036" v="4390" actId="790"/>
          <ac:spMkLst>
            <pc:docMk/>
            <pc:sldMk cId="4105862919" sldId="2147470905"/>
            <ac:spMk id="5" creationId="{1941C25D-979D-354B-A812-B7B8A930A620}"/>
          </ac:spMkLst>
        </pc:spChg>
        <pc:spChg chg="add mod ord">
          <ac:chgData name="YUAN Huaxing" userId="680cda70-8f8f-41b8-bd50-03497d97776e" providerId="ADAL" clId="{8952FAEC-942D-4C4D-BC41-E1982216D151}" dt="2023-02-14T09:53:48.120" v="4806" actId="313"/>
          <ac:spMkLst>
            <pc:docMk/>
            <pc:sldMk cId="4105862919" sldId="2147470905"/>
            <ac:spMk id="6" creationId="{B280346A-5616-9285-6DB6-D5491275A797}"/>
          </ac:spMkLst>
        </pc:spChg>
      </pc:sldChg>
      <pc:sldChg chg="addSp delSp modSp new mod">
        <pc:chgData name="YUAN Huaxing" userId="680cda70-8f8f-41b8-bd50-03497d97776e" providerId="ADAL" clId="{8952FAEC-942D-4C4D-BC41-E1982216D151}" dt="2023-02-15T13:52:00.255" v="6238" actId="20577"/>
        <pc:sldMkLst>
          <pc:docMk/>
          <pc:sldMk cId="3753043822" sldId="2147470906"/>
        </pc:sldMkLst>
        <pc:spChg chg="mod">
          <ac:chgData name="YUAN Huaxing" userId="680cda70-8f8f-41b8-bd50-03497d97776e" providerId="ADAL" clId="{8952FAEC-942D-4C4D-BC41-E1982216D151}" dt="2023-02-14T12:54:50.763" v="6061" actId="790"/>
          <ac:spMkLst>
            <pc:docMk/>
            <pc:sldMk cId="3753043822" sldId="2147470906"/>
            <ac:spMk id="2" creationId="{9FD134C9-C070-A685-C99D-E9715F45661B}"/>
          </ac:spMkLst>
        </pc:spChg>
        <pc:spChg chg="mod">
          <ac:chgData name="YUAN Huaxing" userId="680cda70-8f8f-41b8-bd50-03497d97776e" providerId="ADAL" clId="{8952FAEC-942D-4C4D-BC41-E1982216D151}" dt="2023-02-14T12:54:50.763" v="6061" actId="790"/>
          <ac:spMkLst>
            <pc:docMk/>
            <pc:sldMk cId="3753043822" sldId="2147470906"/>
            <ac:spMk id="3" creationId="{861D616D-EEDB-7085-E926-B4CDBD5F6677}"/>
          </ac:spMkLst>
        </pc:spChg>
        <pc:spChg chg="del">
          <ac:chgData name="YUAN Huaxing" userId="680cda70-8f8f-41b8-bd50-03497d97776e" providerId="ADAL" clId="{8952FAEC-942D-4C4D-BC41-E1982216D151}" dt="2023-02-14T12:48:05.926" v="5703" actId="3680"/>
          <ac:spMkLst>
            <pc:docMk/>
            <pc:sldMk cId="3753043822" sldId="2147470906"/>
            <ac:spMk id="4" creationId="{4D7525B2-638C-FA44-59B7-279CC7599800}"/>
          </ac:spMkLst>
        </pc:spChg>
        <pc:spChg chg="mod">
          <ac:chgData name="YUAN Huaxing" userId="680cda70-8f8f-41b8-bd50-03497d97776e" providerId="ADAL" clId="{8952FAEC-942D-4C4D-BC41-E1982216D151}" dt="2023-02-14T12:54:50.763" v="6061" actId="790"/>
          <ac:spMkLst>
            <pc:docMk/>
            <pc:sldMk cId="3753043822" sldId="2147470906"/>
            <ac:spMk id="5" creationId="{415B0EBD-3A0D-347B-DAA4-5A5E12604FCF}"/>
          </ac:spMkLst>
        </pc:spChg>
        <pc:spChg chg="mod">
          <ac:chgData name="YUAN Huaxing" userId="680cda70-8f8f-41b8-bd50-03497d97776e" providerId="ADAL" clId="{8952FAEC-942D-4C4D-BC41-E1982216D151}" dt="2023-02-14T12:54:50.763" v="6061" actId="790"/>
          <ac:spMkLst>
            <pc:docMk/>
            <pc:sldMk cId="3753043822" sldId="2147470906"/>
            <ac:spMk id="6" creationId="{89EBEE78-1642-ABBF-D5FD-993FEF60E8B4}"/>
          </ac:spMkLst>
        </pc:spChg>
        <pc:graphicFrameChg chg="add mod ord modGraphic">
          <ac:chgData name="YUAN Huaxing" userId="680cda70-8f8f-41b8-bd50-03497d97776e" providerId="ADAL" clId="{8952FAEC-942D-4C4D-BC41-E1982216D151}" dt="2023-02-15T13:52:00.255" v="6238" actId="20577"/>
          <ac:graphicFrameMkLst>
            <pc:docMk/>
            <pc:sldMk cId="3753043822" sldId="2147470906"/>
            <ac:graphicFrameMk id="7" creationId="{F4B5C520-7A25-7813-6164-F69CC04BC06F}"/>
          </ac:graphicFrameMkLst>
        </pc:graphicFrameChg>
      </pc:sldChg>
      <pc:sldChg chg="modSp mod">
        <pc:chgData name="YUAN Huaxing" userId="680cda70-8f8f-41b8-bd50-03497d97776e" providerId="ADAL" clId="{8952FAEC-942D-4C4D-BC41-E1982216D151}" dt="2023-02-21T13:58:42.763" v="6242" actId="1076"/>
        <pc:sldMkLst>
          <pc:docMk/>
          <pc:sldMk cId="4023856794" sldId="2147470909"/>
        </pc:sldMkLst>
        <pc:picChg chg="mod">
          <ac:chgData name="YUAN Huaxing" userId="680cda70-8f8f-41b8-bd50-03497d97776e" providerId="ADAL" clId="{8952FAEC-942D-4C4D-BC41-E1982216D151}" dt="2023-02-21T13:58:42.763" v="6242" actId="1076"/>
          <ac:picMkLst>
            <pc:docMk/>
            <pc:sldMk cId="4023856794" sldId="2147470909"/>
            <ac:picMk id="12" creationId="{530057F0-B017-CED1-D7C9-57DAFEED397D}"/>
          </ac:picMkLst>
        </pc:picChg>
      </pc:sldChg>
    </pc:docChg>
  </pc:docChgLst>
  <pc:docChgLst>
    <pc:chgData name="KERMARREC Mikael" userId="S::mikael.kermarrec@axa.fr::3ad02e16-1fcc-4744-a780-2813e7b0010b" providerId="AD" clId="Web-{5366CB7A-AD80-9CAE-FCD8-8B5A9296E722}"/>
    <pc:docChg chg="modSld">
      <pc:chgData name="KERMARREC Mikael" userId="S::mikael.kermarrec@axa.fr::3ad02e16-1fcc-4744-a780-2813e7b0010b" providerId="AD" clId="Web-{5366CB7A-AD80-9CAE-FCD8-8B5A9296E722}" dt="2023-02-09T10:35:22.454" v="19"/>
      <pc:docMkLst>
        <pc:docMk/>
      </pc:docMkLst>
      <pc:sldChg chg="modSp modCm">
        <pc:chgData name="KERMARREC Mikael" userId="S::mikael.kermarrec@axa.fr::3ad02e16-1fcc-4744-a780-2813e7b0010b" providerId="AD" clId="Web-{5366CB7A-AD80-9CAE-FCD8-8B5A9296E722}" dt="2023-02-09T10:35:22.454" v="19"/>
        <pc:sldMkLst>
          <pc:docMk/>
          <pc:sldMk cId="2831867188" sldId="2147470878"/>
        </pc:sldMkLst>
        <pc:spChg chg="mod">
          <ac:chgData name="KERMARREC Mikael" userId="S::mikael.kermarrec@axa.fr::3ad02e16-1fcc-4744-a780-2813e7b0010b" providerId="AD" clId="Web-{5366CB7A-AD80-9CAE-FCD8-8B5A9296E722}" dt="2023-02-09T10:28:15.431" v="18" actId="20577"/>
          <ac:spMkLst>
            <pc:docMk/>
            <pc:sldMk cId="2831867188" sldId="2147470878"/>
            <ac:spMk id="10" creationId="{3082DF56-5EEB-4571-8A6D-0247D9D1CD76}"/>
          </ac:spMkLst>
        </pc:spChg>
      </pc:sldChg>
    </pc:docChg>
  </pc:docChgLst>
  <pc:docChgLst>
    <pc:chgData name="YUAN Huaxing" userId="680cda70-8f8f-41b8-bd50-03497d97776e" providerId="ADAL" clId="{A2A0405A-6B1F-4AFE-ADF4-06FBC564D530}"/>
    <pc:docChg chg="undo redo custSel addSld delSld modSld sldOrd modMainMaster modSection">
      <pc:chgData name="YUAN Huaxing" userId="680cda70-8f8f-41b8-bd50-03497d97776e" providerId="ADAL" clId="{A2A0405A-6B1F-4AFE-ADF4-06FBC564D530}" dt="2023-01-11T09:42:38.124" v="21170" actId="20577"/>
      <pc:docMkLst>
        <pc:docMk/>
      </pc:docMkLst>
      <pc:sldChg chg="delSp modSp mod">
        <pc:chgData name="YUAN Huaxing" userId="680cda70-8f8f-41b8-bd50-03497d97776e" providerId="ADAL" clId="{A2A0405A-6B1F-4AFE-ADF4-06FBC564D530}" dt="2022-11-24T16:59:39.958" v="76" actId="20577"/>
        <pc:sldMkLst>
          <pc:docMk/>
          <pc:sldMk cId="0" sldId="256"/>
        </pc:sldMkLst>
        <pc:spChg chg="del">
          <ac:chgData name="YUAN Huaxing" userId="680cda70-8f8f-41b8-bd50-03497d97776e" providerId="ADAL" clId="{A2A0405A-6B1F-4AFE-ADF4-06FBC564D530}" dt="2022-11-24T16:58:11.125" v="40" actId="478"/>
          <ac:spMkLst>
            <pc:docMk/>
            <pc:sldMk cId="0" sldId="256"/>
            <ac:spMk id="16" creationId="{00000000-0000-0000-0000-000000000000}"/>
          </ac:spMkLst>
        </pc:spChg>
        <pc:spChg chg="mod">
          <ac:chgData name="YUAN Huaxing" userId="680cda70-8f8f-41b8-bd50-03497d97776e" providerId="ADAL" clId="{A2A0405A-6B1F-4AFE-ADF4-06FBC564D530}" dt="2022-11-24T16:59:39.958" v="76" actId="20577"/>
          <ac:spMkLst>
            <pc:docMk/>
            <pc:sldMk cId="0" sldId="256"/>
            <ac:spMk id="8194" creationId="{00000000-0000-0000-0000-000000000000}"/>
          </ac:spMkLst>
        </pc:spChg>
      </pc:sldChg>
      <pc:sldChg chg="del">
        <pc:chgData name="YUAN Huaxing" userId="680cda70-8f8f-41b8-bd50-03497d97776e" providerId="ADAL" clId="{A2A0405A-6B1F-4AFE-ADF4-06FBC564D530}" dt="2022-11-25T16:15:20.424" v="9363" actId="47"/>
        <pc:sldMkLst>
          <pc:docMk/>
          <pc:sldMk cId="2498603904" sldId="258"/>
        </pc:sldMkLst>
      </pc:sldChg>
      <pc:sldChg chg="del">
        <pc:chgData name="YUAN Huaxing" userId="680cda70-8f8f-41b8-bd50-03497d97776e" providerId="ADAL" clId="{A2A0405A-6B1F-4AFE-ADF4-06FBC564D530}" dt="2022-11-25T15:16:52.850" v="6203" actId="47"/>
        <pc:sldMkLst>
          <pc:docMk/>
          <pc:sldMk cId="3525188028" sldId="337"/>
        </pc:sldMkLst>
      </pc:sldChg>
      <pc:sldChg chg="addSp delSp modSp mod ord">
        <pc:chgData name="YUAN Huaxing" userId="680cda70-8f8f-41b8-bd50-03497d97776e" providerId="ADAL" clId="{A2A0405A-6B1F-4AFE-ADF4-06FBC564D530}" dt="2022-12-06T16:22:35.341" v="21144" actId="478"/>
        <pc:sldMkLst>
          <pc:docMk/>
          <pc:sldMk cId="3617964995" sldId="339"/>
        </pc:sldMkLst>
        <pc:spChg chg="mod">
          <ac:chgData name="YUAN Huaxing" userId="680cda70-8f8f-41b8-bd50-03497d97776e" providerId="ADAL" clId="{A2A0405A-6B1F-4AFE-ADF4-06FBC564D530}" dt="2022-12-01T15:10:23.177" v="17576" actId="790"/>
          <ac:spMkLst>
            <pc:docMk/>
            <pc:sldMk cId="3617964995" sldId="339"/>
            <ac:spMk id="2" creationId="{48A4887A-4843-4423-B3D1-8EAD466432D7}"/>
          </ac:spMkLst>
        </pc:spChg>
        <pc:spChg chg="mod">
          <ac:chgData name="YUAN Huaxing" userId="680cda70-8f8f-41b8-bd50-03497d97776e" providerId="ADAL" clId="{A2A0405A-6B1F-4AFE-ADF4-06FBC564D530}" dt="2022-12-01T15:10:23.177" v="17576" actId="790"/>
          <ac:spMkLst>
            <pc:docMk/>
            <pc:sldMk cId="3617964995" sldId="339"/>
            <ac:spMk id="3" creationId="{17A7A481-35A3-4197-9E3B-1898A76E11E8}"/>
          </ac:spMkLst>
        </pc:spChg>
        <pc:spChg chg="mod">
          <ac:chgData name="YUAN Huaxing" userId="680cda70-8f8f-41b8-bd50-03497d97776e" providerId="ADAL" clId="{A2A0405A-6B1F-4AFE-ADF4-06FBC564D530}" dt="2022-12-01T15:10:23.177" v="17576" actId="790"/>
          <ac:spMkLst>
            <pc:docMk/>
            <pc:sldMk cId="3617964995" sldId="339"/>
            <ac:spMk id="5" creationId="{43DEECCB-5ACB-4AB0-9E6B-CE2DF4074066}"/>
          </ac:spMkLst>
        </pc:spChg>
        <pc:spChg chg="mod">
          <ac:chgData name="YUAN Huaxing" userId="680cda70-8f8f-41b8-bd50-03497d97776e" providerId="ADAL" clId="{A2A0405A-6B1F-4AFE-ADF4-06FBC564D530}" dt="2022-12-01T15:10:23.177" v="17576" actId="790"/>
          <ac:spMkLst>
            <pc:docMk/>
            <pc:sldMk cId="3617964995" sldId="339"/>
            <ac:spMk id="6" creationId="{49C3482C-2325-4F91-B3F5-0274F790F0DC}"/>
          </ac:spMkLst>
        </pc:spChg>
        <pc:spChg chg="mod">
          <ac:chgData name="YUAN Huaxing" userId="680cda70-8f8f-41b8-bd50-03497d97776e" providerId="ADAL" clId="{A2A0405A-6B1F-4AFE-ADF4-06FBC564D530}" dt="2022-11-25T13:57:59.392" v="4103" actId="20577"/>
          <ac:spMkLst>
            <pc:docMk/>
            <pc:sldMk cId="3617964995" sldId="339"/>
            <ac:spMk id="9" creationId="{05402A5E-5BD8-416A-AD02-A13FBF93748E}"/>
          </ac:spMkLst>
        </pc:spChg>
        <pc:spChg chg="mod">
          <ac:chgData name="YUAN Huaxing" userId="680cda70-8f8f-41b8-bd50-03497d97776e" providerId="ADAL" clId="{A2A0405A-6B1F-4AFE-ADF4-06FBC564D530}" dt="2022-11-24T17:30:39.096" v="1250" actId="20577"/>
          <ac:spMkLst>
            <pc:docMk/>
            <pc:sldMk cId="3617964995" sldId="339"/>
            <ac:spMk id="10" creationId="{920E95CB-9625-4B9A-B9CA-B7E7F19B2CBF}"/>
          </ac:spMkLst>
        </pc:spChg>
        <pc:spChg chg="add del mod">
          <ac:chgData name="YUAN Huaxing" userId="680cda70-8f8f-41b8-bd50-03497d97776e" providerId="ADAL" clId="{A2A0405A-6B1F-4AFE-ADF4-06FBC564D530}" dt="2022-11-29T10:36:25.672" v="11928" actId="478"/>
          <ac:spMkLst>
            <pc:docMk/>
            <pc:sldMk cId="3617964995" sldId="339"/>
            <ac:spMk id="42" creationId="{F992033B-25FC-4D2C-AD90-B85AFF233C8B}"/>
          </ac:spMkLst>
        </pc:spChg>
        <pc:spChg chg="add del mod">
          <ac:chgData name="YUAN Huaxing" userId="680cda70-8f8f-41b8-bd50-03497d97776e" providerId="ADAL" clId="{A2A0405A-6B1F-4AFE-ADF4-06FBC564D530}" dt="2022-12-05T15:13:52.515" v="21142" actId="1035"/>
          <ac:spMkLst>
            <pc:docMk/>
            <pc:sldMk cId="3617964995" sldId="339"/>
            <ac:spMk id="44" creationId="{8160B234-A8E5-48A4-BD86-348AC6F4494C}"/>
          </ac:spMkLst>
        </pc:spChg>
        <pc:spChg chg="add del mod">
          <ac:chgData name="YUAN Huaxing" userId="680cda70-8f8f-41b8-bd50-03497d97776e" providerId="ADAL" clId="{A2A0405A-6B1F-4AFE-ADF4-06FBC564D530}" dt="2022-12-05T15:13:52.515" v="21142" actId="1035"/>
          <ac:spMkLst>
            <pc:docMk/>
            <pc:sldMk cId="3617964995" sldId="339"/>
            <ac:spMk id="45" creationId="{614CD11B-B6D7-4093-B386-6C84B43C6110}"/>
          </ac:spMkLst>
        </pc:spChg>
        <pc:spChg chg="add del mod">
          <ac:chgData name="YUAN Huaxing" userId="680cda70-8f8f-41b8-bd50-03497d97776e" providerId="ADAL" clId="{A2A0405A-6B1F-4AFE-ADF4-06FBC564D530}" dt="2022-12-05T15:13:52.515" v="21142" actId="1035"/>
          <ac:spMkLst>
            <pc:docMk/>
            <pc:sldMk cId="3617964995" sldId="339"/>
            <ac:spMk id="46" creationId="{D902D43E-2132-437F-95D6-6D15734F0BF8}"/>
          </ac:spMkLst>
        </pc:spChg>
        <pc:spChg chg="add del mod">
          <ac:chgData name="YUAN Huaxing" userId="680cda70-8f8f-41b8-bd50-03497d97776e" providerId="ADAL" clId="{A2A0405A-6B1F-4AFE-ADF4-06FBC564D530}" dt="2022-12-01T15:02:12.053" v="17341" actId="478"/>
          <ac:spMkLst>
            <pc:docMk/>
            <pc:sldMk cId="3617964995" sldId="339"/>
            <ac:spMk id="47" creationId="{0DF98BCF-1237-4527-B304-6FF25293DC52}"/>
          </ac:spMkLst>
        </pc:spChg>
        <pc:spChg chg="add del mod">
          <ac:chgData name="YUAN Huaxing" userId="680cda70-8f8f-41b8-bd50-03497d97776e" providerId="ADAL" clId="{A2A0405A-6B1F-4AFE-ADF4-06FBC564D530}" dt="2022-12-01T15:02:13.207" v="17342" actId="478"/>
          <ac:spMkLst>
            <pc:docMk/>
            <pc:sldMk cId="3617964995" sldId="339"/>
            <ac:spMk id="48" creationId="{48C44808-CD9F-49B6-92BA-2EE424E24E61}"/>
          </ac:spMkLst>
        </pc:spChg>
        <pc:spChg chg="mod">
          <ac:chgData name="YUAN Huaxing" userId="680cda70-8f8f-41b8-bd50-03497d97776e" providerId="ADAL" clId="{A2A0405A-6B1F-4AFE-ADF4-06FBC564D530}" dt="2022-12-01T15:10:23.177" v="17576" actId="790"/>
          <ac:spMkLst>
            <pc:docMk/>
            <pc:sldMk cId="3617964995" sldId="339"/>
            <ac:spMk id="50" creationId="{002D6865-ADA3-4E2A-9F8B-C1518D16CDB2}"/>
          </ac:spMkLst>
        </pc:spChg>
        <pc:spChg chg="mod">
          <ac:chgData name="YUAN Huaxing" userId="680cda70-8f8f-41b8-bd50-03497d97776e" providerId="ADAL" clId="{A2A0405A-6B1F-4AFE-ADF4-06FBC564D530}" dt="2022-12-01T15:10:23.177" v="17576" actId="790"/>
          <ac:spMkLst>
            <pc:docMk/>
            <pc:sldMk cId="3617964995" sldId="339"/>
            <ac:spMk id="51" creationId="{8DC266E4-1DB8-4580-88E9-FE782557C79C}"/>
          </ac:spMkLst>
        </pc:spChg>
        <pc:spChg chg="mod">
          <ac:chgData name="YUAN Huaxing" userId="680cda70-8f8f-41b8-bd50-03497d97776e" providerId="ADAL" clId="{A2A0405A-6B1F-4AFE-ADF4-06FBC564D530}" dt="2022-12-01T15:10:23.177" v="17576" actId="790"/>
          <ac:spMkLst>
            <pc:docMk/>
            <pc:sldMk cId="3617964995" sldId="339"/>
            <ac:spMk id="52" creationId="{453B6C3A-3D1C-442A-949F-062A7BA312AE}"/>
          </ac:spMkLst>
        </pc:spChg>
        <pc:spChg chg="mod">
          <ac:chgData name="YUAN Huaxing" userId="680cda70-8f8f-41b8-bd50-03497d97776e" providerId="ADAL" clId="{A2A0405A-6B1F-4AFE-ADF4-06FBC564D530}" dt="2022-12-01T15:10:23.177" v="17576" actId="790"/>
          <ac:spMkLst>
            <pc:docMk/>
            <pc:sldMk cId="3617964995" sldId="339"/>
            <ac:spMk id="53" creationId="{D68906BB-49B1-4B59-AFFD-F03F880A7E98}"/>
          </ac:spMkLst>
        </pc:spChg>
        <pc:spChg chg="mod">
          <ac:chgData name="YUAN Huaxing" userId="680cda70-8f8f-41b8-bd50-03497d97776e" providerId="ADAL" clId="{A2A0405A-6B1F-4AFE-ADF4-06FBC564D530}" dt="2022-12-01T15:10:23.177" v="17576" actId="790"/>
          <ac:spMkLst>
            <pc:docMk/>
            <pc:sldMk cId="3617964995" sldId="339"/>
            <ac:spMk id="54" creationId="{68AD2A53-27A5-445E-9456-741ADF0E8F63}"/>
          </ac:spMkLst>
        </pc:spChg>
        <pc:spChg chg="mod">
          <ac:chgData name="YUAN Huaxing" userId="680cda70-8f8f-41b8-bd50-03497d97776e" providerId="ADAL" clId="{A2A0405A-6B1F-4AFE-ADF4-06FBC564D530}" dt="2022-12-01T15:10:23.177" v="17576" actId="790"/>
          <ac:spMkLst>
            <pc:docMk/>
            <pc:sldMk cId="3617964995" sldId="339"/>
            <ac:spMk id="55" creationId="{9A8600CF-D41F-4C77-88E0-143276603357}"/>
          </ac:spMkLst>
        </pc:spChg>
        <pc:spChg chg="mod">
          <ac:chgData name="YUAN Huaxing" userId="680cda70-8f8f-41b8-bd50-03497d97776e" providerId="ADAL" clId="{A2A0405A-6B1F-4AFE-ADF4-06FBC564D530}" dt="2022-12-01T15:10:23.177" v="17576" actId="790"/>
          <ac:spMkLst>
            <pc:docMk/>
            <pc:sldMk cId="3617964995" sldId="339"/>
            <ac:spMk id="56" creationId="{450F3EAE-E6BA-4C77-8D63-EA18B832A506}"/>
          </ac:spMkLst>
        </pc:spChg>
        <pc:spChg chg="mod">
          <ac:chgData name="YUAN Huaxing" userId="680cda70-8f8f-41b8-bd50-03497d97776e" providerId="ADAL" clId="{A2A0405A-6B1F-4AFE-ADF4-06FBC564D530}" dt="2022-12-01T15:10:23.177" v="17576" actId="790"/>
          <ac:spMkLst>
            <pc:docMk/>
            <pc:sldMk cId="3617964995" sldId="339"/>
            <ac:spMk id="57" creationId="{264AAE6C-BA14-4868-A7C6-AB89B7764994}"/>
          </ac:spMkLst>
        </pc:spChg>
        <pc:spChg chg="mod">
          <ac:chgData name="YUAN Huaxing" userId="680cda70-8f8f-41b8-bd50-03497d97776e" providerId="ADAL" clId="{A2A0405A-6B1F-4AFE-ADF4-06FBC564D530}" dt="2022-12-01T15:10:23.177" v="17576" actId="790"/>
          <ac:spMkLst>
            <pc:docMk/>
            <pc:sldMk cId="3617964995" sldId="339"/>
            <ac:spMk id="58" creationId="{2D2CB67D-66F7-480F-B730-4D9E7F3F69CB}"/>
          </ac:spMkLst>
        </pc:spChg>
        <pc:spChg chg="mod">
          <ac:chgData name="YUAN Huaxing" userId="680cda70-8f8f-41b8-bd50-03497d97776e" providerId="ADAL" clId="{A2A0405A-6B1F-4AFE-ADF4-06FBC564D530}" dt="2022-12-01T15:10:23.177" v="17576" actId="790"/>
          <ac:spMkLst>
            <pc:docMk/>
            <pc:sldMk cId="3617964995" sldId="339"/>
            <ac:spMk id="59" creationId="{4B35A554-8F0D-45E5-96F3-FADBEF7977CF}"/>
          </ac:spMkLst>
        </pc:spChg>
        <pc:spChg chg="mod">
          <ac:chgData name="YUAN Huaxing" userId="680cda70-8f8f-41b8-bd50-03497d97776e" providerId="ADAL" clId="{A2A0405A-6B1F-4AFE-ADF4-06FBC564D530}" dt="2022-12-01T15:10:23.177" v="17576" actId="790"/>
          <ac:spMkLst>
            <pc:docMk/>
            <pc:sldMk cId="3617964995" sldId="339"/>
            <ac:spMk id="69" creationId="{94AD2BDA-D5CA-46B4-B3A9-50DFF37D6D5C}"/>
          </ac:spMkLst>
        </pc:spChg>
        <pc:spChg chg="mod">
          <ac:chgData name="YUAN Huaxing" userId="680cda70-8f8f-41b8-bd50-03497d97776e" providerId="ADAL" clId="{A2A0405A-6B1F-4AFE-ADF4-06FBC564D530}" dt="2022-12-01T15:10:23.177" v="17576" actId="790"/>
          <ac:spMkLst>
            <pc:docMk/>
            <pc:sldMk cId="3617964995" sldId="339"/>
            <ac:spMk id="70" creationId="{9E511418-3A42-450D-9E7F-62D9516876CE}"/>
          </ac:spMkLst>
        </pc:spChg>
        <pc:spChg chg="mod">
          <ac:chgData name="YUAN Huaxing" userId="680cda70-8f8f-41b8-bd50-03497d97776e" providerId="ADAL" clId="{A2A0405A-6B1F-4AFE-ADF4-06FBC564D530}" dt="2022-12-01T15:10:23.177" v="17576" actId="790"/>
          <ac:spMkLst>
            <pc:docMk/>
            <pc:sldMk cId="3617964995" sldId="339"/>
            <ac:spMk id="71" creationId="{881D1930-9FA9-45E0-AEFF-9B0B99B067F7}"/>
          </ac:spMkLst>
        </pc:spChg>
        <pc:spChg chg="mod">
          <ac:chgData name="YUAN Huaxing" userId="680cda70-8f8f-41b8-bd50-03497d97776e" providerId="ADAL" clId="{A2A0405A-6B1F-4AFE-ADF4-06FBC564D530}" dt="2022-12-01T15:10:23.177" v="17576" actId="790"/>
          <ac:spMkLst>
            <pc:docMk/>
            <pc:sldMk cId="3617964995" sldId="339"/>
            <ac:spMk id="74" creationId="{46180FB5-0542-472A-A711-C7D3EEB9742E}"/>
          </ac:spMkLst>
        </pc:spChg>
        <pc:spChg chg="add mod">
          <ac:chgData name="YUAN Huaxing" userId="680cda70-8f8f-41b8-bd50-03497d97776e" providerId="ADAL" clId="{A2A0405A-6B1F-4AFE-ADF4-06FBC564D530}" dt="2022-12-02T10:12:47.882" v="20117" actId="1076"/>
          <ac:spMkLst>
            <pc:docMk/>
            <pc:sldMk cId="3617964995" sldId="339"/>
            <ac:spMk id="85" creationId="{05D19E92-5BB5-46A3-B727-B5CB0F6C21DC}"/>
          </ac:spMkLst>
        </pc:spChg>
        <pc:spChg chg="add mod">
          <ac:chgData name="YUAN Huaxing" userId="680cda70-8f8f-41b8-bd50-03497d97776e" providerId="ADAL" clId="{A2A0405A-6B1F-4AFE-ADF4-06FBC564D530}" dt="2022-12-02T10:12:47.882" v="20117" actId="1076"/>
          <ac:spMkLst>
            <pc:docMk/>
            <pc:sldMk cId="3617964995" sldId="339"/>
            <ac:spMk id="87" creationId="{1BCD6DCA-BC99-4407-AEF5-A1D4336BB7C8}"/>
          </ac:spMkLst>
        </pc:spChg>
        <pc:spChg chg="add del mod">
          <ac:chgData name="YUAN Huaxing" userId="680cda70-8f8f-41b8-bd50-03497d97776e" providerId="ADAL" clId="{A2A0405A-6B1F-4AFE-ADF4-06FBC564D530}" dt="2022-12-01T15:00:00.811" v="17252" actId="478"/>
          <ac:spMkLst>
            <pc:docMk/>
            <pc:sldMk cId="3617964995" sldId="339"/>
            <ac:spMk id="88" creationId="{4ABEBDC4-39B9-428D-9AC9-2FAB5EF391D0}"/>
          </ac:spMkLst>
        </pc:spChg>
        <pc:spChg chg="add del mod">
          <ac:chgData name="YUAN Huaxing" userId="680cda70-8f8f-41b8-bd50-03497d97776e" providerId="ADAL" clId="{A2A0405A-6B1F-4AFE-ADF4-06FBC564D530}" dt="2022-12-01T15:00:45.889" v="17266" actId="478"/>
          <ac:spMkLst>
            <pc:docMk/>
            <pc:sldMk cId="3617964995" sldId="339"/>
            <ac:spMk id="89" creationId="{06622CD9-D80A-4A00-9F06-BDAD840A981D}"/>
          </ac:spMkLst>
        </pc:spChg>
        <pc:spChg chg="add mod">
          <ac:chgData name="YUAN Huaxing" userId="680cda70-8f8f-41b8-bd50-03497d97776e" providerId="ADAL" clId="{A2A0405A-6B1F-4AFE-ADF4-06FBC564D530}" dt="2022-12-02T10:12:47.882" v="20117" actId="1076"/>
          <ac:spMkLst>
            <pc:docMk/>
            <pc:sldMk cId="3617964995" sldId="339"/>
            <ac:spMk id="90" creationId="{08F7FC8F-C15F-48E6-ADBE-860C6C6D3BFC}"/>
          </ac:spMkLst>
        </pc:spChg>
        <pc:spChg chg="add del mod">
          <ac:chgData name="YUAN Huaxing" userId="680cda70-8f8f-41b8-bd50-03497d97776e" providerId="ADAL" clId="{A2A0405A-6B1F-4AFE-ADF4-06FBC564D530}" dt="2022-12-05T15:13:48.625" v="21140" actId="1035"/>
          <ac:spMkLst>
            <pc:docMk/>
            <pc:sldMk cId="3617964995" sldId="339"/>
            <ac:spMk id="128" creationId="{EDF42D67-B1E1-4B87-95C6-0B461408DE97}"/>
          </ac:spMkLst>
        </pc:spChg>
        <pc:spChg chg="add del mod">
          <ac:chgData name="YUAN Huaxing" userId="680cda70-8f8f-41b8-bd50-03497d97776e" providerId="ADAL" clId="{A2A0405A-6B1F-4AFE-ADF4-06FBC564D530}" dt="2022-12-01T15:10:23.177" v="17576" actId="790"/>
          <ac:spMkLst>
            <pc:docMk/>
            <pc:sldMk cId="3617964995" sldId="339"/>
            <ac:spMk id="130" creationId="{1938F520-DC89-4B62-BE55-DACAF194BABC}"/>
          </ac:spMkLst>
        </pc:spChg>
        <pc:spChg chg="add del mod">
          <ac:chgData name="YUAN Huaxing" userId="680cda70-8f8f-41b8-bd50-03497d97776e" providerId="ADAL" clId="{A2A0405A-6B1F-4AFE-ADF4-06FBC564D530}" dt="2022-12-05T15:13:48.625" v="21140" actId="1035"/>
          <ac:spMkLst>
            <pc:docMk/>
            <pc:sldMk cId="3617964995" sldId="339"/>
            <ac:spMk id="131" creationId="{22CBFF1B-75AC-45F9-AF90-1ECAD7105D5D}"/>
          </ac:spMkLst>
        </pc:spChg>
        <pc:spChg chg="mod topLvl">
          <ac:chgData name="YUAN Huaxing" userId="680cda70-8f8f-41b8-bd50-03497d97776e" providerId="ADAL" clId="{A2A0405A-6B1F-4AFE-ADF4-06FBC564D530}" dt="2022-12-05T15:13:23.712" v="21136" actId="20577"/>
          <ac:spMkLst>
            <pc:docMk/>
            <pc:sldMk cId="3617964995" sldId="339"/>
            <ac:spMk id="138" creationId="{9BA93FC7-1A1B-4128-9C96-A8831F473773}"/>
          </ac:spMkLst>
        </pc:spChg>
        <pc:grpChg chg="add del mod">
          <ac:chgData name="YUAN Huaxing" userId="680cda70-8f8f-41b8-bd50-03497d97776e" providerId="ADAL" clId="{A2A0405A-6B1F-4AFE-ADF4-06FBC564D530}" dt="2022-12-01T14:59:50.777" v="17250" actId="478"/>
          <ac:grpSpMkLst>
            <pc:docMk/>
            <pc:sldMk cId="3617964995" sldId="339"/>
            <ac:grpSpMk id="4" creationId="{07F87F29-2F14-4936-9862-999A496C949A}"/>
          </ac:grpSpMkLst>
        </pc:grpChg>
        <pc:grpChg chg="add mod">
          <ac:chgData name="YUAN Huaxing" userId="680cda70-8f8f-41b8-bd50-03497d97776e" providerId="ADAL" clId="{A2A0405A-6B1F-4AFE-ADF4-06FBC564D530}" dt="2022-12-02T10:12:47.882" v="20117" actId="1076"/>
          <ac:grpSpMkLst>
            <pc:docMk/>
            <pc:sldMk cId="3617964995" sldId="339"/>
            <ac:grpSpMk id="49" creationId="{23411EA7-9484-49B9-B30F-071C7BE1DF4F}"/>
          </ac:grpSpMkLst>
        </pc:grpChg>
        <pc:grpChg chg="del">
          <ac:chgData name="YUAN Huaxing" userId="680cda70-8f8f-41b8-bd50-03497d97776e" providerId="ADAL" clId="{A2A0405A-6B1F-4AFE-ADF4-06FBC564D530}" dt="2022-12-01T14:58:25.317" v="17217" actId="478"/>
          <ac:grpSpMkLst>
            <pc:docMk/>
            <pc:sldMk cId="3617964995" sldId="339"/>
            <ac:grpSpMk id="139" creationId="{1CDAF42D-CD9F-4F32-9C0C-7700A123EBF5}"/>
          </ac:grpSpMkLst>
        </pc:grpChg>
        <pc:inkChg chg="add del">
          <ac:chgData name="YUAN Huaxing" userId="680cda70-8f8f-41b8-bd50-03497d97776e" providerId="ADAL" clId="{A2A0405A-6B1F-4AFE-ADF4-06FBC564D530}" dt="2022-12-06T16:22:35.341" v="21144" actId="478"/>
          <ac:inkMkLst>
            <pc:docMk/>
            <pc:sldMk cId="3617964995" sldId="339"/>
            <ac:inkMk id="4" creationId="{E4C85EB6-6F7F-4A6E-B981-1D02D6E18FA0}"/>
          </ac:inkMkLst>
        </pc:inkChg>
        <pc:cxnChg chg="mod">
          <ac:chgData name="YUAN Huaxing" userId="680cda70-8f8f-41b8-bd50-03497d97776e" providerId="ADAL" clId="{A2A0405A-6B1F-4AFE-ADF4-06FBC564D530}" dt="2022-12-01T14:58:25.317" v="17217" actId="478"/>
          <ac:cxnSpMkLst>
            <pc:docMk/>
            <pc:sldMk cId="3617964995" sldId="339"/>
            <ac:cxnSpMk id="25" creationId="{98623CD8-59B9-4EB6-88AD-BEF5F9299394}"/>
          </ac:cxnSpMkLst>
        </pc:cxnChg>
        <pc:cxnChg chg="mod">
          <ac:chgData name="YUAN Huaxing" userId="680cda70-8f8f-41b8-bd50-03497d97776e" providerId="ADAL" clId="{A2A0405A-6B1F-4AFE-ADF4-06FBC564D530}" dt="2022-12-01T14:58:25.317" v="17217" actId="478"/>
          <ac:cxnSpMkLst>
            <pc:docMk/>
            <pc:sldMk cId="3617964995" sldId="339"/>
            <ac:cxnSpMk id="27" creationId="{335BE612-8310-49B7-96F2-999E60FAD6D5}"/>
          </ac:cxnSpMkLst>
        </pc:cxnChg>
        <pc:cxnChg chg="mod">
          <ac:chgData name="YUAN Huaxing" userId="680cda70-8f8f-41b8-bd50-03497d97776e" providerId="ADAL" clId="{A2A0405A-6B1F-4AFE-ADF4-06FBC564D530}" dt="2022-12-01T14:58:25.317" v="17217" actId="478"/>
          <ac:cxnSpMkLst>
            <pc:docMk/>
            <pc:sldMk cId="3617964995" sldId="339"/>
            <ac:cxnSpMk id="29" creationId="{CAE47AAA-EE2E-452B-9B47-585718693898}"/>
          </ac:cxnSpMkLst>
        </pc:cxnChg>
        <pc:cxnChg chg="mod">
          <ac:chgData name="YUAN Huaxing" userId="680cda70-8f8f-41b8-bd50-03497d97776e" providerId="ADAL" clId="{A2A0405A-6B1F-4AFE-ADF4-06FBC564D530}" dt="2022-12-01T14:58:25.317" v="17217" actId="478"/>
          <ac:cxnSpMkLst>
            <pc:docMk/>
            <pc:sldMk cId="3617964995" sldId="339"/>
            <ac:cxnSpMk id="31" creationId="{08803B38-33CE-4B6B-BDE3-C4805E8C3004}"/>
          </ac:cxnSpMkLst>
        </pc:cxnChg>
        <pc:cxnChg chg="mod">
          <ac:chgData name="YUAN Huaxing" userId="680cda70-8f8f-41b8-bd50-03497d97776e" providerId="ADAL" clId="{A2A0405A-6B1F-4AFE-ADF4-06FBC564D530}" dt="2022-12-01T14:58:25.967" v="17218"/>
          <ac:cxnSpMkLst>
            <pc:docMk/>
            <pc:sldMk cId="3617964995" sldId="339"/>
            <ac:cxnSpMk id="63" creationId="{E27E18F5-5E8A-488C-9C86-BC7184445E5A}"/>
          </ac:cxnSpMkLst>
        </pc:cxnChg>
        <pc:cxnChg chg="mod">
          <ac:chgData name="YUAN Huaxing" userId="680cda70-8f8f-41b8-bd50-03497d97776e" providerId="ADAL" clId="{A2A0405A-6B1F-4AFE-ADF4-06FBC564D530}" dt="2022-12-01T14:58:25.317" v="17217" actId="478"/>
          <ac:cxnSpMkLst>
            <pc:docMk/>
            <pc:sldMk cId="3617964995" sldId="339"/>
            <ac:cxnSpMk id="64" creationId="{D559964F-BD74-4226-A502-2978ACDA62F2}"/>
          </ac:cxnSpMkLst>
        </pc:cxnChg>
        <pc:cxnChg chg="mod">
          <ac:chgData name="YUAN Huaxing" userId="680cda70-8f8f-41b8-bd50-03497d97776e" providerId="ADAL" clId="{A2A0405A-6B1F-4AFE-ADF4-06FBC564D530}" dt="2022-12-01T14:58:25.967" v="17218"/>
          <ac:cxnSpMkLst>
            <pc:docMk/>
            <pc:sldMk cId="3617964995" sldId="339"/>
            <ac:cxnSpMk id="65" creationId="{9C24E4B4-270A-4BB3-9B7C-A803CBB0E7FF}"/>
          </ac:cxnSpMkLst>
        </pc:cxnChg>
        <pc:cxnChg chg="mod">
          <ac:chgData name="YUAN Huaxing" userId="680cda70-8f8f-41b8-bd50-03497d97776e" providerId="ADAL" clId="{A2A0405A-6B1F-4AFE-ADF4-06FBC564D530}" dt="2022-12-01T14:58:25.967" v="17218"/>
          <ac:cxnSpMkLst>
            <pc:docMk/>
            <pc:sldMk cId="3617964995" sldId="339"/>
            <ac:cxnSpMk id="66" creationId="{7B284254-1B7B-4BEE-B928-0BB8FA228AC1}"/>
          </ac:cxnSpMkLst>
        </pc:cxnChg>
        <pc:cxnChg chg="mod">
          <ac:chgData name="YUAN Huaxing" userId="680cda70-8f8f-41b8-bd50-03497d97776e" providerId="ADAL" clId="{A2A0405A-6B1F-4AFE-ADF4-06FBC564D530}" dt="2022-12-01T14:58:25.317" v="17217" actId="478"/>
          <ac:cxnSpMkLst>
            <pc:docMk/>
            <pc:sldMk cId="3617964995" sldId="339"/>
            <ac:cxnSpMk id="67" creationId="{A3F26E32-A102-4D36-8564-70B017A0866D}"/>
          </ac:cxnSpMkLst>
        </pc:cxnChg>
        <pc:cxnChg chg="mod">
          <ac:chgData name="YUAN Huaxing" userId="680cda70-8f8f-41b8-bd50-03497d97776e" providerId="ADAL" clId="{A2A0405A-6B1F-4AFE-ADF4-06FBC564D530}" dt="2022-12-01T14:58:25.967" v="17218"/>
          <ac:cxnSpMkLst>
            <pc:docMk/>
            <pc:sldMk cId="3617964995" sldId="339"/>
            <ac:cxnSpMk id="68" creationId="{2ABF3E96-2937-41A4-926A-A58ABE382F9C}"/>
          </ac:cxnSpMkLst>
        </pc:cxnChg>
        <pc:cxnChg chg="mod">
          <ac:chgData name="YUAN Huaxing" userId="680cda70-8f8f-41b8-bd50-03497d97776e" providerId="ADAL" clId="{A2A0405A-6B1F-4AFE-ADF4-06FBC564D530}" dt="2022-12-01T14:58:25.967" v="17218"/>
          <ac:cxnSpMkLst>
            <pc:docMk/>
            <pc:sldMk cId="3617964995" sldId="339"/>
            <ac:cxnSpMk id="72" creationId="{7009B0D8-B28E-4FEA-B138-915B74D36EC0}"/>
          </ac:cxnSpMkLst>
        </pc:cxnChg>
        <pc:cxnChg chg="mod">
          <ac:chgData name="YUAN Huaxing" userId="680cda70-8f8f-41b8-bd50-03497d97776e" providerId="ADAL" clId="{A2A0405A-6B1F-4AFE-ADF4-06FBC564D530}" dt="2022-12-01T14:58:25.967" v="17218"/>
          <ac:cxnSpMkLst>
            <pc:docMk/>
            <pc:sldMk cId="3617964995" sldId="339"/>
            <ac:cxnSpMk id="73" creationId="{1F28DE32-03D6-45A7-ABDF-9B6DFD4680C1}"/>
          </ac:cxnSpMkLst>
        </pc:cxnChg>
        <pc:cxnChg chg="mod">
          <ac:chgData name="YUAN Huaxing" userId="680cda70-8f8f-41b8-bd50-03497d97776e" providerId="ADAL" clId="{A2A0405A-6B1F-4AFE-ADF4-06FBC564D530}" dt="2022-12-01T14:58:25.967" v="17218"/>
          <ac:cxnSpMkLst>
            <pc:docMk/>
            <pc:sldMk cId="3617964995" sldId="339"/>
            <ac:cxnSpMk id="75" creationId="{4ABD41E9-0CF2-44D9-9637-3056E2665E66}"/>
          </ac:cxnSpMkLst>
        </pc:cxnChg>
        <pc:cxnChg chg="mod">
          <ac:chgData name="YUAN Huaxing" userId="680cda70-8f8f-41b8-bd50-03497d97776e" providerId="ADAL" clId="{A2A0405A-6B1F-4AFE-ADF4-06FBC564D530}" dt="2022-12-01T14:58:25.967" v="17218"/>
          <ac:cxnSpMkLst>
            <pc:docMk/>
            <pc:sldMk cId="3617964995" sldId="339"/>
            <ac:cxnSpMk id="76" creationId="{7D97AB2A-A719-46C2-A3D6-144DC3C68328}"/>
          </ac:cxnSpMkLst>
        </pc:cxnChg>
        <pc:cxnChg chg="mod">
          <ac:chgData name="YUAN Huaxing" userId="680cda70-8f8f-41b8-bd50-03497d97776e" providerId="ADAL" clId="{A2A0405A-6B1F-4AFE-ADF4-06FBC564D530}" dt="2022-12-01T14:58:25.967" v="17218"/>
          <ac:cxnSpMkLst>
            <pc:docMk/>
            <pc:sldMk cId="3617964995" sldId="339"/>
            <ac:cxnSpMk id="77" creationId="{4EA2B2E8-D347-4F1A-982E-2FFB603F08F1}"/>
          </ac:cxnSpMkLst>
        </pc:cxnChg>
        <pc:cxnChg chg="mod">
          <ac:chgData name="YUAN Huaxing" userId="680cda70-8f8f-41b8-bd50-03497d97776e" providerId="ADAL" clId="{A2A0405A-6B1F-4AFE-ADF4-06FBC564D530}" dt="2022-12-01T14:58:25.967" v="17218"/>
          <ac:cxnSpMkLst>
            <pc:docMk/>
            <pc:sldMk cId="3617964995" sldId="339"/>
            <ac:cxnSpMk id="78" creationId="{9A81F937-F7C9-4C97-A2EC-222C0DC7DC3F}"/>
          </ac:cxnSpMkLst>
        </pc:cxnChg>
        <pc:cxnChg chg="mod">
          <ac:chgData name="YUAN Huaxing" userId="680cda70-8f8f-41b8-bd50-03497d97776e" providerId="ADAL" clId="{A2A0405A-6B1F-4AFE-ADF4-06FBC564D530}" dt="2022-12-01T14:58:25.967" v="17218"/>
          <ac:cxnSpMkLst>
            <pc:docMk/>
            <pc:sldMk cId="3617964995" sldId="339"/>
            <ac:cxnSpMk id="79" creationId="{05B2E51E-F63B-45C6-B019-E86ABDC26EBB}"/>
          </ac:cxnSpMkLst>
        </pc:cxnChg>
        <pc:cxnChg chg="mod">
          <ac:chgData name="YUAN Huaxing" userId="680cda70-8f8f-41b8-bd50-03497d97776e" providerId="ADAL" clId="{A2A0405A-6B1F-4AFE-ADF4-06FBC564D530}" dt="2022-12-01T14:58:25.967" v="17218"/>
          <ac:cxnSpMkLst>
            <pc:docMk/>
            <pc:sldMk cId="3617964995" sldId="339"/>
            <ac:cxnSpMk id="80" creationId="{C78042E9-DC2B-4BF4-AD50-574D530D1C78}"/>
          </ac:cxnSpMkLst>
        </pc:cxnChg>
        <pc:cxnChg chg="mod">
          <ac:chgData name="YUAN Huaxing" userId="680cda70-8f8f-41b8-bd50-03497d97776e" providerId="ADAL" clId="{A2A0405A-6B1F-4AFE-ADF4-06FBC564D530}" dt="2022-12-01T14:58:25.967" v="17218"/>
          <ac:cxnSpMkLst>
            <pc:docMk/>
            <pc:sldMk cId="3617964995" sldId="339"/>
            <ac:cxnSpMk id="81" creationId="{36F32CAE-8994-49BD-BBB5-AEB6F5CAF101}"/>
          </ac:cxnSpMkLst>
        </pc:cxnChg>
        <pc:cxnChg chg="mod">
          <ac:chgData name="YUAN Huaxing" userId="680cda70-8f8f-41b8-bd50-03497d97776e" providerId="ADAL" clId="{A2A0405A-6B1F-4AFE-ADF4-06FBC564D530}" dt="2022-12-01T14:58:25.967" v="17218"/>
          <ac:cxnSpMkLst>
            <pc:docMk/>
            <pc:sldMk cId="3617964995" sldId="339"/>
            <ac:cxnSpMk id="82" creationId="{DC5E1180-74C5-48F3-A45F-8D9600460C56}"/>
          </ac:cxnSpMkLst>
        </pc:cxnChg>
        <pc:cxnChg chg="mod">
          <ac:chgData name="YUAN Huaxing" userId="680cda70-8f8f-41b8-bd50-03497d97776e" providerId="ADAL" clId="{A2A0405A-6B1F-4AFE-ADF4-06FBC564D530}" dt="2022-12-01T14:58:25.967" v="17218"/>
          <ac:cxnSpMkLst>
            <pc:docMk/>
            <pc:sldMk cId="3617964995" sldId="339"/>
            <ac:cxnSpMk id="83" creationId="{B71FC168-BCF6-4C86-8A9F-A0670C4A8D14}"/>
          </ac:cxnSpMkLst>
        </pc:cxnChg>
        <pc:cxnChg chg="mod">
          <ac:chgData name="YUAN Huaxing" userId="680cda70-8f8f-41b8-bd50-03497d97776e" providerId="ADAL" clId="{A2A0405A-6B1F-4AFE-ADF4-06FBC564D530}" dt="2022-12-01T14:58:25.967" v="17218"/>
          <ac:cxnSpMkLst>
            <pc:docMk/>
            <pc:sldMk cId="3617964995" sldId="339"/>
            <ac:cxnSpMk id="84" creationId="{D8EE6FE4-8ADD-413D-985B-AF58BFB85592}"/>
          </ac:cxnSpMkLst>
        </pc:cxnChg>
        <pc:cxnChg chg="mod">
          <ac:chgData name="YUAN Huaxing" userId="680cda70-8f8f-41b8-bd50-03497d97776e" providerId="ADAL" clId="{A2A0405A-6B1F-4AFE-ADF4-06FBC564D530}" dt="2022-12-01T14:58:25.317" v="17217" actId="478"/>
          <ac:cxnSpMkLst>
            <pc:docMk/>
            <pc:sldMk cId="3617964995" sldId="339"/>
            <ac:cxnSpMk id="106" creationId="{DD8AE804-598D-4776-8DD6-638664327094}"/>
          </ac:cxnSpMkLst>
        </pc:cxnChg>
        <pc:cxnChg chg="mod">
          <ac:chgData name="YUAN Huaxing" userId="680cda70-8f8f-41b8-bd50-03497d97776e" providerId="ADAL" clId="{A2A0405A-6B1F-4AFE-ADF4-06FBC564D530}" dt="2022-12-01T14:58:25.317" v="17217" actId="478"/>
          <ac:cxnSpMkLst>
            <pc:docMk/>
            <pc:sldMk cId="3617964995" sldId="339"/>
            <ac:cxnSpMk id="108" creationId="{62AFCEFC-1AF9-4804-A5EA-7486CDEE1B62}"/>
          </ac:cxnSpMkLst>
        </pc:cxnChg>
        <pc:cxnChg chg="mod">
          <ac:chgData name="YUAN Huaxing" userId="680cda70-8f8f-41b8-bd50-03497d97776e" providerId="ADAL" clId="{A2A0405A-6B1F-4AFE-ADF4-06FBC564D530}" dt="2022-12-01T14:58:25.317" v="17217" actId="478"/>
          <ac:cxnSpMkLst>
            <pc:docMk/>
            <pc:sldMk cId="3617964995" sldId="339"/>
            <ac:cxnSpMk id="114" creationId="{13DEB2EB-4888-4055-909D-F97B6AFA66CA}"/>
          </ac:cxnSpMkLst>
        </pc:cxnChg>
        <pc:cxnChg chg="mod">
          <ac:chgData name="YUAN Huaxing" userId="680cda70-8f8f-41b8-bd50-03497d97776e" providerId="ADAL" clId="{A2A0405A-6B1F-4AFE-ADF4-06FBC564D530}" dt="2022-12-01T14:58:25.317" v="17217" actId="478"/>
          <ac:cxnSpMkLst>
            <pc:docMk/>
            <pc:sldMk cId="3617964995" sldId="339"/>
            <ac:cxnSpMk id="116" creationId="{E767C425-5581-4EA0-A018-821D59412FAB}"/>
          </ac:cxnSpMkLst>
        </pc:cxnChg>
        <pc:cxnChg chg="mod">
          <ac:chgData name="YUAN Huaxing" userId="680cda70-8f8f-41b8-bd50-03497d97776e" providerId="ADAL" clId="{A2A0405A-6B1F-4AFE-ADF4-06FBC564D530}" dt="2022-12-01T14:58:25.317" v="17217" actId="478"/>
          <ac:cxnSpMkLst>
            <pc:docMk/>
            <pc:sldMk cId="3617964995" sldId="339"/>
            <ac:cxnSpMk id="118" creationId="{5F7641DC-9B41-4574-910D-89DA6968868B}"/>
          </ac:cxnSpMkLst>
        </pc:cxnChg>
        <pc:cxnChg chg="mod">
          <ac:chgData name="YUAN Huaxing" userId="680cda70-8f8f-41b8-bd50-03497d97776e" providerId="ADAL" clId="{A2A0405A-6B1F-4AFE-ADF4-06FBC564D530}" dt="2022-12-01T14:58:25.317" v="17217" actId="478"/>
          <ac:cxnSpMkLst>
            <pc:docMk/>
            <pc:sldMk cId="3617964995" sldId="339"/>
            <ac:cxnSpMk id="120" creationId="{46D03438-D870-4E13-BC33-21E4E50B0B31}"/>
          </ac:cxnSpMkLst>
        </pc:cxnChg>
        <pc:cxnChg chg="mod">
          <ac:chgData name="YUAN Huaxing" userId="680cda70-8f8f-41b8-bd50-03497d97776e" providerId="ADAL" clId="{A2A0405A-6B1F-4AFE-ADF4-06FBC564D530}" dt="2022-12-01T14:58:25.317" v="17217" actId="478"/>
          <ac:cxnSpMkLst>
            <pc:docMk/>
            <pc:sldMk cId="3617964995" sldId="339"/>
            <ac:cxnSpMk id="122" creationId="{6CAB8CAE-5BF5-409F-9200-CE4C0E8D8942}"/>
          </ac:cxnSpMkLst>
        </pc:cxnChg>
        <pc:cxnChg chg="mod">
          <ac:chgData name="YUAN Huaxing" userId="680cda70-8f8f-41b8-bd50-03497d97776e" providerId="ADAL" clId="{A2A0405A-6B1F-4AFE-ADF4-06FBC564D530}" dt="2022-12-01T14:58:25.317" v="17217" actId="478"/>
          <ac:cxnSpMkLst>
            <pc:docMk/>
            <pc:sldMk cId="3617964995" sldId="339"/>
            <ac:cxnSpMk id="124" creationId="{62757FF8-F34E-4F47-9A0B-A55C9A485EEC}"/>
          </ac:cxnSpMkLst>
        </pc:cxnChg>
        <pc:cxnChg chg="mod">
          <ac:chgData name="YUAN Huaxing" userId="680cda70-8f8f-41b8-bd50-03497d97776e" providerId="ADAL" clId="{A2A0405A-6B1F-4AFE-ADF4-06FBC564D530}" dt="2022-12-01T14:58:25.317" v="17217" actId="478"/>
          <ac:cxnSpMkLst>
            <pc:docMk/>
            <pc:sldMk cId="3617964995" sldId="339"/>
            <ac:cxnSpMk id="126" creationId="{AD1901F0-9744-4C89-A9A5-A8B41C2F5BCC}"/>
          </ac:cxnSpMkLst>
        </pc:cxnChg>
        <pc:cxnChg chg="del mod topLvl">
          <ac:chgData name="YUAN Huaxing" userId="680cda70-8f8f-41b8-bd50-03497d97776e" providerId="ADAL" clId="{A2A0405A-6B1F-4AFE-ADF4-06FBC564D530}" dt="2022-12-01T14:59:50.777" v="17250" actId="478"/>
          <ac:cxnSpMkLst>
            <pc:docMk/>
            <pc:sldMk cId="3617964995" sldId="339"/>
            <ac:cxnSpMk id="133" creationId="{E50B3B40-F94F-4F00-8055-615F0C0004B5}"/>
          </ac:cxnSpMkLst>
        </pc:cxnChg>
      </pc:sldChg>
      <pc:sldChg chg="del">
        <pc:chgData name="YUAN Huaxing" userId="680cda70-8f8f-41b8-bd50-03497d97776e" providerId="ADAL" clId="{A2A0405A-6B1F-4AFE-ADF4-06FBC564D530}" dt="2022-11-25T16:16:12.829" v="9371" actId="47"/>
        <pc:sldMkLst>
          <pc:docMk/>
          <pc:sldMk cId="3635386817" sldId="340"/>
        </pc:sldMkLst>
      </pc:sldChg>
      <pc:sldChg chg="del">
        <pc:chgData name="YUAN Huaxing" userId="680cda70-8f8f-41b8-bd50-03497d97776e" providerId="ADAL" clId="{A2A0405A-6B1F-4AFE-ADF4-06FBC564D530}" dt="2022-11-25T16:16:08.220" v="9369" actId="47"/>
        <pc:sldMkLst>
          <pc:docMk/>
          <pc:sldMk cId="3587699337" sldId="341"/>
        </pc:sldMkLst>
      </pc:sldChg>
      <pc:sldChg chg="del">
        <pc:chgData name="YUAN Huaxing" userId="680cda70-8f8f-41b8-bd50-03497d97776e" providerId="ADAL" clId="{A2A0405A-6B1F-4AFE-ADF4-06FBC564D530}" dt="2022-11-25T16:16:11.147" v="9370" actId="47"/>
        <pc:sldMkLst>
          <pc:docMk/>
          <pc:sldMk cId="3814663131" sldId="342"/>
        </pc:sldMkLst>
      </pc:sldChg>
      <pc:sldChg chg="del">
        <pc:chgData name="YUAN Huaxing" userId="680cda70-8f8f-41b8-bd50-03497d97776e" providerId="ADAL" clId="{A2A0405A-6B1F-4AFE-ADF4-06FBC564D530}" dt="2022-11-25T16:16:13.647" v="9372" actId="47"/>
        <pc:sldMkLst>
          <pc:docMk/>
          <pc:sldMk cId="2320646106" sldId="343"/>
        </pc:sldMkLst>
      </pc:sldChg>
      <pc:sldChg chg="del">
        <pc:chgData name="YUAN Huaxing" userId="680cda70-8f8f-41b8-bd50-03497d97776e" providerId="ADAL" clId="{A2A0405A-6B1F-4AFE-ADF4-06FBC564D530}" dt="2022-11-25T16:16:14.744" v="9373" actId="47"/>
        <pc:sldMkLst>
          <pc:docMk/>
          <pc:sldMk cId="772209054" sldId="344"/>
        </pc:sldMkLst>
      </pc:sldChg>
      <pc:sldChg chg="del">
        <pc:chgData name="YUAN Huaxing" userId="680cda70-8f8f-41b8-bd50-03497d97776e" providerId="ADAL" clId="{A2A0405A-6B1F-4AFE-ADF4-06FBC564D530}" dt="2022-11-25T16:16:16.683" v="9374" actId="47"/>
        <pc:sldMkLst>
          <pc:docMk/>
          <pc:sldMk cId="667160193" sldId="345"/>
        </pc:sldMkLst>
      </pc:sldChg>
      <pc:sldChg chg="del">
        <pc:chgData name="YUAN Huaxing" userId="680cda70-8f8f-41b8-bd50-03497d97776e" providerId="ADAL" clId="{A2A0405A-6B1F-4AFE-ADF4-06FBC564D530}" dt="2022-11-25T16:15:15.237" v="9362" actId="47"/>
        <pc:sldMkLst>
          <pc:docMk/>
          <pc:sldMk cId="3476196772" sldId="346"/>
        </pc:sldMkLst>
      </pc:sldChg>
      <pc:sldChg chg="del">
        <pc:chgData name="YUAN Huaxing" userId="680cda70-8f8f-41b8-bd50-03497d97776e" providerId="ADAL" clId="{A2A0405A-6B1F-4AFE-ADF4-06FBC564D530}" dt="2022-11-25T16:15:20.424" v="9363" actId="47"/>
        <pc:sldMkLst>
          <pc:docMk/>
          <pc:sldMk cId="441184181" sldId="347"/>
        </pc:sldMkLst>
      </pc:sldChg>
      <pc:sldChg chg="delSp modSp add mod setBg modAnim">
        <pc:chgData name="YUAN Huaxing" userId="680cda70-8f8f-41b8-bd50-03497d97776e" providerId="ADAL" clId="{A2A0405A-6B1F-4AFE-ADF4-06FBC564D530}" dt="2022-11-29T13:56:15.059" v="13863"/>
        <pc:sldMkLst>
          <pc:docMk/>
          <pc:sldMk cId="1006277900" sldId="349"/>
        </pc:sldMkLst>
        <pc:spChg chg="mod">
          <ac:chgData name="YUAN Huaxing" userId="680cda70-8f8f-41b8-bd50-03497d97776e" providerId="ADAL" clId="{A2A0405A-6B1F-4AFE-ADF4-06FBC564D530}" dt="2022-11-29T11:23:06.135" v="13753" actId="6549"/>
          <ac:spMkLst>
            <pc:docMk/>
            <pc:sldMk cId="1006277900" sldId="349"/>
            <ac:spMk id="2" creationId="{38EF9BD9-FC14-4C7B-9E22-100222FE4471}"/>
          </ac:spMkLst>
        </pc:spChg>
        <pc:spChg chg="mod">
          <ac:chgData name="YUAN Huaxing" userId="680cda70-8f8f-41b8-bd50-03497d97776e" providerId="ADAL" clId="{A2A0405A-6B1F-4AFE-ADF4-06FBC564D530}" dt="2022-11-29T11:23:04.369" v="13752" actId="20577"/>
          <ac:spMkLst>
            <pc:docMk/>
            <pc:sldMk cId="1006277900" sldId="349"/>
            <ac:spMk id="3" creationId="{BA15111C-5D06-4ECF-8B1B-87483213721B}"/>
          </ac:spMkLst>
        </pc:spChg>
        <pc:spChg chg="del">
          <ac:chgData name="YUAN Huaxing" userId="680cda70-8f8f-41b8-bd50-03497d97776e" providerId="ADAL" clId="{A2A0405A-6B1F-4AFE-ADF4-06FBC564D530}" dt="2022-11-29T11:26:39.069" v="13809" actId="478"/>
          <ac:spMkLst>
            <pc:docMk/>
            <pc:sldMk cId="1006277900" sldId="349"/>
            <ac:spMk id="23" creationId="{CE32ABFD-66BA-4B0A-BD41-C4654AD73A49}"/>
          </ac:spMkLst>
        </pc:spChg>
        <pc:graphicFrameChg chg="mod">
          <ac:chgData name="YUAN Huaxing" userId="680cda70-8f8f-41b8-bd50-03497d97776e" providerId="ADAL" clId="{A2A0405A-6B1F-4AFE-ADF4-06FBC564D530}" dt="2022-11-29T11:26:47.346" v="13811" actId="14100"/>
          <ac:graphicFrameMkLst>
            <pc:docMk/>
            <pc:sldMk cId="1006277900" sldId="349"/>
            <ac:graphicFrameMk id="15" creationId="{E2FF1FAC-D9A5-45CB-8670-7A6C554176B1}"/>
          </ac:graphicFrameMkLst>
        </pc:graphicFrameChg>
      </pc:sldChg>
      <pc:sldChg chg="addSp modSp del mod ord setBg">
        <pc:chgData name="YUAN Huaxing" userId="680cda70-8f8f-41b8-bd50-03497d97776e" providerId="ADAL" clId="{A2A0405A-6B1F-4AFE-ADF4-06FBC564D530}" dt="2022-11-29T11:17:10.619" v="13418" actId="2696"/>
        <pc:sldMkLst>
          <pc:docMk/>
          <pc:sldMk cId="1920055946" sldId="349"/>
        </pc:sldMkLst>
        <pc:spChg chg="mod">
          <ac:chgData name="YUAN Huaxing" userId="680cda70-8f8f-41b8-bd50-03497d97776e" providerId="ADAL" clId="{A2A0405A-6B1F-4AFE-ADF4-06FBC564D530}" dt="2022-11-25T16:24:50.952" v="10390"/>
          <ac:spMkLst>
            <pc:docMk/>
            <pc:sldMk cId="1920055946" sldId="349"/>
            <ac:spMk id="2" creationId="{38EF9BD9-FC14-4C7B-9E22-100222FE4471}"/>
          </ac:spMkLst>
        </pc:spChg>
        <pc:spChg chg="mod">
          <ac:chgData name="YUAN Huaxing" userId="680cda70-8f8f-41b8-bd50-03497d97776e" providerId="ADAL" clId="{A2A0405A-6B1F-4AFE-ADF4-06FBC564D530}" dt="2022-11-25T15:39:53.803" v="7402" actId="20577"/>
          <ac:spMkLst>
            <pc:docMk/>
            <pc:sldMk cId="1920055946" sldId="349"/>
            <ac:spMk id="3" creationId="{BA15111C-5D06-4ECF-8B1B-87483213721B}"/>
          </ac:spMkLst>
        </pc:spChg>
        <pc:spChg chg="add mod">
          <ac:chgData name="YUAN Huaxing" userId="680cda70-8f8f-41b8-bd50-03497d97776e" providerId="ADAL" clId="{A2A0405A-6B1F-4AFE-ADF4-06FBC564D530}" dt="2022-11-25T15:40:25.521" v="7450"/>
          <ac:spMkLst>
            <pc:docMk/>
            <pc:sldMk cId="1920055946" sldId="349"/>
            <ac:spMk id="26" creationId="{60C64E56-01FC-4A16-B0A5-FFB0BA8498FE}"/>
          </ac:spMkLst>
        </pc:spChg>
      </pc:sldChg>
      <pc:sldChg chg="del">
        <pc:chgData name="YUAN Huaxing" userId="680cda70-8f8f-41b8-bd50-03497d97776e" providerId="ADAL" clId="{A2A0405A-6B1F-4AFE-ADF4-06FBC564D530}" dt="2022-11-25T16:15:38.700" v="9366" actId="47"/>
        <pc:sldMkLst>
          <pc:docMk/>
          <pc:sldMk cId="2015580808" sldId="350"/>
        </pc:sldMkLst>
      </pc:sldChg>
      <pc:sldChg chg="del">
        <pc:chgData name="YUAN Huaxing" userId="680cda70-8f8f-41b8-bd50-03497d97776e" providerId="ADAL" clId="{A2A0405A-6B1F-4AFE-ADF4-06FBC564D530}" dt="2022-11-25T16:15:38.700" v="9366" actId="47"/>
        <pc:sldMkLst>
          <pc:docMk/>
          <pc:sldMk cId="1872209691" sldId="351"/>
        </pc:sldMkLst>
      </pc:sldChg>
      <pc:sldChg chg="del">
        <pc:chgData name="YUAN Huaxing" userId="680cda70-8f8f-41b8-bd50-03497d97776e" providerId="ADAL" clId="{A2A0405A-6B1F-4AFE-ADF4-06FBC564D530}" dt="2022-11-25T16:16:04.824" v="9368" actId="47"/>
        <pc:sldMkLst>
          <pc:docMk/>
          <pc:sldMk cId="1383719717" sldId="352"/>
        </pc:sldMkLst>
      </pc:sldChg>
      <pc:sldChg chg="modSp del mod">
        <pc:chgData name="YUAN Huaxing" userId="680cda70-8f8f-41b8-bd50-03497d97776e" providerId="ADAL" clId="{A2A0405A-6B1F-4AFE-ADF4-06FBC564D530}" dt="2022-11-25T16:15:53.439" v="9367" actId="47"/>
        <pc:sldMkLst>
          <pc:docMk/>
          <pc:sldMk cId="3429729717" sldId="353"/>
        </pc:sldMkLst>
        <pc:graphicFrameChg chg="mod">
          <ac:chgData name="YUAN Huaxing" userId="680cda70-8f8f-41b8-bd50-03497d97776e" providerId="ADAL" clId="{A2A0405A-6B1F-4AFE-ADF4-06FBC564D530}" dt="2022-11-25T15:17:30.018" v="6207" actId="1076"/>
          <ac:graphicFrameMkLst>
            <pc:docMk/>
            <pc:sldMk cId="3429729717" sldId="353"/>
            <ac:graphicFrameMk id="8" creationId="{6ECD5137-D75A-493C-A13F-AB31EFF76344}"/>
          </ac:graphicFrameMkLst>
        </pc:graphicFrameChg>
      </pc:sldChg>
      <pc:sldChg chg="del">
        <pc:chgData name="YUAN Huaxing" userId="680cda70-8f8f-41b8-bd50-03497d97776e" providerId="ADAL" clId="{A2A0405A-6B1F-4AFE-ADF4-06FBC564D530}" dt="2022-11-25T15:16:48.916" v="6202" actId="47"/>
        <pc:sldMkLst>
          <pc:docMk/>
          <pc:sldMk cId="772960170" sldId="380"/>
        </pc:sldMkLst>
      </pc:sldChg>
      <pc:sldChg chg="addSp delSp modSp mod ord">
        <pc:chgData name="YUAN Huaxing" userId="680cda70-8f8f-41b8-bd50-03497d97776e" providerId="ADAL" clId="{A2A0405A-6B1F-4AFE-ADF4-06FBC564D530}" dt="2022-12-01T15:57:31.927" v="17731" actId="20577"/>
        <pc:sldMkLst>
          <pc:docMk/>
          <pc:sldMk cId="1665224666" sldId="381"/>
        </pc:sldMkLst>
        <pc:spChg chg="mod">
          <ac:chgData name="YUAN Huaxing" userId="680cda70-8f8f-41b8-bd50-03497d97776e" providerId="ADAL" clId="{A2A0405A-6B1F-4AFE-ADF4-06FBC564D530}" dt="2022-12-01T15:57:31.927" v="17731" actId="20577"/>
          <ac:spMkLst>
            <pc:docMk/>
            <pc:sldMk cId="1665224666" sldId="381"/>
            <ac:spMk id="2" creationId="{6B95D8C5-DA37-4B95-BFB4-1DFB075C6F90}"/>
          </ac:spMkLst>
        </pc:spChg>
        <pc:spChg chg="mod">
          <ac:chgData name="YUAN Huaxing" userId="680cda70-8f8f-41b8-bd50-03497d97776e" providerId="ADAL" clId="{A2A0405A-6B1F-4AFE-ADF4-06FBC564D530}" dt="2022-11-25T15:51:27.748" v="8044" actId="1076"/>
          <ac:spMkLst>
            <pc:docMk/>
            <pc:sldMk cId="1665224666" sldId="381"/>
            <ac:spMk id="3" creationId="{D9A438D6-3454-4B6D-96D1-3A1B9B491E1D}"/>
          </ac:spMkLst>
        </pc:spChg>
        <pc:spChg chg="add mod">
          <ac:chgData name="YUAN Huaxing" userId="680cda70-8f8f-41b8-bd50-03497d97776e" providerId="ADAL" clId="{A2A0405A-6B1F-4AFE-ADF4-06FBC564D530}" dt="2022-11-29T10:46:29.403" v="11993" actId="1038"/>
          <ac:spMkLst>
            <pc:docMk/>
            <pc:sldMk cId="1665224666" sldId="381"/>
            <ac:spMk id="4" creationId="{CCD3E6C6-E37C-4266-B659-81DB06EDB636}"/>
          </ac:spMkLst>
        </pc:spChg>
        <pc:spChg chg="mod">
          <ac:chgData name="YUAN Huaxing" userId="680cda70-8f8f-41b8-bd50-03497d97776e" providerId="ADAL" clId="{A2A0405A-6B1F-4AFE-ADF4-06FBC564D530}" dt="2022-11-28T13:20:27.170" v="10429" actId="17032"/>
          <ac:spMkLst>
            <pc:docMk/>
            <pc:sldMk cId="1665224666" sldId="381"/>
            <ac:spMk id="8" creationId="{A4DF45AB-333E-4841-BF9C-3D9361FBEA4B}"/>
          </ac:spMkLst>
        </pc:spChg>
        <pc:spChg chg="mod">
          <ac:chgData name="YUAN Huaxing" userId="680cda70-8f8f-41b8-bd50-03497d97776e" providerId="ADAL" clId="{A2A0405A-6B1F-4AFE-ADF4-06FBC564D530}" dt="2022-11-29T10:46:34.219" v="11996" actId="1076"/>
          <ac:spMkLst>
            <pc:docMk/>
            <pc:sldMk cId="1665224666" sldId="381"/>
            <ac:spMk id="9" creationId="{83454BD3-ADA3-4D34-9D96-F620AF03AF08}"/>
          </ac:spMkLst>
        </pc:spChg>
        <pc:spChg chg="mod">
          <ac:chgData name="YUAN Huaxing" userId="680cda70-8f8f-41b8-bd50-03497d97776e" providerId="ADAL" clId="{A2A0405A-6B1F-4AFE-ADF4-06FBC564D530}" dt="2022-11-28T13:20:31.900" v="10430" actId="17032"/>
          <ac:spMkLst>
            <pc:docMk/>
            <pc:sldMk cId="1665224666" sldId="381"/>
            <ac:spMk id="10" creationId="{B2753035-1BD0-4B9F-AB74-0B834D859C2A}"/>
          </ac:spMkLst>
        </pc:spChg>
        <pc:spChg chg="add mod">
          <ac:chgData name="YUAN Huaxing" userId="680cda70-8f8f-41b8-bd50-03497d97776e" providerId="ADAL" clId="{A2A0405A-6B1F-4AFE-ADF4-06FBC564D530}" dt="2022-12-01T15:13:40.574" v="17591" actId="20577"/>
          <ac:spMkLst>
            <pc:docMk/>
            <pc:sldMk cId="1665224666" sldId="381"/>
            <ac:spMk id="11" creationId="{791D897F-A05A-485F-99C1-28FFF4245536}"/>
          </ac:spMkLst>
        </pc:spChg>
        <pc:spChg chg="add mod">
          <ac:chgData name="YUAN Huaxing" userId="680cda70-8f8f-41b8-bd50-03497d97776e" providerId="ADAL" clId="{A2A0405A-6B1F-4AFE-ADF4-06FBC564D530}" dt="2022-11-25T15:55:49.759" v="8153" actId="14100"/>
          <ac:spMkLst>
            <pc:docMk/>
            <pc:sldMk cId="1665224666" sldId="381"/>
            <ac:spMk id="12" creationId="{AD7078E1-81E4-4690-9658-BA9290691768}"/>
          </ac:spMkLst>
        </pc:spChg>
        <pc:spChg chg="del mod topLvl">
          <ac:chgData name="YUAN Huaxing" userId="680cda70-8f8f-41b8-bd50-03497d97776e" providerId="ADAL" clId="{A2A0405A-6B1F-4AFE-ADF4-06FBC564D530}" dt="2022-11-25T15:30:33.714" v="7181" actId="478"/>
          <ac:spMkLst>
            <pc:docMk/>
            <pc:sldMk cId="1665224666" sldId="381"/>
            <ac:spMk id="16" creationId="{9617184C-957D-4682-8FA2-6B80FBC784A7}"/>
          </ac:spMkLst>
        </pc:spChg>
        <pc:spChg chg="add mod">
          <ac:chgData name="YUAN Huaxing" userId="680cda70-8f8f-41b8-bd50-03497d97776e" providerId="ADAL" clId="{A2A0405A-6B1F-4AFE-ADF4-06FBC564D530}" dt="2022-11-25T15:56:06.815" v="8158" actId="113"/>
          <ac:spMkLst>
            <pc:docMk/>
            <pc:sldMk cId="1665224666" sldId="381"/>
            <ac:spMk id="18" creationId="{DA47E8A4-1B98-4483-A5A3-F15846BB6515}"/>
          </ac:spMkLst>
        </pc:spChg>
        <pc:spChg chg="add mod">
          <ac:chgData name="YUAN Huaxing" userId="680cda70-8f8f-41b8-bd50-03497d97776e" providerId="ADAL" clId="{A2A0405A-6B1F-4AFE-ADF4-06FBC564D530}" dt="2022-11-25T15:56:15.925" v="8162" actId="114"/>
          <ac:spMkLst>
            <pc:docMk/>
            <pc:sldMk cId="1665224666" sldId="381"/>
            <ac:spMk id="20" creationId="{5C2C6E15-0851-4605-8ECC-1BBA68BE898F}"/>
          </ac:spMkLst>
        </pc:spChg>
        <pc:spChg chg="add mod">
          <ac:chgData name="YUAN Huaxing" userId="680cda70-8f8f-41b8-bd50-03497d97776e" providerId="ADAL" clId="{A2A0405A-6B1F-4AFE-ADF4-06FBC564D530}" dt="2022-11-29T10:46:38.680" v="11997" actId="1076"/>
          <ac:spMkLst>
            <pc:docMk/>
            <pc:sldMk cId="1665224666" sldId="381"/>
            <ac:spMk id="21" creationId="{1C4750B5-EB83-4030-96FB-18253EC0D31B}"/>
          </ac:spMkLst>
        </pc:spChg>
        <pc:spChg chg="add del mod">
          <ac:chgData name="YUAN Huaxing" userId="680cda70-8f8f-41b8-bd50-03497d97776e" providerId="ADAL" clId="{A2A0405A-6B1F-4AFE-ADF4-06FBC564D530}" dt="2022-11-25T15:51:05.265" v="8040" actId="478"/>
          <ac:spMkLst>
            <pc:docMk/>
            <pc:sldMk cId="1665224666" sldId="381"/>
            <ac:spMk id="21" creationId="{AF0AF2A0-A628-44A9-907F-FCCEFC104331}"/>
          </ac:spMkLst>
        </pc:spChg>
        <pc:spChg chg="add mod">
          <ac:chgData name="YUAN Huaxing" userId="680cda70-8f8f-41b8-bd50-03497d97776e" providerId="ADAL" clId="{A2A0405A-6B1F-4AFE-ADF4-06FBC564D530}" dt="2022-11-25T15:51:30.661" v="8045" actId="1076"/>
          <ac:spMkLst>
            <pc:docMk/>
            <pc:sldMk cId="1665224666" sldId="381"/>
            <ac:spMk id="22" creationId="{8F788F43-9201-4758-AD71-23022F578628}"/>
          </ac:spMkLst>
        </pc:spChg>
        <pc:spChg chg="add mod">
          <ac:chgData name="YUAN Huaxing" userId="680cda70-8f8f-41b8-bd50-03497d97776e" providerId="ADAL" clId="{A2A0405A-6B1F-4AFE-ADF4-06FBC564D530}" dt="2022-11-25T15:51:23.592" v="8042" actId="14100"/>
          <ac:spMkLst>
            <pc:docMk/>
            <pc:sldMk cId="1665224666" sldId="381"/>
            <ac:spMk id="23" creationId="{880A2244-C853-4C13-8031-79CCEB796EA0}"/>
          </ac:spMkLst>
        </pc:spChg>
        <pc:spChg chg="add mod">
          <ac:chgData name="YUAN Huaxing" userId="680cda70-8f8f-41b8-bd50-03497d97776e" providerId="ADAL" clId="{A2A0405A-6B1F-4AFE-ADF4-06FBC564D530}" dt="2022-11-25T15:56:31.476" v="8165" actId="113"/>
          <ac:spMkLst>
            <pc:docMk/>
            <pc:sldMk cId="1665224666" sldId="381"/>
            <ac:spMk id="24" creationId="{F11907F3-A530-4BA0-8C3C-23E307CB9A1E}"/>
          </ac:spMkLst>
        </pc:spChg>
        <pc:spChg chg="add mod">
          <ac:chgData name="YUAN Huaxing" userId="680cda70-8f8f-41b8-bd50-03497d97776e" providerId="ADAL" clId="{A2A0405A-6B1F-4AFE-ADF4-06FBC564D530}" dt="2022-11-25T15:55:16.590" v="8150" actId="14100"/>
          <ac:spMkLst>
            <pc:docMk/>
            <pc:sldMk cId="1665224666" sldId="381"/>
            <ac:spMk id="25" creationId="{BE985666-F622-4F0C-A15F-F24097557B2C}"/>
          </ac:spMkLst>
        </pc:spChg>
        <pc:spChg chg="add mod">
          <ac:chgData name="YUAN Huaxing" userId="680cda70-8f8f-41b8-bd50-03497d97776e" providerId="ADAL" clId="{A2A0405A-6B1F-4AFE-ADF4-06FBC564D530}" dt="2022-11-25T15:55:16.590" v="8150" actId="14100"/>
          <ac:spMkLst>
            <pc:docMk/>
            <pc:sldMk cId="1665224666" sldId="381"/>
            <ac:spMk id="26" creationId="{7BC93735-EA87-4256-9E37-54D8D40887D9}"/>
          </ac:spMkLst>
        </pc:spChg>
        <pc:spChg chg="add mod">
          <ac:chgData name="YUAN Huaxing" userId="680cda70-8f8f-41b8-bd50-03497d97776e" providerId="ADAL" clId="{A2A0405A-6B1F-4AFE-ADF4-06FBC564D530}" dt="2022-11-29T10:46:53.450" v="11999" actId="1076"/>
          <ac:spMkLst>
            <pc:docMk/>
            <pc:sldMk cId="1665224666" sldId="381"/>
            <ac:spMk id="27" creationId="{3681169E-1309-4F9E-99F6-17F7DAAD7C71}"/>
          </ac:spMkLst>
        </pc:spChg>
        <pc:spChg chg="add mod">
          <ac:chgData name="YUAN Huaxing" userId="680cda70-8f8f-41b8-bd50-03497d97776e" providerId="ADAL" clId="{A2A0405A-6B1F-4AFE-ADF4-06FBC564D530}" dt="2022-11-25T15:55:22.806" v="8151" actId="1076"/>
          <ac:spMkLst>
            <pc:docMk/>
            <pc:sldMk cId="1665224666" sldId="381"/>
            <ac:spMk id="28" creationId="{4C402DF8-EE9B-4466-9817-5B8678BD9079}"/>
          </ac:spMkLst>
        </pc:spChg>
        <pc:spChg chg="add mod">
          <ac:chgData name="YUAN Huaxing" userId="680cda70-8f8f-41b8-bd50-03497d97776e" providerId="ADAL" clId="{A2A0405A-6B1F-4AFE-ADF4-06FBC564D530}" dt="2022-11-25T15:55:29.394" v="8152" actId="1076"/>
          <ac:spMkLst>
            <pc:docMk/>
            <pc:sldMk cId="1665224666" sldId="381"/>
            <ac:spMk id="29" creationId="{06C5735C-D692-4638-BFBB-65E384F2B4F3}"/>
          </ac:spMkLst>
        </pc:spChg>
        <pc:spChg chg="add mod">
          <ac:chgData name="YUAN Huaxing" userId="680cda70-8f8f-41b8-bd50-03497d97776e" providerId="ADAL" clId="{A2A0405A-6B1F-4AFE-ADF4-06FBC564D530}" dt="2022-11-29T10:47:04.490" v="12002" actId="14100"/>
          <ac:spMkLst>
            <pc:docMk/>
            <pc:sldMk cId="1665224666" sldId="381"/>
            <ac:spMk id="30" creationId="{07902C9A-A13F-48F6-A945-D827B44E77C6}"/>
          </ac:spMkLst>
        </pc:spChg>
        <pc:spChg chg="add mod">
          <ac:chgData name="YUAN Huaxing" userId="680cda70-8f8f-41b8-bd50-03497d97776e" providerId="ADAL" clId="{A2A0405A-6B1F-4AFE-ADF4-06FBC564D530}" dt="2022-11-29T10:48:13.943" v="12047" actId="1076"/>
          <ac:spMkLst>
            <pc:docMk/>
            <pc:sldMk cId="1665224666" sldId="381"/>
            <ac:spMk id="31" creationId="{263F4382-3896-4623-A58E-4780DA8E67C7}"/>
          </ac:spMkLst>
        </pc:spChg>
        <pc:grpChg chg="add del mod">
          <ac:chgData name="YUAN Huaxing" userId="680cda70-8f8f-41b8-bd50-03497d97776e" providerId="ADAL" clId="{A2A0405A-6B1F-4AFE-ADF4-06FBC564D530}" dt="2022-11-25T15:30:33.714" v="7181" actId="478"/>
          <ac:grpSpMkLst>
            <pc:docMk/>
            <pc:sldMk cId="1665224666" sldId="381"/>
            <ac:grpSpMk id="15" creationId="{EE975FA4-B812-4718-BA24-094C47B9C54D}"/>
          </ac:grpSpMkLst>
        </pc:grpChg>
        <pc:graphicFrameChg chg="mod">
          <ac:chgData name="YUAN Huaxing" userId="680cda70-8f8f-41b8-bd50-03497d97776e" providerId="ADAL" clId="{A2A0405A-6B1F-4AFE-ADF4-06FBC564D530}" dt="2022-11-29T13:57:46.495" v="13873" actId="1076"/>
          <ac:graphicFrameMkLst>
            <pc:docMk/>
            <pc:sldMk cId="1665224666" sldId="381"/>
            <ac:graphicFrameMk id="7" creationId="{BE40AA2D-BF18-4CD9-98F3-5202721055FA}"/>
          </ac:graphicFrameMkLst>
        </pc:graphicFrameChg>
        <pc:cxnChg chg="del mod topLvl">
          <ac:chgData name="YUAN Huaxing" userId="680cda70-8f8f-41b8-bd50-03497d97776e" providerId="ADAL" clId="{A2A0405A-6B1F-4AFE-ADF4-06FBC564D530}" dt="2022-11-25T15:30:34.823" v="7182" actId="478"/>
          <ac:cxnSpMkLst>
            <pc:docMk/>
            <pc:sldMk cId="1665224666" sldId="381"/>
            <ac:cxnSpMk id="17" creationId="{A78F00A6-8D93-4A4E-A3F7-5DC2DDBB2E37}"/>
          </ac:cxnSpMkLst>
        </pc:cxnChg>
        <pc:cxnChg chg="del mod">
          <ac:chgData name="YUAN Huaxing" userId="680cda70-8f8f-41b8-bd50-03497d97776e" providerId="ADAL" clId="{A2A0405A-6B1F-4AFE-ADF4-06FBC564D530}" dt="2022-11-25T09:10:54.836" v="1363" actId="478"/>
          <ac:cxnSpMkLst>
            <pc:docMk/>
            <pc:sldMk cId="1665224666" sldId="381"/>
            <ac:cxnSpMk id="19" creationId="{F64184DF-CAFB-471A-A596-9B523087D5E5}"/>
          </ac:cxnSpMkLst>
        </pc:cxnChg>
        <pc:cxnChg chg="del mod">
          <ac:chgData name="YUAN Huaxing" userId="680cda70-8f8f-41b8-bd50-03497d97776e" providerId="ADAL" clId="{A2A0405A-6B1F-4AFE-ADF4-06FBC564D530}" dt="2022-11-25T09:10:43.827" v="1359" actId="478"/>
          <ac:cxnSpMkLst>
            <pc:docMk/>
            <pc:sldMk cId="1665224666" sldId="381"/>
            <ac:cxnSpMk id="27" creationId="{9D4F6B06-41A9-48E2-8049-FAE0AB48D4E2}"/>
          </ac:cxnSpMkLst>
        </pc:cxnChg>
        <pc:cxnChg chg="del mod">
          <ac:chgData name="YUAN Huaxing" userId="680cda70-8f8f-41b8-bd50-03497d97776e" providerId="ADAL" clId="{A2A0405A-6B1F-4AFE-ADF4-06FBC564D530}" dt="2022-11-25T09:10:49.254" v="1361" actId="478"/>
          <ac:cxnSpMkLst>
            <pc:docMk/>
            <pc:sldMk cId="1665224666" sldId="381"/>
            <ac:cxnSpMk id="30" creationId="{A4C47330-3551-498E-8A9D-46D3C89FEAA9}"/>
          </ac:cxnSpMkLst>
        </pc:cxnChg>
      </pc:sldChg>
      <pc:sldChg chg="addSp delSp modSp add mod chgLayout">
        <pc:chgData name="YUAN Huaxing" userId="680cda70-8f8f-41b8-bd50-03497d97776e" providerId="ADAL" clId="{A2A0405A-6B1F-4AFE-ADF4-06FBC564D530}" dt="2022-11-25T16:12:37.231" v="9327" actId="1036"/>
        <pc:sldMkLst>
          <pc:docMk/>
          <pc:sldMk cId="801933456" sldId="886"/>
        </pc:sldMkLst>
        <pc:spChg chg="mod ord">
          <ac:chgData name="YUAN Huaxing" userId="680cda70-8f8f-41b8-bd50-03497d97776e" providerId="ADAL" clId="{A2A0405A-6B1F-4AFE-ADF4-06FBC564D530}" dt="2022-11-25T16:12:29.206" v="9319"/>
          <ac:spMkLst>
            <pc:docMk/>
            <pc:sldMk cId="801933456" sldId="886"/>
            <ac:spMk id="2" creationId="{E7136351-2C0B-46DC-BF93-6365ABA5BDC0}"/>
          </ac:spMkLst>
        </pc:spChg>
        <pc:spChg chg="del mod ord">
          <ac:chgData name="YUAN Huaxing" userId="680cda70-8f8f-41b8-bd50-03497d97776e" providerId="ADAL" clId="{A2A0405A-6B1F-4AFE-ADF4-06FBC564D530}" dt="2022-11-25T16:12:08.957" v="9294" actId="700"/>
          <ac:spMkLst>
            <pc:docMk/>
            <pc:sldMk cId="801933456" sldId="886"/>
            <ac:spMk id="3" creationId="{7AE05433-D249-40E4-989F-E93FEF1E8D74}"/>
          </ac:spMkLst>
        </pc:spChg>
        <pc:spChg chg="add mod ord">
          <ac:chgData name="YUAN Huaxing" userId="680cda70-8f8f-41b8-bd50-03497d97776e" providerId="ADAL" clId="{A2A0405A-6B1F-4AFE-ADF4-06FBC564D530}" dt="2022-11-25T16:12:18.638" v="9318" actId="20577"/>
          <ac:spMkLst>
            <pc:docMk/>
            <pc:sldMk cId="801933456" sldId="886"/>
            <ac:spMk id="4" creationId="{A25B5029-BFB3-458F-ACA2-566BAFC77FD4}"/>
          </ac:spMkLst>
        </pc:spChg>
        <pc:spChg chg="mod">
          <ac:chgData name="YUAN Huaxing" userId="680cda70-8f8f-41b8-bd50-03497d97776e" providerId="ADAL" clId="{A2A0405A-6B1F-4AFE-ADF4-06FBC564D530}" dt="2022-11-25T16:12:37.231" v="9327" actId="1036"/>
          <ac:spMkLst>
            <pc:docMk/>
            <pc:sldMk cId="801933456" sldId="886"/>
            <ac:spMk id="5" creationId="{8B4306EE-B13F-4FA0-B917-D305A0950FEE}"/>
          </ac:spMkLst>
        </pc:spChg>
        <pc:spChg chg="add mod ord">
          <ac:chgData name="YUAN Huaxing" userId="680cda70-8f8f-41b8-bd50-03497d97776e" providerId="ADAL" clId="{A2A0405A-6B1F-4AFE-ADF4-06FBC564D530}" dt="2022-11-25T16:12:37.231" v="9327" actId="1036"/>
          <ac:spMkLst>
            <pc:docMk/>
            <pc:sldMk cId="801933456" sldId="886"/>
            <ac:spMk id="6" creationId="{854E875F-39DE-43CE-A74E-8DF76D63A928}"/>
          </ac:spMkLst>
        </pc:spChg>
        <pc:spChg chg="mod">
          <ac:chgData name="YUAN Huaxing" userId="680cda70-8f8f-41b8-bd50-03497d97776e" providerId="ADAL" clId="{A2A0405A-6B1F-4AFE-ADF4-06FBC564D530}" dt="2022-11-25T16:12:37.231" v="9327" actId="1036"/>
          <ac:spMkLst>
            <pc:docMk/>
            <pc:sldMk cId="801933456" sldId="886"/>
            <ac:spMk id="7" creationId="{A1C9DE21-EB50-4A8D-A8FC-6188500EE0BD}"/>
          </ac:spMkLst>
        </pc:spChg>
        <pc:spChg chg="mod">
          <ac:chgData name="YUAN Huaxing" userId="680cda70-8f8f-41b8-bd50-03497d97776e" providerId="ADAL" clId="{A2A0405A-6B1F-4AFE-ADF4-06FBC564D530}" dt="2022-11-25T16:12:37.231" v="9327" actId="1036"/>
          <ac:spMkLst>
            <pc:docMk/>
            <pc:sldMk cId="801933456" sldId="886"/>
            <ac:spMk id="12" creationId="{16D8AE48-7495-4383-BCC0-3B159C173A3F}"/>
          </ac:spMkLst>
        </pc:spChg>
        <pc:spChg chg="mod">
          <ac:chgData name="YUAN Huaxing" userId="680cda70-8f8f-41b8-bd50-03497d97776e" providerId="ADAL" clId="{A2A0405A-6B1F-4AFE-ADF4-06FBC564D530}" dt="2022-11-25T16:12:37.231" v="9327" actId="1036"/>
          <ac:spMkLst>
            <pc:docMk/>
            <pc:sldMk cId="801933456" sldId="886"/>
            <ac:spMk id="13" creationId="{5FE1CF7B-5D73-4FDE-8AA9-A21C63217028}"/>
          </ac:spMkLst>
        </pc:spChg>
        <pc:spChg chg="mod">
          <ac:chgData name="YUAN Huaxing" userId="680cda70-8f8f-41b8-bd50-03497d97776e" providerId="ADAL" clId="{A2A0405A-6B1F-4AFE-ADF4-06FBC564D530}" dt="2022-11-25T16:12:37.231" v="9327" actId="1036"/>
          <ac:spMkLst>
            <pc:docMk/>
            <pc:sldMk cId="801933456" sldId="886"/>
            <ac:spMk id="14" creationId="{DD91090C-F419-46C5-B7CC-ADC380E134D7}"/>
          </ac:spMkLst>
        </pc:spChg>
        <pc:spChg chg="mod">
          <ac:chgData name="YUAN Huaxing" userId="680cda70-8f8f-41b8-bd50-03497d97776e" providerId="ADAL" clId="{A2A0405A-6B1F-4AFE-ADF4-06FBC564D530}" dt="2022-11-25T16:12:37.231" v="9327" actId="1036"/>
          <ac:spMkLst>
            <pc:docMk/>
            <pc:sldMk cId="801933456" sldId="886"/>
            <ac:spMk id="15" creationId="{335F8E7C-C8D7-4CC1-A051-7D6A3D5D6393}"/>
          </ac:spMkLst>
        </pc:spChg>
        <pc:spChg chg="mod">
          <ac:chgData name="YUAN Huaxing" userId="680cda70-8f8f-41b8-bd50-03497d97776e" providerId="ADAL" clId="{A2A0405A-6B1F-4AFE-ADF4-06FBC564D530}" dt="2022-11-25T16:12:37.231" v="9327" actId="1036"/>
          <ac:spMkLst>
            <pc:docMk/>
            <pc:sldMk cId="801933456" sldId="886"/>
            <ac:spMk id="18" creationId="{3AEBCACE-9CD6-4223-B5BD-886288150B1E}"/>
          </ac:spMkLst>
        </pc:spChg>
        <pc:spChg chg="mod">
          <ac:chgData name="YUAN Huaxing" userId="680cda70-8f8f-41b8-bd50-03497d97776e" providerId="ADAL" clId="{A2A0405A-6B1F-4AFE-ADF4-06FBC564D530}" dt="2022-11-25T16:12:37.231" v="9327" actId="1036"/>
          <ac:spMkLst>
            <pc:docMk/>
            <pc:sldMk cId="801933456" sldId="886"/>
            <ac:spMk id="20" creationId="{7933D722-377B-4B45-8C8C-B17F59AABA83}"/>
          </ac:spMkLst>
        </pc:spChg>
        <pc:spChg chg="mod">
          <ac:chgData name="YUAN Huaxing" userId="680cda70-8f8f-41b8-bd50-03497d97776e" providerId="ADAL" clId="{A2A0405A-6B1F-4AFE-ADF4-06FBC564D530}" dt="2022-11-25T16:12:37.231" v="9327" actId="1036"/>
          <ac:spMkLst>
            <pc:docMk/>
            <pc:sldMk cId="801933456" sldId="886"/>
            <ac:spMk id="22" creationId="{EE3AAD9A-B24E-4B84-B936-E96D6D837197}"/>
          </ac:spMkLst>
        </pc:spChg>
        <pc:spChg chg="mod">
          <ac:chgData name="YUAN Huaxing" userId="680cda70-8f8f-41b8-bd50-03497d97776e" providerId="ADAL" clId="{A2A0405A-6B1F-4AFE-ADF4-06FBC564D530}" dt="2022-11-25T16:12:37.231" v="9327" actId="1036"/>
          <ac:spMkLst>
            <pc:docMk/>
            <pc:sldMk cId="801933456" sldId="886"/>
            <ac:spMk id="29" creationId="{43332355-A5A9-4113-86EE-9C623431C6DD}"/>
          </ac:spMkLst>
        </pc:spChg>
        <pc:spChg chg="mod">
          <ac:chgData name="YUAN Huaxing" userId="680cda70-8f8f-41b8-bd50-03497d97776e" providerId="ADAL" clId="{A2A0405A-6B1F-4AFE-ADF4-06FBC564D530}" dt="2022-11-25T16:12:37.231" v="9327" actId="1036"/>
          <ac:spMkLst>
            <pc:docMk/>
            <pc:sldMk cId="801933456" sldId="886"/>
            <ac:spMk id="30" creationId="{6923B600-EF75-45B3-BD7A-B2502BA6DB02}"/>
          </ac:spMkLst>
        </pc:spChg>
        <pc:spChg chg="mod">
          <ac:chgData name="YUAN Huaxing" userId="680cda70-8f8f-41b8-bd50-03497d97776e" providerId="ADAL" clId="{A2A0405A-6B1F-4AFE-ADF4-06FBC564D530}" dt="2022-11-25T16:12:37.231" v="9327" actId="1036"/>
          <ac:spMkLst>
            <pc:docMk/>
            <pc:sldMk cId="801933456" sldId="886"/>
            <ac:spMk id="31" creationId="{20C4A87C-D956-4DA0-BEC0-7933EAE77FE5}"/>
          </ac:spMkLst>
        </pc:spChg>
        <pc:spChg chg="mod">
          <ac:chgData name="YUAN Huaxing" userId="680cda70-8f8f-41b8-bd50-03497d97776e" providerId="ADAL" clId="{A2A0405A-6B1F-4AFE-ADF4-06FBC564D530}" dt="2022-11-25T16:12:37.231" v="9327" actId="1036"/>
          <ac:spMkLst>
            <pc:docMk/>
            <pc:sldMk cId="801933456" sldId="886"/>
            <ac:spMk id="32" creationId="{AEFBFE4A-186D-4B05-ABEE-5171FF0792C2}"/>
          </ac:spMkLst>
        </pc:spChg>
        <pc:spChg chg="mod">
          <ac:chgData name="YUAN Huaxing" userId="680cda70-8f8f-41b8-bd50-03497d97776e" providerId="ADAL" clId="{A2A0405A-6B1F-4AFE-ADF4-06FBC564D530}" dt="2022-11-25T16:12:37.231" v="9327" actId="1036"/>
          <ac:spMkLst>
            <pc:docMk/>
            <pc:sldMk cId="801933456" sldId="886"/>
            <ac:spMk id="33" creationId="{89A620E8-F9E1-43AE-A324-30D3097B35E4}"/>
          </ac:spMkLst>
        </pc:spChg>
        <pc:spChg chg="mod">
          <ac:chgData name="YUAN Huaxing" userId="680cda70-8f8f-41b8-bd50-03497d97776e" providerId="ADAL" clId="{A2A0405A-6B1F-4AFE-ADF4-06FBC564D530}" dt="2022-11-25T16:12:37.231" v="9327" actId="1036"/>
          <ac:spMkLst>
            <pc:docMk/>
            <pc:sldMk cId="801933456" sldId="886"/>
            <ac:spMk id="37" creationId="{8D4144AF-BB1C-4F50-B088-3D6E47573A27}"/>
          </ac:spMkLst>
        </pc:spChg>
        <pc:spChg chg="mod">
          <ac:chgData name="YUAN Huaxing" userId="680cda70-8f8f-41b8-bd50-03497d97776e" providerId="ADAL" clId="{A2A0405A-6B1F-4AFE-ADF4-06FBC564D530}" dt="2022-11-25T16:12:37.231" v="9327" actId="1036"/>
          <ac:spMkLst>
            <pc:docMk/>
            <pc:sldMk cId="801933456" sldId="886"/>
            <ac:spMk id="38" creationId="{0E74270C-6928-47BC-9B21-D0841E204264}"/>
          </ac:spMkLst>
        </pc:spChg>
        <pc:spChg chg="mod">
          <ac:chgData name="YUAN Huaxing" userId="680cda70-8f8f-41b8-bd50-03497d97776e" providerId="ADAL" clId="{A2A0405A-6B1F-4AFE-ADF4-06FBC564D530}" dt="2022-11-25T16:12:37.231" v="9327" actId="1036"/>
          <ac:spMkLst>
            <pc:docMk/>
            <pc:sldMk cId="801933456" sldId="886"/>
            <ac:spMk id="47" creationId="{1E8F8DAA-33F2-4D24-BBB5-1E4D514B6386}"/>
          </ac:spMkLst>
        </pc:spChg>
        <pc:spChg chg="mod">
          <ac:chgData name="YUAN Huaxing" userId="680cda70-8f8f-41b8-bd50-03497d97776e" providerId="ADAL" clId="{A2A0405A-6B1F-4AFE-ADF4-06FBC564D530}" dt="2022-11-25T16:12:37.231" v="9327" actId="1036"/>
          <ac:spMkLst>
            <pc:docMk/>
            <pc:sldMk cId="801933456" sldId="886"/>
            <ac:spMk id="50" creationId="{9B4EA88B-23C0-44F1-9577-D56DC86B239C}"/>
          </ac:spMkLst>
        </pc:spChg>
        <pc:spChg chg="mod">
          <ac:chgData name="YUAN Huaxing" userId="680cda70-8f8f-41b8-bd50-03497d97776e" providerId="ADAL" clId="{A2A0405A-6B1F-4AFE-ADF4-06FBC564D530}" dt="2022-11-25T16:12:37.231" v="9327" actId="1036"/>
          <ac:spMkLst>
            <pc:docMk/>
            <pc:sldMk cId="801933456" sldId="886"/>
            <ac:spMk id="53" creationId="{407B2449-C836-4897-A654-86DE0B4C170D}"/>
          </ac:spMkLst>
        </pc:spChg>
        <pc:spChg chg="mod">
          <ac:chgData name="YUAN Huaxing" userId="680cda70-8f8f-41b8-bd50-03497d97776e" providerId="ADAL" clId="{A2A0405A-6B1F-4AFE-ADF4-06FBC564D530}" dt="2022-11-25T16:12:37.231" v="9327" actId="1036"/>
          <ac:spMkLst>
            <pc:docMk/>
            <pc:sldMk cId="801933456" sldId="886"/>
            <ac:spMk id="56" creationId="{9BAAE4F8-47E7-4C3A-84F8-591253867CF0}"/>
          </ac:spMkLst>
        </pc:spChg>
        <pc:spChg chg="mod">
          <ac:chgData name="YUAN Huaxing" userId="680cda70-8f8f-41b8-bd50-03497d97776e" providerId="ADAL" clId="{A2A0405A-6B1F-4AFE-ADF4-06FBC564D530}" dt="2022-11-25T16:12:37.231" v="9327" actId="1036"/>
          <ac:spMkLst>
            <pc:docMk/>
            <pc:sldMk cId="801933456" sldId="886"/>
            <ac:spMk id="59" creationId="{417D60B8-D43B-4051-8EE5-207331180AA3}"/>
          </ac:spMkLst>
        </pc:spChg>
        <pc:spChg chg="mod">
          <ac:chgData name="YUAN Huaxing" userId="680cda70-8f8f-41b8-bd50-03497d97776e" providerId="ADAL" clId="{A2A0405A-6B1F-4AFE-ADF4-06FBC564D530}" dt="2022-11-25T16:12:37.231" v="9327" actId="1036"/>
          <ac:spMkLst>
            <pc:docMk/>
            <pc:sldMk cId="801933456" sldId="886"/>
            <ac:spMk id="62" creationId="{FF48481E-11D3-4044-8D50-E0E4D27D4012}"/>
          </ac:spMkLst>
        </pc:spChg>
        <pc:spChg chg="mod">
          <ac:chgData name="YUAN Huaxing" userId="680cda70-8f8f-41b8-bd50-03497d97776e" providerId="ADAL" clId="{A2A0405A-6B1F-4AFE-ADF4-06FBC564D530}" dt="2022-11-25T16:12:37.231" v="9327" actId="1036"/>
          <ac:spMkLst>
            <pc:docMk/>
            <pc:sldMk cId="801933456" sldId="886"/>
            <ac:spMk id="65" creationId="{1E999489-AA5B-4F4B-ADE9-D6A54F650C9B}"/>
          </ac:spMkLst>
        </pc:spChg>
        <pc:spChg chg="mod">
          <ac:chgData name="YUAN Huaxing" userId="680cda70-8f8f-41b8-bd50-03497d97776e" providerId="ADAL" clId="{A2A0405A-6B1F-4AFE-ADF4-06FBC564D530}" dt="2022-11-25T16:12:37.231" v="9327" actId="1036"/>
          <ac:spMkLst>
            <pc:docMk/>
            <pc:sldMk cId="801933456" sldId="886"/>
            <ac:spMk id="68" creationId="{BA1D400F-1606-4686-8AA5-ACC7C74ABA39}"/>
          </ac:spMkLst>
        </pc:spChg>
        <pc:spChg chg="mod">
          <ac:chgData name="YUAN Huaxing" userId="680cda70-8f8f-41b8-bd50-03497d97776e" providerId="ADAL" clId="{A2A0405A-6B1F-4AFE-ADF4-06FBC564D530}" dt="2022-11-25T16:12:37.231" v="9327" actId="1036"/>
          <ac:spMkLst>
            <pc:docMk/>
            <pc:sldMk cId="801933456" sldId="886"/>
            <ac:spMk id="71" creationId="{23B83952-8B90-4F0D-A850-D83B964E4C4E}"/>
          </ac:spMkLst>
        </pc:spChg>
        <pc:spChg chg="mod">
          <ac:chgData name="YUAN Huaxing" userId="680cda70-8f8f-41b8-bd50-03497d97776e" providerId="ADAL" clId="{A2A0405A-6B1F-4AFE-ADF4-06FBC564D530}" dt="2022-11-25T16:12:37.231" v="9327" actId="1036"/>
          <ac:spMkLst>
            <pc:docMk/>
            <pc:sldMk cId="801933456" sldId="886"/>
            <ac:spMk id="74" creationId="{52BAB6EC-8010-407F-9938-F77C25EB9EDB}"/>
          </ac:spMkLst>
        </pc:spChg>
        <pc:spChg chg="mod">
          <ac:chgData name="YUAN Huaxing" userId="680cda70-8f8f-41b8-bd50-03497d97776e" providerId="ADAL" clId="{A2A0405A-6B1F-4AFE-ADF4-06FBC564D530}" dt="2022-11-25T16:12:37.231" v="9327" actId="1036"/>
          <ac:spMkLst>
            <pc:docMk/>
            <pc:sldMk cId="801933456" sldId="886"/>
            <ac:spMk id="88" creationId="{0AAB6F70-D251-4B4A-9C6F-5BFFE7FB255E}"/>
          </ac:spMkLst>
        </pc:spChg>
        <pc:spChg chg="mod">
          <ac:chgData name="YUAN Huaxing" userId="680cda70-8f8f-41b8-bd50-03497d97776e" providerId="ADAL" clId="{A2A0405A-6B1F-4AFE-ADF4-06FBC564D530}" dt="2022-11-25T16:12:37.231" v="9327" actId="1036"/>
          <ac:spMkLst>
            <pc:docMk/>
            <pc:sldMk cId="801933456" sldId="886"/>
            <ac:spMk id="100" creationId="{CCF8B81A-2096-48BB-92D9-3DFCFCB8095D}"/>
          </ac:spMkLst>
        </pc:spChg>
        <pc:spChg chg="mod">
          <ac:chgData name="YUAN Huaxing" userId="680cda70-8f8f-41b8-bd50-03497d97776e" providerId="ADAL" clId="{A2A0405A-6B1F-4AFE-ADF4-06FBC564D530}" dt="2022-11-25T16:12:37.231" v="9327" actId="1036"/>
          <ac:spMkLst>
            <pc:docMk/>
            <pc:sldMk cId="801933456" sldId="886"/>
            <ac:spMk id="102" creationId="{39573FB4-739B-47B6-952C-B1322FF01E8C}"/>
          </ac:spMkLst>
        </pc:spChg>
        <pc:spChg chg="mod">
          <ac:chgData name="YUAN Huaxing" userId="680cda70-8f8f-41b8-bd50-03497d97776e" providerId="ADAL" clId="{A2A0405A-6B1F-4AFE-ADF4-06FBC564D530}" dt="2022-11-25T16:12:37.231" v="9327" actId="1036"/>
          <ac:spMkLst>
            <pc:docMk/>
            <pc:sldMk cId="801933456" sldId="886"/>
            <ac:spMk id="111" creationId="{32AFAF59-0F5E-41EE-BE82-BDFA7AC66B87}"/>
          </ac:spMkLst>
        </pc:spChg>
        <pc:spChg chg="mod">
          <ac:chgData name="YUAN Huaxing" userId="680cda70-8f8f-41b8-bd50-03497d97776e" providerId="ADAL" clId="{A2A0405A-6B1F-4AFE-ADF4-06FBC564D530}" dt="2022-11-25T16:12:37.231" v="9327" actId="1036"/>
          <ac:spMkLst>
            <pc:docMk/>
            <pc:sldMk cId="801933456" sldId="886"/>
            <ac:spMk id="112" creationId="{959FCC99-2A86-43D6-AD10-2EDBC7CD44C9}"/>
          </ac:spMkLst>
        </pc:spChg>
        <pc:spChg chg="mod">
          <ac:chgData name="YUAN Huaxing" userId="680cda70-8f8f-41b8-bd50-03497d97776e" providerId="ADAL" clId="{A2A0405A-6B1F-4AFE-ADF4-06FBC564D530}" dt="2022-11-25T16:12:37.231" v="9327" actId="1036"/>
          <ac:spMkLst>
            <pc:docMk/>
            <pc:sldMk cId="801933456" sldId="886"/>
            <ac:spMk id="113" creationId="{E6D2E9BC-314F-42C3-B7CC-12CB64218DB2}"/>
          </ac:spMkLst>
        </pc:spChg>
        <pc:spChg chg="mod">
          <ac:chgData name="YUAN Huaxing" userId="680cda70-8f8f-41b8-bd50-03497d97776e" providerId="ADAL" clId="{A2A0405A-6B1F-4AFE-ADF4-06FBC564D530}" dt="2022-11-25T16:12:37.231" v="9327" actId="1036"/>
          <ac:spMkLst>
            <pc:docMk/>
            <pc:sldMk cId="801933456" sldId="886"/>
            <ac:spMk id="114" creationId="{BE353E46-3598-43B7-AA24-2A2EA806004B}"/>
          </ac:spMkLst>
        </pc:spChg>
        <pc:spChg chg="mod">
          <ac:chgData name="YUAN Huaxing" userId="680cda70-8f8f-41b8-bd50-03497d97776e" providerId="ADAL" clId="{A2A0405A-6B1F-4AFE-ADF4-06FBC564D530}" dt="2022-11-25T16:12:37.231" v="9327" actId="1036"/>
          <ac:spMkLst>
            <pc:docMk/>
            <pc:sldMk cId="801933456" sldId="886"/>
            <ac:spMk id="115" creationId="{668103C9-1B79-45DF-97E9-7BC62361E6D0}"/>
          </ac:spMkLst>
        </pc:spChg>
        <pc:spChg chg="mod">
          <ac:chgData name="YUAN Huaxing" userId="680cda70-8f8f-41b8-bd50-03497d97776e" providerId="ADAL" clId="{A2A0405A-6B1F-4AFE-ADF4-06FBC564D530}" dt="2022-11-25T16:12:37.231" v="9327" actId="1036"/>
          <ac:spMkLst>
            <pc:docMk/>
            <pc:sldMk cId="801933456" sldId="886"/>
            <ac:spMk id="129" creationId="{E426EB7F-8EED-44C5-8CAA-1AD03807F02A}"/>
          </ac:spMkLst>
        </pc:spChg>
        <pc:spChg chg="mod">
          <ac:chgData name="YUAN Huaxing" userId="680cda70-8f8f-41b8-bd50-03497d97776e" providerId="ADAL" clId="{A2A0405A-6B1F-4AFE-ADF4-06FBC564D530}" dt="2022-11-25T16:12:37.231" v="9327" actId="1036"/>
          <ac:spMkLst>
            <pc:docMk/>
            <pc:sldMk cId="801933456" sldId="886"/>
            <ac:spMk id="133" creationId="{30148100-8DC4-41BA-8F6A-8815C6D83D6E}"/>
          </ac:spMkLst>
        </pc:spChg>
        <pc:spChg chg="mod">
          <ac:chgData name="YUAN Huaxing" userId="680cda70-8f8f-41b8-bd50-03497d97776e" providerId="ADAL" clId="{A2A0405A-6B1F-4AFE-ADF4-06FBC564D530}" dt="2022-11-25T16:12:37.231" v="9327" actId="1036"/>
          <ac:spMkLst>
            <pc:docMk/>
            <pc:sldMk cId="801933456" sldId="886"/>
            <ac:spMk id="150" creationId="{C0F6948C-57B4-4BB6-BD9E-00D06EFFFECB}"/>
          </ac:spMkLst>
        </pc:spChg>
        <pc:grpChg chg="mod">
          <ac:chgData name="YUAN Huaxing" userId="680cda70-8f8f-41b8-bd50-03497d97776e" providerId="ADAL" clId="{A2A0405A-6B1F-4AFE-ADF4-06FBC564D530}" dt="2022-11-25T16:12:37.231" v="9327" actId="1036"/>
          <ac:grpSpMkLst>
            <pc:docMk/>
            <pc:sldMk cId="801933456" sldId="886"/>
            <ac:grpSpMk id="16" creationId="{EFC770E7-C0EB-4AF2-8D38-33F71EC46D76}"/>
          </ac:grpSpMkLst>
        </pc:grpChg>
        <pc:grpChg chg="mod">
          <ac:chgData name="YUAN Huaxing" userId="680cda70-8f8f-41b8-bd50-03497d97776e" providerId="ADAL" clId="{A2A0405A-6B1F-4AFE-ADF4-06FBC564D530}" dt="2022-11-25T16:12:37.231" v="9327" actId="1036"/>
          <ac:grpSpMkLst>
            <pc:docMk/>
            <pc:sldMk cId="801933456" sldId="886"/>
            <ac:grpSpMk id="19" creationId="{E4308B0D-70BE-4CFB-8FB0-D590F02FFECF}"/>
          </ac:grpSpMkLst>
        </pc:grpChg>
        <pc:grpChg chg="mod">
          <ac:chgData name="YUAN Huaxing" userId="680cda70-8f8f-41b8-bd50-03497d97776e" providerId="ADAL" clId="{A2A0405A-6B1F-4AFE-ADF4-06FBC564D530}" dt="2022-11-25T16:12:37.231" v="9327" actId="1036"/>
          <ac:grpSpMkLst>
            <pc:docMk/>
            <pc:sldMk cId="801933456" sldId="886"/>
            <ac:grpSpMk id="23" creationId="{EE395A36-601F-4C53-A2B8-EF5E9CF4E244}"/>
          </ac:grpSpMkLst>
        </pc:grpChg>
        <pc:grpChg chg="mod">
          <ac:chgData name="YUAN Huaxing" userId="680cda70-8f8f-41b8-bd50-03497d97776e" providerId="ADAL" clId="{A2A0405A-6B1F-4AFE-ADF4-06FBC564D530}" dt="2022-11-25T16:12:37.231" v="9327" actId="1036"/>
          <ac:grpSpMkLst>
            <pc:docMk/>
            <pc:sldMk cId="801933456" sldId="886"/>
            <ac:grpSpMk id="24" creationId="{A383AC14-0569-4A2A-88AC-520A51B8BBB5}"/>
          </ac:grpSpMkLst>
        </pc:grpChg>
        <pc:grpChg chg="mod">
          <ac:chgData name="YUAN Huaxing" userId="680cda70-8f8f-41b8-bd50-03497d97776e" providerId="ADAL" clId="{A2A0405A-6B1F-4AFE-ADF4-06FBC564D530}" dt="2022-11-25T16:12:37.231" v="9327" actId="1036"/>
          <ac:grpSpMkLst>
            <pc:docMk/>
            <pc:sldMk cId="801933456" sldId="886"/>
            <ac:grpSpMk id="36" creationId="{E66955E4-E69A-4948-8083-B523E56DB74C}"/>
          </ac:grpSpMkLst>
        </pc:grpChg>
        <pc:grpChg chg="mod">
          <ac:chgData name="YUAN Huaxing" userId="680cda70-8f8f-41b8-bd50-03497d97776e" providerId="ADAL" clId="{A2A0405A-6B1F-4AFE-ADF4-06FBC564D530}" dt="2022-11-25T16:12:37.231" v="9327" actId="1036"/>
          <ac:grpSpMkLst>
            <pc:docMk/>
            <pc:sldMk cId="801933456" sldId="886"/>
            <ac:grpSpMk id="39" creationId="{BD454907-B780-46A7-BC4B-14EB41F71B09}"/>
          </ac:grpSpMkLst>
        </pc:grpChg>
        <pc:grpChg chg="mod">
          <ac:chgData name="YUAN Huaxing" userId="680cda70-8f8f-41b8-bd50-03497d97776e" providerId="ADAL" clId="{A2A0405A-6B1F-4AFE-ADF4-06FBC564D530}" dt="2022-11-25T16:12:37.231" v="9327" actId="1036"/>
          <ac:grpSpMkLst>
            <pc:docMk/>
            <pc:sldMk cId="801933456" sldId="886"/>
            <ac:grpSpMk id="40" creationId="{CB82EEB6-2444-4CA2-BF59-65DCE542FDA3}"/>
          </ac:grpSpMkLst>
        </pc:grpChg>
        <pc:grpChg chg="mod">
          <ac:chgData name="YUAN Huaxing" userId="680cda70-8f8f-41b8-bd50-03497d97776e" providerId="ADAL" clId="{A2A0405A-6B1F-4AFE-ADF4-06FBC564D530}" dt="2022-11-25T16:12:37.231" v="9327" actId="1036"/>
          <ac:grpSpMkLst>
            <pc:docMk/>
            <pc:sldMk cId="801933456" sldId="886"/>
            <ac:grpSpMk id="41" creationId="{2CBA1F34-C329-49A8-8D2C-1848F7422ADA}"/>
          </ac:grpSpMkLst>
        </pc:grpChg>
        <pc:grpChg chg="mod">
          <ac:chgData name="YUAN Huaxing" userId="680cda70-8f8f-41b8-bd50-03497d97776e" providerId="ADAL" clId="{A2A0405A-6B1F-4AFE-ADF4-06FBC564D530}" dt="2022-11-25T16:12:37.231" v="9327" actId="1036"/>
          <ac:grpSpMkLst>
            <pc:docMk/>
            <pc:sldMk cId="801933456" sldId="886"/>
            <ac:grpSpMk id="42" creationId="{7A1DC665-0CF6-4A30-AE1C-00D7C922A304}"/>
          </ac:grpSpMkLst>
        </pc:grpChg>
        <pc:grpChg chg="mod">
          <ac:chgData name="YUAN Huaxing" userId="680cda70-8f8f-41b8-bd50-03497d97776e" providerId="ADAL" clId="{A2A0405A-6B1F-4AFE-ADF4-06FBC564D530}" dt="2022-11-25T16:12:37.231" v="9327" actId="1036"/>
          <ac:grpSpMkLst>
            <pc:docMk/>
            <pc:sldMk cId="801933456" sldId="886"/>
            <ac:grpSpMk id="43" creationId="{81116B39-D1DA-4D5A-A6B6-D313D73EF7FA}"/>
          </ac:grpSpMkLst>
        </pc:grpChg>
        <pc:grpChg chg="mod">
          <ac:chgData name="YUAN Huaxing" userId="680cda70-8f8f-41b8-bd50-03497d97776e" providerId="ADAL" clId="{A2A0405A-6B1F-4AFE-ADF4-06FBC564D530}" dt="2022-11-25T16:12:37.231" v="9327" actId="1036"/>
          <ac:grpSpMkLst>
            <pc:docMk/>
            <pc:sldMk cId="801933456" sldId="886"/>
            <ac:grpSpMk id="45" creationId="{8028D5DD-2494-42C2-BA83-8C6E8680CEAA}"/>
          </ac:grpSpMkLst>
        </pc:grpChg>
        <pc:grpChg chg="mod">
          <ac:chgData name="YUAN Huaxing" userId="680cda70-8f8f-41b8-bd50-03497d97776e" providerId="ADAL" clId="{A2A0405A-6B1F-4AFE-ADF4-06FBC564D530}" dt="2022-11-25T16:12:37.231" v="9327" actId="1036"/>
          <ac:grpSpMkLst>
            <pc:docMk/>
            <pc:sldMk cId="801933456" sldId="886"/>
            <ac:grpSpMk id="46" creationId="{6230A6F8-818A-4F8F-ADCA-D2D0DCCA3B79}"/>
          </ac:grpSpMkLst>
        </pc:grpChg>
        <pc:grpChg chg="mod">
          <ac:chgData name="YUAN Huaxing" userId="680cda70-8f8f-41b8-bd50-03497d97776e" providerId="ADAL" clId="{A2A0405A-6B1F-4AFE-ADF4-06FBC564D530}" dt="2022-11-25T16:12:37.231" v="9327" actId="1036"/>
          <ac:grpSpMkLst>
            <pc:docMk/>
            <pc:sldMk cId="801933456" sldId="886"/>
            <ac:grpSpMk id="51" creationId="{0D1349A1-0F64-435C-8072-34C58D4BFE27}"/>
          </ac:grpSpMkLst>
        </pc:grpChg>
        <pc:grpChg chg="mod">
          <ac:chgData name="YUAN Huaxing" userId="680cda70-8f8f-41b8-bd50-03497d97776e" providerId="ADAL" clId="{A2A0405A-6B1F-4AFE-ADF4-06FBC564D530}" dt="2022-11-25T16:12:37.231" v="9327" actId="1036"/>
          <ac:grpSpMkLst>
            <pc:docMk/>
            <pc:sldMk cId="801933456" sldId="886"/>
            <ac:grpSpMk id="52" creationId="{95DC0886-EB82-4C4C-BE71-18A279C96216}"/>
          </ac:grpSpMkLst>
        </pc:grpChg>
        <pc:grpChg chg="mod">
          <ac:chgData name="YUAN Huaxing" userId="680cda70-8f8f-41b8-bd50-03497d97776e" providerId="ADAL" clId="{A2A0405A-6B1F-4AFE-ADF4-06FBC564D530}" dt="2022-11-25T16:12:37.231" v="9327" actId="1036"/>
          <ac:grpSpMkLst>
            <pc:docMk/>
            <pc:sldMk cId="801933456" sldId="886"/>
            <ac:grpSpMk id="57" creationId="{85FA91B8-A387-40C6-9EB5-E9CFA8F48D2C}"/>
          </ac:grpSpMkLst>
        </pc:grpChg>
        <pc:grpChg chg="mod">
          <ac:chgData name="YUAN Huaxing" userId="680cda70-8f8f-41b8-bd50-03497d97776e" providerId="ADAL" clId="{A2A0405A-6B1F-4AFE-ADF4-06FBC564D530}" dt="2022-11-25T16:12:37.231" v="9327" actId="1036"/>
          <ac:grpSpMkLst>
            <pc:docMk/>
            <pc:sldMk cId="801933456" sldId="886"/>
            <ac:grpSpMk id="58" creationId="{2AA0EC6E-0153-45BA-B721-8F26468691D1}"/>
          </ac:grpSpMkLst>
        </pc:grpChg>
        <pc:grpChg chg="mod">
          <ac:chgData name="YUAN Huaxing" userId="680cda70-8f8f-41b8-bd50-03497d97776e" providerId="ADAL" clId="{A2A0405A-6B1F-4AFE-ADF4-06FBC564D530}" dt="2022-11-25T16:12:37.231" v="9327" actId="1036"/>
          <ac:grpSpMkLst>
            <pc:docMk/>
            <pc:sldMk cId="801933456" sldId="886"/>
            <ac:grpSpMk id="63" creationId="{0EC0076D-7CD7-48BC-88C7-B6950D5004A7}"/>
          </ac:grpSpMkLst>
        </pc:grpChg>
        <pc:grpChg chg="mod">
          <ac:chgData name="YUAN Huaxing" userId="680cda70-8f8f-41b8-bd50-03497d97776e" providerId="ADAL" clId="{A2A0405A-6B1F-4AFE-ADF4-06FBC564D530}" dt="2022-11-25T16:12:37.231" v="9327" actId="1036"/>
          <ac:grpSpMkLst>
            <pc:docMk/>
            <pc:sldMk cId="801933456" sldId="886"/>
            <ac:grpSpMk id="64" creationId="{8A47244D-6F61-4E1B-B3A0-D7BC1590ED81}"/>
          </ac:grpSpMkLst>
        </pc:grpChg>
        <pc:grpChg chg="mod">
          <ac:chgData name="YUAN Huaxing" userId="680cda70-8f8f-41b8-bd50-03497d97776e" providerId="ADAL" clId="{A2A0405A-6B1F-4AFE-ADF4-06FBC564D530}" dt="2022-11-25T16:12:37.231" v="9327" actId="1036"/>
          <ac:grpSpMkLst>
            <pc:docMk/>
            <pc:sldMk cId="801933456" sldId="886"/>
            <ac:grpSpMk id="69" creationId="{6BE1EA52-6837-497A-BAB0-2E74A00FE7FF}"/>
          </ac:grpSpMkLst>
        </pc:grpChg>
        <pc:grpChg chg="mod">
          <ac:chgData name="YUAN Huaxing" userId="680cda70-8f8f-41b8-bd50-03497d97776e" providerId="ADAL" clId="{A2A0405A-6B1F-4AFE-ADF4-06FBC564D530}" dt="2022-11-25T16:12:37.231" v="9327" actId="1036"/>
          <ac:grpSpMkLst>
            <pc:docMk/>
            <pc:sldMk cId="801933456" sldId="886"/>
            <ac:grpSpMk id="70" creationId="{ED21B8AE-70F6-41AD-A493-FC22F6B63504}"/>
          </ac:grpSpMkLst>
        </pc:grpChg>
        <pc:grpChg chg="mod">
          <ac:chgData name="YUAN Huaxing" userId="680cda70-8f8f-41b8-bd50-03497d97776e" providerId="ADAL" clId="{A2A0405A-6B1F-4AFE-ADF4-06FBC564D530}" dt="2022-11-25T16:12:37.231" v="9327" actId="1036"/>
          <ac:grpSpMkLst>
            <pc:docMk/>
            <pc:sldMk cId="801933456" sldId="886"/>
            <ac:grpSpMk id="76" creationId="{7C57C924-3F42-4B31-884B-F0D4C02EB783}"/>
          </ac:grpSpMkLst>
        </pc:grpChg>
        <pc:grpChg chg="mod">
          <ac:chgData name="YUAN Huaxing" userId="680cda70-8f8f-41b8-bd50-03497d97776e" providerId="ADAL" clId="{A2A0405A-6B1F-4AFE-ADF4-06FBC564D530}" dt="2022-11-25T16:12:37.231" v="9327" actId="1036"/>
          <ac:grpSpMkLst>
            <pc:docMk/>
            <pc:sldMk cId="801933456" sldId="886"/>
            <ac:grpSpMk id="108" creationId="{620716C0-DF3C-4346-8508-CD6E511C7AF6}"/>
          </ac:grpSpMkLst>
        </pc:grpChg>
        <pc:grpChg chg="mod">
          <ac:chgData name="YUAN Huaxing" userId="680cda70-8f8f-41b8-bd50-03497d97776e" providerId="ADAL" clId="{A2A0405A-6B1F-4AFE-ADF4-06FBC564D530}" dt="2022-11-25T16:12:37.231" v="9327" actId="1036"/>
          <ac:grpSpMkLst>
            <pc:docMk/>
            <pc:sldMk cId="801933456" sldId="886"/>
            <ac:grpSpMk id="109" creationId="{2D96D183-9E79-432E-B9EC-DC8D21A9B577}"/>
          </ac:grpSpMkLst>
        </pc:grpChg>
        <pc:grpChg chg="mod">
          <ac:chgData name="YUAN Huaxing" userId="680cda70-8f8f-41b8-bd50-03497d97776e" providerId="ADAL" clId="{A2A0405A-6B1F-4AFE-ADF4-06FBC564D530}" dt="2022-11-25T16:12:37.231" v="9327" actId="1036"/>
          <ac:grpSpMkLst>
            <pc:docMk/>
            <pc:sldMk cId="801933456" sldId="886"/>
            <ac:grpSpMk id="110" creationId="{8D188655-2FFD-4892-A70A-766A3CBB6C53}"/>
          </ac:grpSpMkLst>
        </pc:grpChg>
        <pc:grpChg chg="mod">
          <ac:chgData name="YUAN Huaxing" userId="680cda70-8f8f-41b8-bd50-03497d97776e" providerId="ADAL" clId="{A2A0405A-6B1F-4AFE-ADF4-06FBC564D530}" dt="2022-11-25T16:12:37.231" v="9327" actId="1036"/>
          <ac:grpSpMkLst>
            <pc:docMk/>
            <pc:sldMk cId="801933456" sldId="886"/>
            <ac:grpSpMk id="116" creationId="{72C53B4D-48F2-43F8-A3ED-1F29AAEB34CB}"/>
          </ac:grpSpMkLst>
        </pc:grpChg>
        <pc:grpChg chg="mod">
          <ac:chgData name="YUAN Huaxing" userId="680cda70-8f8f-41b8-bd50-03497d97776e" providerId="ADAL" clId="{A2A0405A-6B1F-4AFE-ADF4-06FBC564D530}" dt="2022-11-25T16:12:37.231" v="9327" actId="1036"/>
          <ac:grpSpMkLst>
            <pc:docMk/>
            <pc:sldMk cId="801933456" sldId="886"/>
            <ac:grpSpMk id="117" creationId="{0D2BBA5B-A6B9-4E50-8E49-65B0DFC0ECB1}"/>
          </ac:grpSpMkLst>
        </pc:grpChg>
        <pc:grpChg chg="mod">
          <ac:chgData name="YUAN Huaxing" userId="680cda70-8f8f-41b8-bd50-03497d97776e" providerId="ADAL" clId="{A2A0405A-6B1F-4AFE-ADF4-06FBC564D530}" dt="2022-11-25T16:12:37.231" v="9327" actId="1036"/>
          <ac:grpSpMkLst>
            <pc:docMk/>
            <pc:sldMk cId="801933456" sldId="886"/>
            <ac:grpSpMk id="118" creationId="{5CBAFCD2-FCCE-4A6F-9BC6-0246B36518D3}"/>
          </ac:grpSpMkLst>
        </pc:grpChg>
        <pc:grpChg chg="mod">
          <ac:chgData name="YUAN Huaxing" userId="680cda70-8f8f-41b8-bd50-03497d97776e" providerId="ADAL" clId="{A2A0405A-6B1F-4AFE-ADF4-06FBC564D530}" dt="2022-11-25T16:12:37.231" v="9327" actId="1036"/>
          <ac:grpSpMkLst>
            <pc:docMk/>
            <pc:sldMk cId="801933456" sldId="886"/>
            <ac:grpSpMk id="119" creationId="{D7731108-F301-47EE-B559-D93908DE53FD}"/>
          </ac:grpSpMkLst>
        </pc:grpChg>
        <pc:grpChg chg="mod">
          <ac:chgData name="YUAN Huaxing" userId="680cda70-8f8f-41b8-bd50-03497d97776e" providerId="ADAL" clId="{A2A0405A-6B1F-4AFE-ADF4-06FBC564D530}" dt="2022-11-25T16:12:37.231" v="9327" actId="1036"/>
          <ac:grpSpMkLst>
            <pc:docMk/>
            <pc:sldMk cId="801933456" sldId="886"/>
            <ac:grpSpMk id="126" creationId="{7E9DB490-8F7A-4E2B-B4CB-33047F489747}"/>
          </ac:grpSpMkLst>
        </pc:grpChg>
        <pc:grpChg chg="mod">
          <ac:chgData name="YUAN Huaxing" userId="680cda70-8f8f-41b8-bd50-03497d97776e" providerId="ADAL" clId="{A2A0405A-6B1F-4AFE-ADF4-06FBC564D530}" dt="2022-11-25T16:12:37.231" v="9327" actId="1036"/>
          <ac:grpSpMkLst>
            <pc:docMk/>
            <pc:sldMk cId="801933456" sldId="886"/>
            <ac:grpSpMk id="132" creationId="{60B74550-FF4C-4995-B4D5-AF99697E6EF7}"/>
          </ac:grpSpMkLst>
        </pc:grpChg>
        <pc:grpChg chg="mod">
          <ac:chgData name="YUAN Huaxing" userId="680cda70-8f8f-41b8-bd50-03497d97776e" providerId="ADAL" clId="{A2A0405A-6B1F-4AFE-ADF4-06FBC564D530}" dt="2022-11-25T16:12:37.231" v="9327" actId="1036"/>
          <ac:grpSpMkLst>
            <pc:docMk/>
            <pc:sldMk cId="801933456" sldId="886"/>
            <ac:grpSpMk id="149" creationId="{292D407F-C9AB-4AB5-A365-C565372D5E34}"/>
          </ac:grpSpMkLst>
        </pc:grpChg>
        <pc:grpChg chg="mod">
          <ac:chgData name="YUAN Huaxing" userId="680cda70-8f8f-41b8-bd50-03497d97776e" providerId="ADAL" clId="{A2A0405A-6B1F-4AFE-ADF4-06FBC564D530}" dt="2022-11-25T16:12:37.231" v="9327" actId="1036"/>
          <ac:grpSpMkLst>
            <pc:docMk/>
            <pc:sldMk cId="801933456" sldId="886"/>
            <ac:grpSpMk id="151" creationId="{953BC613-5B9E-45AF-B342-4FF7C1DBB6A0}"/>
          </ac:grpSpMkLst>
        </pc:grpChg>
        <pc:picChg chg="mod">
          <ac:chgData name="YUAN Huaxing" userId="680cda70-8f8f-41b8-bd50-03497d97776e" providerId="ADAL" clId="{A2A0405A-6B1F-4AFE-ADF4-06FBC564D530}" dt="2022-11-25T16:12:37.231" v="9327" actId="1036"/>
          <ac:picMkLst>
            <pc:docMk/>
            <pc:sldMk cId="801933456" sldId="886"/>
            <ac:picMk id="8" creationId="{48214F5F-9403-4165-8C30-E742B21A824F}"/>
          </ac:picMkLst>
        </pc:picChg>
        <pc:picChg chg="mod">
          <ac:chgData name="YUAN Huaxing" userId="680cda70-8f8f-41b8-bd50-03497d97776e" providerId="ADAL" clId="{A2A0405A-6B1F-4AFE-ADF4-06FBC564D530}" dt="2022-11-25T16:12:37.231" v="9327" actId="1036"/>
          <ac:picMkLst>
            <pc:docMk/>
            <pc:sldMk cId="801933456" sldId="886"/>
            <ac:picMk id="9" creationId="{3B7EF109-6834-4C9B-AF9E-B2BA9DE20C3E}"/>
          </ac:picMkLst>
        </pc:picChg>
        <pc:picChg chg="mod">
          <ac:chgData name="YUAN Huaxing" userId="680cda70-8f8f-41b8-bd50-03497d97776e" providerId="ADAL" clId="{A2A0405A-6B1F-4AFE-ADF4-06FBC564D530}" dt="2022-11-25T16:12:37.231" v="9327" actId="1036"/>
          <ac:picMkLst>
            <pc:docMk/>
            <pc:sldMk cId="801933456" sldId="886"/>
            <ac:picMk id="10" creationId="{5FE8B37E-1B7A-4687-A0CE-C0589BA20041}"/>
          </ac:picMkLst>
        </pc:picChg>
        <pc:picChg chg="mod">
          <ac:chgData name="YUAN Huaxing" userId="680cda70-8f8f-41b8-bd50-03497d97776e" providerId="ADAL" clId="{A2A0405A-6B1F-4AFE-ADF4-06FBC564D530}" dt="2022-11-25T16:12:37.231" v="9327" actId="1036"/>
          <ac:picMkLst>
            <pc:docMk/>
            <pc:sldMk cId="801933456" sldId="886"/>
            <ac:picMk id="11" creationId="{DF789326-145A-4587-85D1-CBE82A26B27A}"/>
          </ac:picMkLst>
        </pc:picChg>
        <pc:picChg chg="mod">
          <ac:chgData name="YUAN Huaxing" userId="680cda70-8f8f-41b8-bd50-03497d97776e" providerId="ADAL" clId="{A2A0405A-6B1F-4AFE-ADF4-06FBC564D530}" dt="2022-11-25T16:12:37.231" v="9327" actId="1036"/>
          <ac:picMkLst>
            <pc:docMk/>
            <pc:sldMk cId="801933456" sldId="886"/>
            <ac:picMk id="17" creationId="{D02A59EA-0CBE-43C5-8E40-6F5506F85BBB}"/>
          </ac:picMkLst>
        </pc:picChg>
        <pc:picChg chg="mod">
          <ac:chgData name="YUAN Huaxing" userId="680cda70-8f8f-41b8-bd50-03497d97776e" providerId="ADAL" clId="{A2A0405A-6B1F-4AFE-ADF4-06FBC564D530}" dt="2022-11-25T16:12:37.231" v="9327" actId="1036"/>
          <ac:picMkLst>
            <pc:docMk/>
            <pc:sldMk cId="801933456" sldId="886"/>
            <ac:picMk id="21" creationId="{BB9F067C-D98A-4280-AF0A-BC9EE4D696FD}"/>
          </ac:picMkLst>
        </pc:picChg>
        <pc:picChg chg="mod">
          <ac:chgData name="YUAN Huaxing" userId="680cda70-8f8f-41b8-bd50-03497d97776e" providerId="ADAL" clId="{A2A0405A-6B1F-4AFE-ADF4-06FBC564D530}" dt="2022-11-25T16:12:37.231" v="9327" actId="1036"/>
          <ac:picMkLst>
            <pc:docMk/>
            <pc:sldMk cId="801933456" sldId="886"/>
            <ac:picMk id="48" creationId="{59F382EA-AD1C-4153-9B42-04872CB394C9}"/>
          </ac:picMkLst>
        </pc:picChg>
        <pc:picChg chg="mod">
          <ac:chgData name="YUAN Huaxing" userId="680cda70-8f8f-41b8-bd50-03497d97776e" providerId="ADAL" clId="{A2A0405A-6B1F-4AFE-ADF4-06FBC564D530}" dt="2022-11-25T16:12:37.231" v="9327" actId="1036"/>
          <ac:picMkLst>
            <pc:docMk/>
            <pc:sldMk cId="801933456" sldId="886"/>
            <ac:picMk id="49" creationId="{B1DE8305-4B91-4701-BE06-2B129EB16154}"/>
          </ac:picMkLst>
        </pc:picChg>
        <pc:picChg chg="mod">
          <ac:chgData name="YUAN Huaxing" userId="680cda70-8f8f-41b8-bd50-03497d97776e" providerId="ADAL" clId="{A2A0405A-6B1F-4AFE-ADF4-06FBC564D530}" dt="2022-11-25T16:12:37.231" v="9327" actId="1036"/>
          <ac:picMkLst>
            <pc:docMk/>
            <pc:sldMk cId="801933456" sldId="886"/>
            <ac:picMk id="54" creationId="{E98B6265-101B-4ADC-B9B2-9F194DB7B557}"/>
          </ac:picMkLst>
        </pc:picChg>
        <pc:picChg chg="mod">
          <ac:chgData name="YUAN Huaxing" userId="680cda70-8f8f-41b8-bd50-03497d97776e" providerId="ADAL" clId="{A2A0405A-6B1F-4AFE-ADF4-06FBC564D530}" dt="2022-11-25T16:12:37.231" v="9327" actId="1036"/>
          <ac:picMkLst>
            <pc:docMk/>
            <pc:sldMk cId="801933456" sldId="886"/>
            <ac:picMk id="55" creationId="{319914AE-82A0-4134-8D72-815F5EA00945}"/>
          </ac:picMkLst>
        </pc:picChg>
        <pc:picChg chg="mod">
          <ac:chgData name="YUAN Huaxing" userId="680cda70-8f8f-41b8-bd50-03497d97776e" providerId="ADAL" clId="{A2A0405A-6B1F-4AFE-ADF4-06FBC564D530}" dt="2022-11-25T16:12:37.231" v="9327" actId="1036"/>
          <ac:picMkLst>
            <pc:docMk/>
            <pc:sldMk cId="801933456" sldId="886"/>
            <ac:picMk id="60" creationId="{FB54C039-A508-4082-8CC7-EF136E555232}"/>
          </ac:picMkLst>
        </pc:picChg>
        <pc:picChg chg="mod">
          <ac:chgData name="YUAN Huaxing" userId="680cda70-8f8f-41b8-bd50-03497d97776e" providerId="ADAL" clId="{A2A0405A-6B1F-4AFE-ADF4-06FBC564D530}" dt="2022-11-25T16:12:37.231" v="9327" actId="1036"/>
          <ac:picMkLst>
            <pc:docMk/>
            <pc:sldMk cId="801933456" sldId="886"/>
            <ac:picMk id="61" creationId="{C9523093-15F3-4F7B-88F2-4F0F81653198}"/>
          </ac:picMkLst>
        </pc:picChg>
        <pc:picChg chg="mod">
          <ac:chgData name="YUAN Huaxing" userId="680cda70-8f8f-41b8-bd50-03497d97776e" providerId="ADAL" clId="{A2A0405A-6B1F-4AFE-ADF4-06FBC564D530}" dt="2022-11-25T16:12:37.231" v="9327" actId="1036"/>
          <ac:picMkLst>
            <pc:docMk/>
            <pc:sldMk cId="801933456" sldId="886"/>
            <ac:picMk id="66" creationId="{CCB5995D-4979-44D0-BE9C-6CB1526F4573}"/>
          </ac:picMkLst>
        </pc:picChg>
        <pc:picChg chg="mod">
          <ac:chgData name="YUAN Huaxing" userId="680cda70-8f8f-41b8-bd50-03497d97776e" providerId="ADAL" clId="{A2A0405A-6B1F-4AFE-ADF4-06FBC564D530}" dt="2022-11-25T16:12:37.231" v="9327" actId="1036"/>
          <ac:picMkLst>
            <pc:docMk/>
            <pc:sldMk cId="801933456" sldId="886"/>
            <ac:picMk id="67" creationId="{2DA0CFD9-DAD5-45EB-9D69-C03AC71CE901}"/>
          </ac:picMkLst>
        </pc:picChg>
        <pc:picChg chg="mod">
          <ac:chgData name="YUAN Huaxing" userId="680cda70-8f8f-41b8-bd50-03497d97776e" providerId="ADAL" clId="{A2A0405A-6B1F-4AFE-ADF4-06FBC564D530}" dt="2022-11-25T16:12:37.231" v="9327" actId="1036"/>
          <ac:picMkLst>
            <pc:docMk/>
            <pc:sldMk cId="801933456" sldId="886"/>
            <ac:picMk id="72" creationId="{1D6F49CF-5A50-4E1E-9C84-76DBD36254A8}"/>
          </ac:picMkLst>
        </pc:picChg>
        <pc:picChg chg="mod">
          <ac:chgData name="YUAN Huaxing" userId="680cda70-8f8f-41b8-bd50-03497d97776e" providerId="ADAL" clId="{A2A0405A-6B1F-4AFE-ADF4-06FBC564D530}" dt="2022-11-25T16:12:37.231" v="9327" actId="1036"/>
          <ac:picMkLst>
            <pc:docMk/>
            <pc:sldMk cId="801933456" sldId="886"/>
            <ac:picMk id="73" creationId="{694185C0-6AF2-416C-AFBB-A15C74FD1E58}"/>
          </ac:picMkLst>
        </pc:picChg>
        <pc:picChg chg="mod">
          <ac:chgData name="YUAN Huaxing" userId="680cda70-8f8f-41b8-bd50-03497d97776e" providerId="ADAL" clId="{A2A0405A-6B1F-4AFE-ADF4-06FBC564D530}" dt="2022-11-25T16:12:37.231" v="9327" actId="1036"/>
          <ac:picMkLst>
            <pc:docMk/>
            <pc:sldMk cId="801933456" sldId="886"/>
            <ac:picMk id="89" creationId="{270FBC2D-408D-4159-A955-2C3ED734EE30}"/>
          </ac:picMkLst>
        </pc:picChg>
        <pc:picChg chg="mod">
          <ac:chgData name="YUAN Huaxing" userId="680cda70-8f8f-41b8-bd50-03497d97776e" providerId="ADAL" clId="{A2A0405A-6B1F-4AFE-ADF4-06FBC564D530}" dt="2022-11-25T16:12:37.231" v="9327" actId="1036"/>
          <ac:picMkLst>
            <pc:docMk/>
            <pc:sldMk cId="801933456" sldId="886"/>
            <ac:picMk id="99" creationId="{3B48651C-49DD-4194-B5FC-1E222083D6E7}"/>
          </ac:picMkLst>
        </pc:picChg>
        <pc:picChg chg="mod">
          <ac:chgData name="YUAN Huaxing" userId="680cda70-8f8f-41b8-bd50-03497d97776e" providerId="ADAL" clId="{A2A0405A-6B1F-4AFE-ADF4-06FBC564D530}" dt="2022-11-25T16:12:37.231" v="9327" actId="1036"/>
          <ac:picMkLst>
            <pc:docMk/>
            <pc:sldMk cId="801933456" sldId="886"/>
            <ac:picMk id="101" creationId="{94E01CA1-0F26-45BA-8EC3-C69807FF0B57}"/>
          </ac:picMkLst>
        </pc:picChg>
        <pc:picChg chg="mod">
          <ac:chgData name="YUAN Huaxing" userId="680cda70-8f8f-41b8-bd50-03497d97776e" providerId="ADAL" clId="{A2A0405A-6B1F-4AFE-ADF4-06FBC564D530}" dt="2022-11-25T16:12:37.231" v="9327" actId="1036"/>
          <ac:picMkLst>
            <pc:docMk/>
            <pc:sldMk cId="801933456" sldId="886"/>
            <ac:picMk id="120" creationId="{9695DFFC-0AD0-48D1-B226-2D8271510AD7}"/>
          </ac:picMkLst>
        </pc:picChg>
        <pc:picChg chg="mod">
          <ac:chgData name="YUAN Huaxing" userId="680cda70-8f8f-41b8-bd50-03497d97776e" providerId="ADAL" clId="{A2A0405A-6B1F-4AFE-ADF4-06FBC564D530}" dt="2022-11-25T16:12:37.231" v="9327" actId="1036"/>
          <ac:picMkLst>
            <pc:docMk/>
            <pc:sldMk cId="801933456" sldId="886"/>
            <ac:picMk id="121" creationId="{552B1F74-3D11-4E7A-A4DB-261BDEFC4FB1}"/>
          </ac:picMkLst>
        </pc:picChg>
        <pc:picChg chg="mod">
          <ac:chgData name="YUAN Huaxing" userId="680cda70-8f8f-41b8-bd50-03497d97776e" providerId="ADAL" clId="{A2A0405A-6B1F-4AFE-ADF4-06FBC564D530}" dt="2022-11-25T16:12:37.231" v="9327" actId="1036"/>
          <ac:picMkLst>
            <pc:docMk/>
            <pc:sldMk cId="801933456" sldId="886"/>
            <ac:picMk id="122" creationId="{B115DB0A-4A34-44F5-B238-D4620D56EB79}"/>
          </ac:picMkLst>
        </pc:picChg>
        <pc:picChg chg="mod">
          <ac:chgData name="YUAN Huaxing" userId="680cda70-8f8f-41b8-bd50-03497d97776e" providerId="ADAL" clId="{A2A0405A-6B1F-4AFE-ADF4-06FBC564D530}" dt="2022-11-25T16:12:37.231" v="9327" actId="1036"/>
          <ac:picMkLst>
            <pc:docMk/>
            <pc:sldMk cId="801933456" sldId="886"/>
            <ac:picMk id="123" creationId="{C89D4D95-12E7-4CA1-9AEC-E241DF69160C}"/>
          </ac:picMkLst>
        </pc:picChg>
        <pc:picChg chg="mod">
          <ac:chgData name="YUAN Huaxing" userId="680cda70-8f8f-41b8-bd50-03497d97776e" providerId="ADAL" clId="{A2A0405A-6B1F-4AFE-ADF4-06FBC564D530}" dt="2022-11-25T16:12:37.231" v="9327" actId="1036"/>
          <ac:picMkLst>
            <pc:docMk/>
            <pc:sldMk cId="801933456" sldId="886"/>
            <ac:picMk id="124" creationId="{3FB9F3A5-7C12-4FD8-B5A7-731B2888AE87}"/>
          </ac:picMkLst>
        </pc:picChg>
        <pc:picChg chg="mod">
          <ac:chgData name="YUAN Huaxing" userId="680cda70-8f8f-41b8-bd50-03497d97776e" providerId="ADAL" clId="{A2A0405A-6B1F-4AFE-ADF4-06FBC564D530}" dt="2022-11-25T16:12:37.231" v="9327" actId="1036"/>
          <ac:picMkLst>
            <pc:docMk/>
            <pc:sldMk cId="801933456" sldId="886"/>
            <ac:picMk id="125" creationId="{C437AA70-0D8A-48CB-92C1-B0201E7A8B3D}"/>
          </ac:picMkLst>
        </pc:picChg>
        <pc:picChg chg="mod">
          <ac:chgData name="YUAN Huaxing" userId="680cda70-8f8f-41b8-bd50-03497d97776e" providerId="ADAL" clId="{A2A0405A-6B1F-4AFE-ADF4-06FBC564D530}" dt="2022-11-25T16:12:37.231" v="9327" actId="1036"/>
          <ac:picMkLst>
            <pc:docMk/>
            <pc:sldMk cId="801933456" sldId="886"/>
            <ac:picMk id="127" creationId="{58444184-EBA9-476E-B559-D496A943E8EB}"/>
          </ac:picMkLst>
        </pc:picChg>
        <pc:picChg chg="mod">
          <ac:chgData name="YUAN Huaxing" userId="680cda70-8f8f-41b8-bd50-03497d97776e" providerId="ADAL" clId="{A2A0405A-6B1F-4AFE-ADF4-06FBC564D530}" dt="2022-11-25T16:12:37.231" v="9327" actId="1036"/>
          <ac:picMkLst>
            <pc:docMk/>
            <pc:sldMk cId="801933456" sldId="886"/>
            <ac:picMk id="128" creationId="{68A874F0-A50F-4E29-81B3-744A5ADCBD1A}"/>
          </ac:picMkLst>
        </pc:picChg>
        <pc:picChg chg="mod">
          <ac:chgData name="YUAN Huaxing" userId="680cda70-8f8f-41b8-bd50-03497d97776e" providerId="ADAL" clId="{A2A0405A-6B1F-4AFE-ADF4-06FBC564D530}" dt="2022-11-25T16:12:37.231" v="9327" actId="1036"/>
          <ac:picMkLst>
            <pc:docMk/>
            <pc:sldMk cId="801933456" sldId="886"/>
            <ac:picMk id="130" creationId="{3F55E924-4210-4681-8C26-022AF04037EA}"/>
          </ac:picMkLst>
        </pc:picChg>
        <pc:picChg chg="mod">
          <ac:chgData name="YUAN Huaxing" userId="680cda70-8f8f-41b8-bd50-03497d97776e" providerId="ADAL" clId="{A2A0405A-6B1F-4AFE-ADF4-06FBC564D530}" dt="2022-11-25T16:12:37.231" v="9327" actId="1036"/>
          <ac:picMkLst>
            <pc:docMk/>
            <pc:sldMk cId="801933456" sldId="886"/>
            <ac:picMk id="134" creationId="{D943AA02-6A5E-4269-B08C-EFBC8137FA4C}"/>
          </ac:picMkLst>
        </pc:picChg>
        <pc:cxnChg chg="mod">
          <ac:chgData name="YUAN Huaxing" userId="680cda70-8f8f-41b8-bd50-03497d97776e" providerId="ADAL" clId="{A2A0405A-6B1F-4AFE-ADF4-06FBC564D530}" dt="2022-11-25T16:12:37.231" v="9327" actId="1036"/>
          <ac:cxnSpMkLst>
            <pc:docMk/>
            <pc:sldMk cId="801933456" sldId="886"/>
            <ac:cxnSpMk id="25" creationId="{12160831-1668-4A32-89DC-0D1ED4574CF7}"/>
          </ac:cxnSpMkLst>
        </pc:cxnChg>
        <pc:cxnChg chg="mod">
          <ac:chgData name="YUAN Huaxing" userId="680cda70-8f8f-41b8-bd50-03497d97776e" providerId="ADAL" clId="{A2A0405A-6B1F-4AFE-ADF4-06FBC564D530}" dt="2022-11-25T16:12:37.231" v="9327" actId="1036"/>
          <ac:cxnSpMkLst>
            <pc:docMk/>
            <pc:sldMk cId="801933456" sldId="886"/>
            <ac:cxnSpMk id="26" creationId="{47DB13F2-0638-463C-A6F8-DA9A71CD6FA2}"/>
          </ac:cxnSpMkLst>
        </pc:cxnChg>
        <pc:cxnChg chg="mod">
          <ac:chgData name="YUAN Huaxing" userId="680cda70-8f8f-41b8-bd50-03497d97776e" providerId="ADAL" clId="{A2A0405A-6B1F-4AFE-ADF4-06FBC564D530}" dt="2022-11-25T16:12:37.231" v="9327" actId="1036"/>
          <ac:cxnSpMkLst>
            <pc:docMk/>
            <pc:sldMk cId="801933456" sldId="886"/>
            <ac:cxnSpMk id="27" creationId="{F4926B79-FB71-4046-9867-2071F2E6F72B}"/>
          </ac:cxnSpMkLst>
        </pc:cxnChg>
        <pc:cxnChg chg="mod">
          <ac:chgData name="YUAN Huaxing" userId="680cda70-8f8f-41b8-bd50-03497d97776e" providerId="ADAL" clId="{A2A0405A-6B1F-4AFE-ADF4-06FBC564D530}" dt="2022-11-25T16:12:37.231" v="9327" actId="1036"/>
          <ac:cxnSpMkLst>
            <pc:docMk/>
            <pc:sldMk cId="801933456" sldId="886"/>
            <ac:cxnSpMk id="28" creationId="{35AA72E8-AA1B-420D-9A7F-FF0650936282}"/>
          </ac:cxnSpMkLst>
        </pc:cxnChg>
        <pc:cxnChg chg="mod">
          <ac:chgData name="YUAN Huaxing" userId="680cda70-8f8f-41b8-bd50-03497d97776e" providerId="ADAL" clId="{A2A0405A-6B1F-4AFE-ADF4-06FBC564D530}" dt="2022-11-25T16:12:37.231" v="9327" actId="1036"/>
          <ac:cxnSpMkLst>
            <pc:docMk/>
            <pc:sldMk cId="801933456" sldId="886"/>
            <ac:cxnSpMk id="34" creationId="{57A616D7-75F2-4E17-ADDE-1A33682019EC}"/>
          </ac:cxnSpMkLst>
        </pc:cxnChg>
        <pc:cxnChg chg="mod">
          <ac:chgData name="YUAN Huaxing" userId="680cda70-8f8f-41b8-bd50-03497d97776e" providerId="ADAL" clId="{A2A0405A-6B1F-4AFE-ADF4-06FBC564D530}" dt="2022-11-25T16:12:37.231" v="9327" actId="1036"/>
          <ac:cxnSpMkLst>
            <pc:docMk/>
            <pc:sldMk cId="801933456" sldId="886"/>
            <ac:cxnSpMk id="90" creationId="{5DD27249-F4A8-4DCF-9F07-5BB8E06308CA}"/>
          </ac:cxnSpMkLst>
        </pc:cxnChg>
        <pc:cxnChg chg="mod">
          <ac:chgData name="YUAN Huaxing" userId="680cda70-8f8f-41b8-bd50-03497d97776e" providerId="ADAL" clId="{A2A0405A-6B1F-4AFE-ADF4-06FBC564D530}" dt="2022-11-25T16:12:37.231" v="9327" actId="1036"/>
          <ac:cxnSpMkLst>
            <pc:docMk/>
            <pc:sldMk cId="801933456" sldId="886"/>
            <ac:cxnSpMk id="91" creationId="{2F727C79-7C94-4C68-A8E6-5D2462064032}"/>
          </ac:cxnSpMkLst>
        </pc:cxnChg>
        <pc:cxnChg chg="mod">
          <ac:chgData name="YUAN Huaxing" userId="680cda70-8f8f-41b8-bd50-03497d97776e" providerId="ADAL" clId="{A2A0405A-6B1F-4AFE-ADF4-06FBC564D530}" dt="2022-11-25T16:12:37.231" v="9327" actId="1036"/>
          <ac:cxnSpMkLst>
            <pc:docMk/>
            <pc:sldMk cId="801933456" sldId="886"/>
            <ac:cxnSpMk id="92" creationId="{2A460D32-9AAE-426D-A3D5-66C09D97D7BE}"/>
          </ac:cxnSpMkLst>
        </pc:cxnChg>
        <pc:cxnChg chg="mod">
          <ac:chgData name="YUAN Huaxing" userId="680cda70-8f8f-41b8-bd50-03497d97776e" providerId="ADAL" clId="{A2A0405A-6B1F-4AFE-ADF4-06FBC564D530}" dt="2022-11-25T16:12:37.231" v="9327" actId="1036"/>
          <ac:cxnSpMkLst>
            <pc:docMk/>
            <pc:sldMk cId="801933456" sldId="886"/>
            <ac:cxnSpMk id="131" creationId="{0F59751B-3E83-4BF0-A49E-AE2C1179CF04}"/>
          </ac:cxnSpMkLst>
        </pc:cxnChg>
        <pc:cxnChg chg="mod">
          <ac:chgData name="YUAN Huaxing" userId="680cda70-8f8f-41b8-bd50-03497d97776e" providerId="ADAL" clId="{A2A0405A-6B1F-4AFE-ADF4-06FBC564D530}" dt="2022-11-25T16:12:37.231" v="9327" actId="1036"/>
          <ac:cxnSpMkLst>
            <pc:docMk/>
            <pc:sldMk cId="801933456" sldId="886"/>
            <ac:cxnSpMk id="135" creationId="{8684E1E2-266A-4021-B30C-F94392201430}"/>
          </ac:cxnSpMkLst>
        </pc:cxnChg>
        <pc:cxnChg chg="mod">
          <ac:chgData name="YUAN Huaxing" userId="680cda70-8f8f-41b8-bd50-03497d97776e" providerId="ADAL" clId="{A2A0405A-6B1F-4AFE-ADF4-06FBC564D530}" dt="2022-11-25T16:12:37.231" v="9327" actId="1036"/>
          <ac:cxnSpMkLst>
            <pc:docMk/>
            <pc:sldMk cId="801933456" sldId="886"/>
            <ac:cxnSpMk id="138" creationId="{EDD64BD4-AD5C-4CB8-8C78-E642F03393B7}"/>
          </ac:cxnSpMkLst>
        </pc:cxnChg>
        <pc:cxnChg chg="mod">
          <ac:chgData name="YUAN Huaxing" userId="680cda70-8f8f-41b8-bd50-03497d97776e" providerId="ADAL" clId="{A2A0405A-6B1F-4AFE-ADF4-06FBC564D530}" dt="2022-11-25T16:12:37.231" v="9327" actId="1036"/>
          <ac:cxnSpMkLst>
            <pc:docMk/>
            <pc:sldMk cId="801933456" sldId="886"/>
            <ac:cxnSpMk id="143" creationId="{0CB21FD0-FB6E-4DBF-A525-41CF09032ED3}"/>
          </ac:cxnSpMkLst>
        </pc:cxnChg>
        <pc:cxnChg chg="mod">
          <ac:chgData name="YUAN Huaxing" userId="680cda70-8f8f-41b8-bd50-03497d97776e" providerId="ADAL" clId="{A2A0405A-6B1F-4AFE-ADF4-06FBC564D530}" dt="2022-11-25T16:12:37.231" v="9327" actId="1036"/>
          <ac:cxnSpMkLst>
            <pc:docMk/>
            <pc:sldMk cId="801933456" sldId="886"/>
            <ac:cxnSpMk id="146" creationId="{063B7632-6358-4CF0-B1D0-3E1413D18540}"/>
          </ac:cxnSpMkLst>
        </pc:cxnChg>
      </pc:sldChg>
      <pc:sldChg chg="add">
        <pc:chgData name="YUAN Huaxing" userId="680cda70-8f8f-41b8-bd50-03497d97776e" providerId="ADAL" clId="{A2A0405A-6B1F-4AFE-ADF4-06FBC564D530}" dt="2022-11-25T14:41:26.116" v="5415"/>
        <pc:sldMkLst>
          <pc:docMk/>
          <pc:sldMk cId="3622964949" sldId="902"/>
        </pc:sldMkLst>
      </pc:sldChg>
      <pc:sldChg chg="del">
        <pc:chgData name="YUAN Huaxing" userId="680cda70-8f8f-41b8-bd50-03497d97776e" providerId="ADAL" clId="{A2A0405A-6B1F-4AFE-ADF4-06FBC564D530}" dt="2022-11-25T16:15:29.135" v="9364" actId="47"/>
        <pc:sldMkLst>
          <pc:docMk/>
          <pc:sldMk cId="2624000080" sldId="2147470870"/>
        </pc:sldMkLst>
      </pc:sldChg>
      <pc:sldChg chg="addSp delSp modSp mod ord setBg modClrScheme chgLayout">
        <pc:chgData name="YUAN Huaxing" userId="680cda70-8f8f-41b8-bd50-03497d97776e" providerId="ADAL" clId="{A2A0405A-6B1F-4AFE-ADF4-06FBC564D530}" dt="2022-11-29T11:28:24.847" v="13820" actId="313"/>
        <pc:sldMkLst>
          <pc:docMk/>
          <pc:sldMk cId="4255054038" sldId="2147470873"/>
        </pc:sldMkLst>
        <pc:spChg chg="mod ord">
          <ac:chgData name="YUAN Huaxing" userId="680cda70-8f8f-41b8-bd50-03497d97776e" providerId="ADAL" clId="{A2A0405A-6B1F-4AFE-ADF4-06FBC564D530}" dt="2022-11-29T11:28:24.847" v="13820" actId="313"/>
          <ac:spMkLst>
            <pc:docMk/>
            <pc:sldMk cId="4255054038" sldId="2147470873"/>
            <ac:spMk id="2" creationId="{3D5DE8C4-8D5B-4E5C-9313-A9077ED0EAB9}"/>
          </ac:spMkLst>
        </pc:spChg>
        <pc:spChg chg="add del mod ord">
          <ac:chgData name="YUAN Huaxing" userId="680cda70-8f8f-41b8-bd50-03497d97776e" providerId="ADAL" clId="{A2A0405A-6B1F-4AFE-ADF4-06FBC564D530}" dt="2022-11-29T11:06:24.114" v="12890" actId="700"/>
          <ac:spMkLst>
            <pc:docMk/>
            <pc:sldMk cId="4255054038" sldId="2147470873"/>
            <ac:spMk id="3" creationId="{AABB2B46-2AAC-4628-87BB-21E81F5E8AC6}"/>
          </ac:spMkLst>
        </pc:spChg>
        <pc:spChg chg="add del mod ord">
          <ac:chgData name="YUAN Huaxing" userId="680cda70-8f8f-41b8-bd50-03497d97776e" providerId="ADAL" clId="{A2A0405A-6B1F-4AFE-ADF4-06FBC564D530}" dt="2022-11-29T11:06:24.114" v="12890" actId="700"/>
          <ac:spMkLst>
            <pc:docMk/>
            <pc:sldMk cId="4255054038" sldId="2147470873"/>
            <ac:spMk id="5" creationId="{2C8E40AA-BA45-43D1-A651-D4A159DF24B7}"/>
          </ac:spMkLst>
        </pc:spChg>
        <pc:spChg chg="add del mod ord">
          <ac:chgData name="YUAN Huaxing" userId="680cda70-8f8f-41b8-bd50-03497d97776e" providerId="ADAL" clId="{A2A0405A-6B1F-4AFE-ADF4-06FBC564D530}" dt="2022-11-29T11:28:21.191" v="13819" actId="478"/>
          <ac:spMkLst>
            <pc:docMk/>
            <pc:sldMk cId="4255054038" sldId="2147470873"/>
            <ac:spMk id="6" creationId="{F9CE4FA8-5D2A-4E5F-9AD7-181BA79EB23F}"/>
          </ac:spMkLst>
        </pc:spChg>
        <pc:spChg chg="add del mod ord">
          <ac:chgData name="YUAN Huaxing" userId="680cda70-8f8f-41b8-bd50-03497d97776e" providerId="ADAL" clId="{A2A0405A-6B1F-4AFE-ADF4-06FBC564D530}" dt="2022-11-29T11:28:10.274" v="13818" actId="478"/>
          <ac:spMkLst>
            <pc:docMk/>
            <pc:sldMk cId="4255054038" sldId="2147470873"/>
            <ac:spMk id="7" creationId="{1093EAAE-44F3-450B-A379-6CE924BFB99B}"/>
          </ac:spMkLst>
        </pc:spChg>
        <pc:spChg chg="del mod">
          <ac:chgData name="YUAN Huaxing" userId="680cda70-8f8f-41b8-bd50-03497d97776e" providerId="ADAL" clId="{A2A0405A-6B1F-4AFE-ADF4-06FBC564D530}" dt="2022-11-28T13:29:10.480" v="10479" actId="478"/>
          <ac:spMkLst>
            <pc:docMk/>
            <pc:sldMk cId="4255054038" sldId="2147470873"/>
            <ac:spMk id="7" creationId="{D6901771-42E5-4B63-A92E-AE15A79C9A59}"/>
          </ac:spMkLst>
        </pc:spChg>
        <pc:spChg chg="del mod">
          <ac:chgData name="YUAN Huaxing" userId="680cda70-8f8f-41b8-bd50-03497d97776e" providerId="ADAL" clId="{A2A0405A-6B1F-4AFE-ADF4-06FBC564D530}" dt="2022-11-28T13:29:11.920" v="10480" actId="478"/>
          <ac:spMkLst>
            <pc:docMk/>
            <pc:sldMk cId="4255054038" sldId="2147470873"/>
            <ac:spMk id="10" creationId="{0E410F99-D30D-4A64-99A0-BCF81EE439E4}"/>
          </ac:spMkLst>
        </pc:spChg>
        <pc:spChg chg="mod">
          <ac:chgData name="YUAN Huaxing" userId="680cda70-8f8f-41b8-bd50-03497d97776e" providerId="ADAL" clId="{A2A0405A-6B1F-4AFE-ADF4-06FBC564D530}" dt="2022-11-28T13:30:30.238" v="10495" actId="20577"/>
          <ac:spMkLst>
            <pc:docMk/>
            <pc:sldMk cId="4255054038" sldId="2147470873"/>
            <ac:spMk id="12" creationId="{26B6A31B-E339-4C0A-9166-FE8DDCB587A6}"/>
          </ac:spMkLst>
        </pc:spChg>
        <pc:spChg chg="mod">
          <ac:chgData name="YUAN Huaxing" userId="680cda70-8f8f-41b8-bd50-03497d97776e" providerId="ADAL" clId="{A2A0405A-6B1F-4AFE-ADF4-06FBC564D530}" dt="2022-11-28T13:30:37.617" v="10497" actId="20577"/>
          <ac:spMkLst>
            <pc:docMk/>
            <pc:sldMk cId="4255054038" sldId="2147470873"/>
            <ac:spMk id="13" creationId="{7A64F2A4-031C-4497-9AC3-863D05335C7C}"/>
          </ac:spMkLst>
        </pc:spChg>
        <pc:spChg chg="add mod">
          <ac:chgData name="YUAN Huaxing" userId="680cda70-8f8f-41b8-bd50-03497d97776e" providerId="ADAL" clId="{A2A0405A-6B1F-4AFE-ADF4-06FBC564D530}" dt="2022-11-25T15:19:13.702" v="6237"/>
          <ac:spMkLst>
            <pc:docMk/>
            <pc:sldMk cId="4255054038" sldId="2147470873"/>
            <ac:spMk id="21" creationId="{AD7EC900-0673-4231-9CB5-96513CBB161C}"/>
          </ac:spMkLst>
        </pc:spChg>
        <pc:spChg chg="add mod">
          <ac:chgData name="YUAN Huaxing" userId="680cda70-8f8f-41b8-bd50-03497d97776e" providerId="ADAL" clId="{A2A0405A-6B1F-4AFE-ADF4-06FBC564D530}" dt="2022-11-28T13:30:35.618" v="10496" actId="1076"/>
          <ac:spMkLst>
            <pc:docMk/>
            <pc:sldMk cId="4255054038" sldId="2147470873"/>
            <ac:spMk id="22" creationId="{32DD3A98-55FF-4896-9843-39C11997C55D}"/>
          </ac:spMkLst>
        </pc:spChg>
        <pc:spChg chg="add mod">
          <ac:chgData name="YUAN Huaxing" userId="680cda70-8f8f-41b8-bd50-03497d97776e" providerId="ADAL" clId="{A2A0405A-6B1F-4AFE-ADF4-06FBC564D530}" dt="2022-11-28T13:30:35.618" v="10496" actId="1076"/>
          <ac:spMkLst>
            <pc:docMk/>
            <pc:sldMk cId="4255054038" sldId="2147470873"/>
            <ac:spMk id="23" creationId="{E9B6E900-1343-45B8-8D46-FE263BBE8065}"/>
          </ac:spMkLst>
        </pc:spChg>
        <pc:spChg chg="add mod">
          <ac:chgData name="YUAN Huaxing" userId="680cda70-8f8f-41b8-bd50-03497d97776e" providerId="ADAL" clId="{A2A0405A-6B1F-4AFE-ADF4-06FBC564D530}" dt="2022-11-28T13:30:27.842" v="10494" actId="1076"/>
          <ac:spMkLst>
            <pc:docMk/>
            <pc:sldMk cId="4255054038" sldId="2147470873"/>
            <ac:spMk id="24" creationId="{5FEEAE62-CA8A-418F-A64C-0F2D55D911E1}"/>
          </ac:spMkLst>
        </pc:spChg>
        <pc:spChg chg="add mod">
          <ac:chgData name="YUAN Huaxing" userId="680cda70-8f8f-41b8-bd50-03497d97776e" providerId="ADAL" clId="{A2A0405A-6B1F-4AFE-ADF4-06FBC564D530}" dt="2022-11-28T13:30:27.842" v="10494" actId="1076"/>
          <ac:spMkLst>
            <pc:docMk/>
            <pc:sldMk cId="4255054038" sldId="2147470873"/>
            <ac:spMk id="25" creationId="{C47AED54-57D4-43D5-8ACA-9B7D81B8EBA8}"/>
          </ac:spMkLst>
        </pc:spChg>
        <pc:spChg chg="del mod">
          <ac:chgData name="YUAN Huaxing" userId="680cda70-8f8f-41b8-bd50-03497d97776e" providerId="ADAL" clId="{A2A0405A-6B1F-4AFE-ADF4-06FBC564D530}" dt="2022-11-28T13:29:07.315" v="10477" actId="478"/>
          <ac:spMkLst>
            <pc:docMk/>
            <pc:sldMk cId="4255054038" sldId="2147470873"/>
            <ac:spMk id="35" creationId="{368854BA-92F4-4456-BCC7-7EF68F9D834F}"/>
          </ac:spMkLst>
        </pc:spChg>
        <pc:spChg chg="del mod">
          <ac:chgData name="YUAN Huaxing" userId="680cda70-8f8f-41b8-bd50-03497d97776e" providerId="ADAL" clId="{A2A0405A-6B1F-4AFE-ADF4-06FBC564D530}" dt="2022-11-28T13:29:08.531" v="10478" actId="478"/>
          <ac:spMkLst>
            <pc:docMk/>
            <pc:sldMk cId="4255054038" sldId="2147470873"/>
            <ac:spMk id="36" creationId="{C51B04FD-9E8C-4DC4-B4B6-4A9171B3D778}"/>
          </ac:spMkLst>
        </pc:spChg>
        <pc:spChg chg="mod">
          <ac:chgData name="YUAN Huaxing" userId="680cda70-8f8f-41b8-bd50-03497d97776e" providerId="ADAL" clId="{A2A0405A-6B1F-4AFE-ADF4-06FBC564D530}" dt="2022-11-28T13:30:43.964" v="10498" actId="1076"/>
          <ac:spMkLst>
            <pc:docMk/>
            <pc:sldMk cId="4255054038" sldId="2147470873"/>
            <ac:spMk id="38" creationId="{1B70270F-C910-4FB9-AAA5-275A2EDC6FBC}"/>
          </ac:spMkLst>
        </pc:spChg>
        <pc:spChg chg="mod">
          <ac:chgData name="YUAN Huaxing" userId="680cda70-8f8f-41b8-bd50-03497d97776e" providerId="ADAL" clId="{A2A0405A-6B1F-4AFE-ADF4-06FBC564D530}" dt="2022-11-28T13:30:43.964" v="10498" actId="1076"/>
          <ac:spMkLst>
            <pc:docMk/>
            <pc:sldMk cId="4255054038" sldId="2147470873"/>
            <ac:spMk id="39" creationId="{A9F95946-F891-44B8-9FFC-47F7C64EBA7B}"/>
          </ac:spMkLst>
        </pc:spChg>
        <pc:spChg chg="mod">
          <ac:chgData name="YUAN Huaxing" userId="680cda70-8f8f-41b8-bd50-03497d97776e" providerId="ADAL" clId="{A2A0405A-6B1F-4AFE-ADF4-06FBC564D530}" dt="2022-11-28T13:30:22.107" v="10493" actId="20577"/>
          <ac:spMkLst>
            <pc:docMk/>
            <pc:sldMk cId="4255054038" sldId="2147470873"/>
            <ac:spMk id="40" creationId="{22D9AF0C-74BE-46EA-8FD1-E1F0074DFD30}"/>
          </ac:spMkLst>
        </pc:spChg>
        <pc:graphicFrameChg chg="modGraphic">
          <ac:chgData name="YUAN Huaxing" userId="680cda70-8f8f-41b8-bd50-03497d97776e" providerId="ADAL" clId="{A2A0405A-6B1F-4AFE-ADF4-06FBC564D530}" dt="2022-11-29T10:56:04.118" v="12133" actId="20577"/>
          <ac:graphicFrameMkLst>
            <pc:docMk/>
            <pc:sldMk cId="4255054038" sldId="2147470873"/>
            <ac:graphicFrameMk id="4" creationId="{C1375BA8-286D-4BD3-A31B-9DFF4D466EC6}"/>
          </ac:graphicFrameMkLst>
        </pc:graphicFrameChg>
      </pc:sldChg>
      <pc:sldChg chg="del">
        <pc:chgData name="YUAN Huaxing" userId="680cda70-8f8f-41b8-bd50-03497d97776e" providerId="ADAL" clId="{A2A0405A-6B1F-4AFE-ADF4-06FBC564D530}" dt="2022-11-25T16:15:33.093" v="9365" actId="47"/>
        <pc:sldMkLst>
          <pc:docMk/>
          <pc:sldMk cId="2004348967" sldId="2147470874"/>
        </pc:sldMkLst>
      </pc:sldChg>
      <pc:sldChg chg="addSp delSp modSp new mod modClrScheme chgLayout">
        <pc:chgData name="YUAN Huaxing" userId="680cda70-8f8f-41b8-bd50-03497d97776e" providerId="ADAL" clId="{A2A0405A-6B1F-4AFE-ADF4-06FBC564D530}" dt="2022-12-01T14:29:18.867" v="17183" actId="20577"/>
        <pc:sldMkLst>
          <pc:docMk/>
          <pc:sldMk cId="2268126563" sldId="2147470875"/>
        </pc:sldMkLst>
        <pc:spChg chg="add mod ord">
          <ac:chgData name="YUAN Huaxing" userId="680cda70-8f8f-41b8-bd50-03497d97776e" providerId="ADAL" clId="{A2A0405A-6B1F-4AFE-ADF4-06FBC564D530}" dt="2022-11-24T17:27:21.089" v="1148" actId="790"/>
          <ac:spMkLst>
            <pc:docMk/>
            <pc:sldMk cId="2268126563" sldId="2147470875"/>
            <ac:spMk id="2" creationId="{E331A372-68B9-4C35-89C6-F64ABA3BF21A}"/>
          </ac:spMkLst>
        </pc:spChg>
        <pc:spChg chg="add del mod ord">
          <ac:chgData name="YUAN Huaxing" userId="680cda70-8f8f-41b8-bd50-03497d97776e" providerId="ADAL" clId="{A2A0405A-6B1F-4AFE-ADF4-06FBC564D530}" dt="2022-11-24T17:24:11.577" v="1092" actId="700"/>
          <ac:spMkLst>
            <pc:docMk/>
            <pc:sldMk cId="2268126563" sldId="2147470875"/>
            <ac:spMk id="3" creationId="{8A9C9DD8-8067-4C95-B1DC-3888B9DAD9A2}"/>
          </ac:spMkLst>
        </pc:spChg>
        <pc:spChg chg="add mod ord">
          <ac:chgData name="YUAN Huaxing" userId="680cda70-8f8f-41b8-bd50-03497d97776e" providerId="ADAL" clId="{A2A0405A-6B1F-4AFE-ADF4-06FBC564D530}" dt="2022-12-01T14:29:18.867" v="17183" actId="20577"/>
          <ac:spMkLst>
            <pc:docMk/>
            <pc:sldMk cId="2268126563" sldId="2147470875"/>
            <ac:spMk id="4" creationId="{658DEB28-E8A9-42CB-B57B-B28731DD9304}"/>
          </ac:spMkLst>
        </pc:spChg>
        <pc:spChg chg="add mod ord">
          <ac:chgData name="YUAN Huaxing" userId="680cda70-8f8f-41b8-bd50-03497d97776e" providerId="ADAL" clId="{A2A0405A-6B1F-4AFE-ADF4-06FBC564D530}" dt="2022-11-24T17:27:21.089" v="1148" actId="790"/>
          <ac:spMkLst>
            <pc:docMk/>
            <pc:sldMk cId="2268126563" sldId="2147470875"/>
            <ac:spMk id="5" creationId="{D623F6F8-3DCC-4A55-9EF4-50C2DE4F6C48}"/>
          </ac:spMkLst>
        </pc:spChg>
      </pc:sldChg>
      <pc:sldChg chg="addSp modSp new mod setBg chgLayout">
        <pc:chgData name="YUAN Huaxing" userId="680cda70-8f8f-41b8-bd50-03497d97776e" providerId="ADAL" clId="{A2A0405A-6B1F-4AFE-ADF4-06FBC564D530}" dt="2022-11-29T15:57:47.837" v="14291" actId="12269"/>
        <pc:sldMkLst>
          <pc:docMk/>
          <pc:sldMk cId="1728893319" sldId="2147470876"/>
        </pc:sldMkLst>
        <pc:spChg chg="mod ord">
          <ac:chgData name="YUAN Huaxing" userId="680cda70-8f8f-41b8-bd50-03497d97776e" providerId="ADAL" clId="{A2A0405A-6B1F-4AFE-ADF4-06FBC564D530}" dt="2022-11-29T11:06:24.114" v="12890" actId="700"/>
          <ac:spMkLst>
            <pc:docMk/>
            <pc:sldMk cId="1728893319" sldId="2147470876"/>
            <ac:spMk id="2" creationId="{80DFCC74-A22C-4FF0-9ECA-9EF632A22690}"/>
          </ac:spMkLst>
        </pc:spChg>
        <pc:spChg chg="mod ord">
          <ac:chgData name="YUAN Huaxing" userId="680cda70-8f8f-41b8-bd50-03497d97776e" providerId="ADAL" clId="{A2A0405A-6B1F-4AFE-ADF4-06FBC564D530}" dt="2022-11-29T11:06:24.114" v="12890" actId="700"/>
          <ac:spMkLst>
            <pc:docMk/>
            <pc:sldMk cId="1728893319" sldId="2147470876"/>
            <ac:spMk id="3" creationId="{022AC73B-5D32-4F10-89D5-F4EE5BBE8C4B}"/>
          </ac:spMkLst>
        </pc:spChg>
        <pc:spChg chg="mod ord">
          <ac:chgData name="YUAN Huaxing" userId="680cda70-8f8f-41b8-bd50-03497d97776e" providerId="ADAL" clId="{A2A0405A-6B1F-4AFE-ADF4-06FBC564D530}" dt="2022-11-29T11:16:43.275" v="13417" actId="20577"/>
          <ac:spMkLst>
            <pc:docMk/>
            <pc:sldMk cId="1728893319" sldId="2147470876"/>
            <ac:spMk id="4" creationId="{608B9969-6075-4216-9F0F-2637BC8B1EFC}"/>
          </ac:spMkLst>
        </pc:spChg>
        <pc:spChg chg="mod ord">
          <ac:chgData name="YUAN Huaxing" userId="680cda70-8f8f-41b8-bd50-03497d97776e" providerId="ADAL" clId="{A2A0405A-6B1F-4AFE-ADF4-06FBC564D530}" dt="2022-11-29T11:06:24.114" v="12890" actId="700"/>
          <ac:spMkLst>
            <pc:docMk/>
            <pc:sldMk cId="1728893319" sldId="2147470876"/>
            <ac:spMk id="5" creationId="{BBF06FFF-625E-4677-9A30-717F30D45621}"/>
          </ac:spMkLst>
        </pc:spChg>
        <pc:spChg chg="mod ord">
          <ac:chgData name="YUAN Huaxing" userId="680cda70-8f8f-41b8-bd50-03497d97776e" providerId="ADAL" clId="{A2A0405A-6B1F-4AFE-ADF4-06FBC564D530}" dt="2022-11-29T11:06:24.114" v="12890" actId="700"/>
          <ac:spMkLst>
            <pc:docMk/>
            <pc:sldMk cId="1728893319" sldId="2147470876"/>
            <ac:spMk id="6" creationId="{77DE8886-EE79-4691-B3C5-04736A8CAF5E}"/>
          </ac:spMkLst>
        </pc:spChg>
        <pc:spChg chg="add mod">
          <ac:chgData name="YUAN Huaxing" userId="680cda70-8f8f-41b8-bd50-03497d97776e" providerId="ADAL" clId="{A2A0405A-6B1F-4AFE-ADF4-06FBC564D530}" dt="2022-11-25T15:18:58.431" v="6234" actId="13822"/>
          <ac:spMkLst>
            <pc:docMk/>
            <pc:sldMk cId="1728893319" sldId="2147470876"/>
            <ac:spMk id="8" creationId="{5A54F5EA-E936-40F1-A012-F3763766188E}"/>
          </ac:spMkLst>
        </pc:spChg>
        <pc:graphicFrameChg chg="add mod modGraphic">
          <ac:chgData name="YUAN Huaxing" userId="680cda70-8f8f-41b8-bd50-03497d97776e" providerId="ADAL" clId="{A2A0405A-6B1F-4AFE-ADF4-06FBC564D530}" dt="2022-11-29T15:57:47.837" v="14291" actId="12269"/>
          <ac:graphicFrameMkLst>
            <pc:docMk/>
            <pc:sldMk cId="1728893319" sldId="2147470876"/>
            <ac:graphicFrameMk id="7" creationId="{FC1242F6-099D-4226-8B6C-DABE46575A3D}"/>
          </ac:graphicFrameMkLst>
        </pc:graphicFrameChg>
      </pc:sldChg>
      <pc:sldChg chg="addSp delSp modSp new mod chgLayout">
        <pc:chgData name="YUAN Huaxing" userId="680cda70-8f8f-41b8-bd50-03497d97776e" providerId="ADAL" clId="{A2A0405A-6B1F-4AFE-ADF4-06FBC564D530}" dt="2022-12-05T15:13:06.411" v="21124" actId="1076"/>
        <pc:sldMkLst>
          <pc:docMk/>
          <pc:sldMk cId="1873259815" sldId="2147470877"/>
        </pc:sldMkLst>
        <pc:spChg chg="mod ord">
          <ac:chgData name="YUAN Huaxing" userId="680cda70-8f8f-41b8-bd50-03497d97776e" providerId="ADAL" clId="{A2A0405A-6B1F-4AFE-ADF4-06FBC564D530}" dt="2022-11-24T17:28:36.020" v="1223" actId="790"/>
          <ac:spMkLst>
            <pc:docMk/>
            <pc:sldMk cId="1873259815" sldId="2147470877"/>
            <ac:spMk id="2" creationId="{46DF1B18-8743-459C-8CFD-6AE2CCAE8A0F}"/>
          </ac:spMkLst>
        </pc:spChg>
        <pc:spChg chg="add mod">
          <ac:chgData name="YUAN Huaxing" userId="680cda70-8f8f-41b8-bd50-03497d97776e" providerId="ADAL" clId="{A2A0405A-6B1F-4AFE-ADF4-06FBC564D530}" dt="2022-11-29T10:41:50.452" v="11977" actId="20577"/>
          <ac:spMkLst>
            <pc:docMk/>
            <pc:sldMk cId="1873259815" sldId="2147470877"/>
            <ac:spMk id="3" creationId="{21B799F4-7DE2-46D0-BFC5-F4B2C2A8EFAC}"/>
          </ac:spMkLst>
        </pc:spChg>
        <pc:spChg chg="del mod ord">
          <ac:chgData name="YUAN Huaxing" userId="680cda70-8f8f-41b8-bd50-03497d97776e" providerId="ADAL" clId="{A2A0405A-6B1F-4AFE-ADF4-06FBC564D530}" dt="2022-11-24T17:19:28.752" v="1033" actId="700"/>
          <ac:spMkLst>
            <pc:docMk/>
            <pc:sldMk cId="1873259815" sldId="2147470877"/>
            <ac:spMk id="3" creationId="{F1F1DB9A-D8C6-4954-8345-682086B6EE72}"/>
          </ac:spMkLst>
        </pc:spChg>
        <pc:spChg chg="mod ord">
          <ac:chgData name="YUAN Huaxing" userId="680cda70-8f8f-41b8-bd50-03497d97776e" providerId="ADAL" clId="{A2A0405A-6B1F-4AFE-ADF4-06FBC564D530}" dt="2022-12-01T15:56:10.191" v="17675" actId="313"/>
          <ac:spMkLst>
            <pc:docMk/>
            <pc:sldMk cId="1873259815" sldId="2147470877"/>
            <ac:spMk id="4" creationId="{43B5A7BD-02B1-44E7-8493-F411A8BD3EC9}"/>
          </ac:spMkLst>
        </pc:spChg>
        <pc:spChg chg="mod ord">
          <ac:chgData name="YUAN Huaxing" userId="680cda70-8f8f-41b8-bd50-03497d97776e" providerId="ADAL" clId="{A2A0405A-6B1F-4AFE-ADF4-06FBC564D530}" dt="2022-11-24T17:28:36.020" v="1223" actId="790"/>
          <ac:spMkLst>
            <pc:docMk/>
            <pc:sldMk cId="1873259815" sldId="2147470877"/>
            <ac:spMk id="5" creationId="{EB2E7E80-0D4A-44AF-B80B-B4ED7A5BF9CE}"/>
          </ac:spMkLst>
        </pc:spChg>
        <pc:spChg chg="mod ord">
          <ac:chgData name="YUAN Huaxing" userId="680cda70-8f8f-41b8-bd50-03497d97776e" providerId="ADAL" clId="{A2A0405A-6B1F-4AFE-ADF4-06FBC564D530}" dt="2022-11-24T17:28:36.020" v="1223" actId="790"/>
          <ac:spMkLst>
            <pc:docMk/>
            <pc:sldMk cId="1873259815" sldId="2147470877"/>
            <ac:spMk id="6" creationId="{9E05C1BD-F2B1-448C-AF97-A36510878222}"/>
          </ac:spMkLst>
        </pc:spChg>
        <pc:spChg chg="add mod ord">
          <ac:chgData name="YUAN Huaxing" userId="680cda70-8f8f-41b8-bd50-03497d97776e" providerId="ADAL" clId="{A2A0405A-6B1F-4AFE-ADF4-06FBC564D530}" dt="2022-12-05T15:13:06.411" v="21124" actId="1076"/>
          <ac:spMkLst>
            <pc:docMk/>
            <pc:sldMk cId="1873259815" sldId="2147470877"/>
            <ac:spMk id="7" creationId="{EC98C74B-3E12-46C3-B364-F6EF006DFE45}"/>
          </ac:spMkLst>
        </pc:spChg>
      </pc:sldChg>
      <pc:sldChg chg="addSp delSp modSp new mod setBg chgLayout">
        <pc:chgData name="YUAN Huaxing" userId="680cda70-8f8f-41b8-bd50-03497d97776e" providerId="ADAL" clId="{A2A0405A-6B1F-4AFE-ADF4-06FBC564D530}" dt="2022-12-01T13:41:53.448" v="16056" actId="20577"/>
        <pc:sldMkLst>
          <pc:docMk/>
          <pc:sldMk cId="2831867188" sldId="2147470878"/>
        </pc:sldMkLst>
        <pc:spChg chg="mod ord">
          <ac:chgData name="YUAN Huaxing" userId="680cda70-8f8f-41b8-bd50-03497d97776e" providerId="ADAL" clId="{A2A0405A-6B1F-4AFE-ADF4-06FBC564D530}" dt="2022-12-01T13:41:53.448" v="16056" actId="20577"/>
          <ac:spMkLst>
            <pc:docMk/>
            <pc:sldMk cId="2831867188" sldId="2147470878"/>
            <ac:spMk id="2" creationId="{211B5C40-23A7-4240-B895-F3E6AAF775F8}"/>
          </ac:spMkLst>
        </pc:spChg>
        <pc:spChg chg="mod ord">
          <ac:chgData name="YUAN Huaxing" userId="680cda70-8f8f-41b8-bd50-03497d97776e" providerId="ADAL" clId="{A2A0405A-6B1F-4AFE-ADF4-06FBC564D530}" dt="2022-11-29T11:06:24.114" v="12890" actId="700"/>
          <ac:spMkLst>
            <pc:docMk/>
            <pc:sldMk cId="2831867188" sldId="2147470878"/>
            <ac:spMk id="3" creationId="{2A2447AE-3460-4681-9C32-75C129FD6521}"/>
          </ac:spMkLst>
        </pc:spChg>
        <pc:spChg chg="del">
          <ac:chgData name="YUAN Huaxing" userId="680cda70-8f8f-41b8-bd50-03497d97776e" providerId="ADAL" clId="{A2A0405A-6B1F-4AFE-ADF4-06FBC564D530}" dt="2022-11-25T10:03:03.563" v="2698" actId="3680"/>
          <ac:spMkLst>
            <pc:docMk/>
            <pc:sldMk cId="2831867188" sldId="2147470878"/>
            <ac:spMk id="4" creationId="{EC2982B8-91C8-4C86-BFBE-03D9AD1BC83B}"/>
          </ac:spMkLst>
        </pc:spChg>
        <pc:spChg chg="mod ord">
          <ac:chgData name="YUAN Huaxing" userId="680cda70-8f8f-41b8-bd50-03497d97776e" providerId="ADAL" clId="{A2A0405A-6B1F-4AFE-ADF4-06FBC564D530}" dt="2022-11-29T11:06:24.114" v="12890" actId="700"/>
          <ac:spMkLst>
            <pc:docMk/>
            <pc:sldMk cId="2831867188" sldId="2147470878"/>
            <ac:spMk id="5" creationId="{53EDD76C-83DA-4A4E-A32F-7CBAFA674DDA}"/>
          </ac:spMkLst>
        </pc:spChg>
        <pc:spChg chg="mod ord">
          <ac:chgData name="YUAN Huaxing" userId="680cda70-8f8f-41b8-bd50-03497d97776e" providerId="ADAL" clId="{A2A0405A-6B1F-4AFE-ADF4-06FBC564D530}" dt="2022-11-29T11:06:24.114" v="12890" actId="700"/>
          <ac:spMkLst>
            <pc:docMk/>
            <pc:sldMk cId="2831867188" sldId="2147470878"/>
            <ac:spMk id="6" creationId="{D7E4B1E8-AAFE-4971-B0FE-88762DCEBFC6}"/>
          </ac:spMkLst>
        </pc:spChg>
        <pc:spChg chg="add del mod">
          <ac:chgData name="YUAN Huaxing" userId="680cda70-8f8f-41b8-bd50-03497d97776e" providerId="ADAL" clId="{A2A0405A-6B1F-4AFE-ADF4-06FBC564D530}" dt="2022-11-25T14:22:52.554" v="4492" actId="478"/>
          <ac:spMkLst>
            <pc:docMk/>
            <pc:sldMk cId="2831867188" sldId="2147470878"/>
            <ac:spMk id="8" creationId="{76525733-677A-48D4-B458-F8FE6A59EFED}"/>
          </ac:spMkLst>
        </pc:spChg>
        <pc:spChg chg="add mod ord">
          <ac:chgData name="YUAN Huaxing" userId="680cda70-8f8f-41b8-bd50-03497d97776e" providerId="ADAL" clId="{A2A0405A-6B1F-4AFE-ADF4-06FBC564D530}" dt="2022-11-29T16:03:24.030" v="14524" actId="20577"/>
          <ac:spMkLst>
            <pc:docMk/>
            <pc:sldMk cId="2831867188" sldId="2147470878"/>
            <ac:spMk id="10" creationId="{3082DF56-5EEB-4571-8A6D-0247D9D1CD76}"/>
          </ac:spMkLst>
        </pc:spChg>
        <pc:spChg chg="add mod">
          <ac:chgData name="YUAN Huaxing" userId="680cda70-8f8f-41b8-bd50-03497d97776e" providerId="ADAL" clId="{A2A0405A-6B1F-4AFE-ADF4-06FBC564D530}" dt="2022-11-25T15:19:04.219" v="6235" actId="13822"/>
          <ac:spMkLst>
            <pc:docMk/>
            <pc:sldMk cId="2831867188" sldId="2147470878"/>
            <ac:spMk id="11" creationId="{707F8558-9D12-433E-B903-770C59F6D32A}"/>
          </ac:spMkLst>
        </pc:spChg>
        <pc:graphicFrameChg chg="add del mod ord modGraphic">
          <ac:chgData name="YUAN Huaxing" userId="680cda70-8f8f-41b8-bd50-03497d97776e" providerId="ADAL" clId="{A2A0405A-6B1F-4AFE-ADF4-06FBC564D530}" dt="2022-11-25T14:22:32.518" v="4486" actId="21"/>
          <ac:graphicFrameMkLst>
            <pc:docMk/>
            <pc:sldMk cId="2831867188" sldId="2147470878"/>
            <ac:graphicFrameMk id="7" creationId="{A8414144-576B-4DF8-A01C-79F9D92C42F9}"/>
          </ac:graphicFrameMkLst>
        </pc:graphicFrameChg>
      </pc:sldChg>
      <pc:sldChg chg="addSp delSp modSp new del mod">
        <pc:chgData name="YUAN Huaxing" userId="680cda70-8f8f-41b8-bd50-03497d97776e" providerId="ADAL" clId="{A2A0405A-6B1F-4AFE-ADF4-06FBC564D530}" dt="2022-11-25T14:41:49.523" v="5418" actId="47"/>
        <pc:sldMkLst>
          <pc:docMk/>
          <pc:sldMk cId="2061009745" sldId="2147470879"/>
        </pc:sldMkLst>
        <pc:spChg chg="mod">
          <ac:chgData name="YUAN Huaxing" userId="680cda70-8f8f-41b8-bd50-03497d97776e" providerId="ADAL" clId="{A2A0405A-6B1F-4AFE-ADF4-06FBC564D530}" dt="2022-11-25T14:11:40.230" v="4451" actId="14100"/>
          <ac:spMkLst>
            <pc:docMk/>
            <pc:sldMk cId="2061009745" sldId="2147470879"/>
            <ac:spMk id="2" creationId="{A27EB3C9-AF83-4EBB-B26D-AEB5DF69F1B6}"/>
          </ac:spMkLst>
        </pc:spChg>
        <pc:spChg chg="mod">
          <ac:chgData name="YUAN Huaxing" userId="680cda70-8f8f-41b8-bd50-03497d97776e" providerId="ADAL" clId="{A2A0405A-6B1F-4AFE-ADF4-06FBC564D530}" dt="2022-11-25T14:22:09.321" v="4485" actId="20577"/>
          <ac:spMkLst>
            <pc:docMk/>
            <pc:sldMk cId="2061009745" sldId="2147470879"/>
            <ac:spMk id="3" creationId="{D97F6DE4-F654-4ABB-B7FE-5DB4DCED5769}"/>
          </ac:spMkLst>
        </pc:spChg>
        <pc:spChg chg="del">
          <ac:chgData name="YUAN Huaxing" userId="680cda70-8f8f-41b8-bd50-03497d97776e" providerId="ADAL" clId="{A2A0405A-6B1F-4AFE-ADF4-06FBC564D530}" dt="2022-11-25T14:11:09.311" v="4448" actId="478"/>
          <ac:spMkLst>
            <pc:docMk/>
            <pc:sldMk cId="2061009745" sldId="2147470879"/>
            <ac:spMk id="4" creationId="{B611BAA7-CD80-43A3-BC72-39D58DFDD6A6}"/>
          </ac:spMkLst>
        </pc:spChg>
        <pc:spChg chg="mod">
          <ac:chgData name="YUAN Huaxing" userId="680cda70-8f8f-41b8-bd50-03497d97776e" providerId="ADAL" clId="{A2A0405A-6B1F-4AFE-ADF4-06FBC564D530}" dt="2022-11-25T14:11:46.306" v="4452" actId="14100"/>
          <ac:spMkLst>
            <pc:docMk/>
            <pc:sldMk cId="2061009745" sldId="2147470879"/>
            <ac:spMk id="5" creationId="{F48858C5-1339-4D77-84A4-CD49722EB5D1}"/>
          </ac:spMkLst>
        </pc:spChg>
        <pc:spChg chg="mod">
          <ac:chgData name="YUAN Huaxing" userId="680cda70-8f8f-41b8-bd50-03497d97776e" providerId="ADAL" clId="{A2A0405A-6B1F-4AFE-ADF4-06FBC564D530}" dt="2022-11-25T14:11:46.306" v="4452" actId="14100"/>
          <ac:spMkLst>
            <pc:docMk/>
            <pc:sldMk cId="2061009745" sldId="2147470879"/>
            <ac:spMk id="6" creationId="{AE04CA82-AEF6-43E0-82DB-928C6A201963}"/>
          </ac:spMkLst>
        </pc:spChg>
        <pc:spChg chg="add del mod">
          <ac:chgData name="YUAN Huaxing" userId="680cda70-8f8f-41b8-bd50-03497d97776e" providerId="ADAL" clId="{A2A0405A-6B1F-4AFE-ADF4-06FBC564D530}" dt="2022-11-25T14:36:46.698" v="5377" actId="478"/>
          <ac:spMkLst>
            <pc:docMk/>
            <pc:sldMk cId="2061009745" sldId="2147470879"/>
            <ac:spMk id="7" creationId="{2A096300-F837-4AA7-A914-56A58A559372}"/>
          </ac:spMkLst>
        </pc:spChg>
        <pc:spChg chg="add del mod">
          <ac:chgData name="YUAN Huaxing" userId="680cda70-8f8f-41b8-bd50-03497d97776e" providerId="ADAL" clId="{A2A0405A-6B1F-4AFE-ADF4-06FBC564D530}" dt="2022-11-25T14:36:38.744" v="5373" actId="478"/>
          <ac:spMkLst>
            <pc:docMk/>
            <pc:sldMk cId="2061009745" sldId="2147470879"/>
            <ac:spMk id="9" creationId="{B86B3F5A-49FB-45A6-8E90-3448EA77B307}"/>
          </ac:spMkLst>
        </pc:spChg>
        <pc:spChg chg="add del mod">
          <ac:chgData name="YUAN Huaxing" userId="680cda70-8f8f-41b8-bd50-03497d97776e" providerId="ADAL" clId="{A2A0405A-6B1F-4AFE-ADF4-06FBC564D530}" dt="2022-11-25T14:36:37.185" v="5372" actId="478"/>
          <ac:spMkLst>
            <pc:docMk/>
            <pc:sldMk cId="2061009745" sldId="2147470879"/>
            <ac:spMk id="10" creationId="{6E15884D-C6AE-407C-BA45-89A2CCED9964}"/>
          </ac:spMkLst>
        </pc:spChg>
        <pc:spChg chg="add del mod">
          <ac:chgData name="YUAN Huaxing" userId="680cda70-8f8f-41b8-bd50-03497d97776e" providerId="ADAL" clId="{A2A0405A-6B1F-4AFE-ADF4-06FBC564D530}" dt="2022-11-25T14:36:46.698" v="5377" actId="478"/>
          <ac:spMkLst>
            <pc:docMk/>
            <pc:sldMk cId="2061009745" sldId="2147470879"/>
            <ac:spMk id="11" creationId="{EC81916B-C256-442B-AD7C-150E545CF48A}"/>
          </ac:spMkLst>
        </pc:spChg>
        <pc:spChg chg="add del mod">
          <ac:chgData name="YUAN Huaxing" userId="680cda70-8f8f-41b8-bd50-03497d97776e" providerId="ADAL" clId="{A2A0405A-6B1F-4AFE-ADF4-06FBC564D530}" dt="2022-11-25T14:36:46.698" v="5377" actId="478"/>
          <ac:spMkLst>
            <pc:docMk/>
            <pc:sldMk cId="2061009745" sldId="2147470879"/>
            <ac:spMk id="12" creationId="{4B783E83-2F1D-45F9-9A53-4399CED7AA61}"/>
          </ac:spMkLst>
        </pc:spChg>
        <pc:spChg chg="add del mod">
          <ac:chgData name="YUAN Huaxing" userId="680cda70-8f8f-41b8-bd50-03497d97776e" providerId="ADAL" clId="{A2A0405A-6B1F-4AFE-ADF4-06FBC564D530}" dt="2022-11-25T14:36:33.482" v="5370" actId="478"/>
          <ac:spMkLst>
            <pc:docMk/>
            <pc:sldMk cId="2061009745" sldId="2147470879"/>
            <ac:spMk id="19" creationId="{B319A558-2631-42B7-8371-BF59EEB0DEAF}"/>
          </ac:spMkLst>
        </pc:spChg>
        <pc:spChg chg="add del mod">
          <ac:chgData name="YUAN Huaxing" userId="680cda70-8f8f-41b8-bd50-03497d97776e" providerId="ADAL" clId="{A2A0405A-6B1F-4AFE-ADF4-06FBC564D530}" dt="2022-11-25T14:36:35.084" v="5371" actId="478"/>
          <ac:spMkLst>
            <pc:docMk/>
            <pc:sldMk cId="2061009745" sldId="2147470879"/>
            <ac:spMk id="20" creationId="{DC7BB7F6-0A5E-4806-804C-325D8741FBDE}"/>
          </ac:spMkLst>
        </pc:spChg>
        <pc:spChg chg="add del mod">
          <ac:chgData name="YUAN Huaxing" userId="680cda70-8f8f-41b8-bd50-03497d97776e" providerId="ADAL" clId="{A2A0405A-6B1F-4AFE-ADF4-06FBC564D530}" dt="2022-11-25T14:36:41.239" v="5374" actId="478"/>
          <ac:spMkLst>
            <pc:docMk/>
            <pc:sldMk cId="2061009745" sldId="2147470879"/>
            <ac:spMk id="21" creationId="{7F38B5CE-2CCA-4ED5-83B3-342950C08823}"/>
          </ac:spMkLst>
        </pc:spChg>
        <pc:spChg chg="add del mod">
          <ac:chgData name="YUAN Huaxing" userId="680cda70-8f8f-41b8-bd50-03497d97776e" providerId="ADAL" clId="{A2A0405A-6B1F-4AFE-ADF4-06FBC564D530}" dt="2022-11-25T14:36:43.114" v="5375" actId="478"/>
          <ac:spMkLst>
            <pc:docMk/>
            <pc:sldMk cId="2061009745" sldId="2147470879"/>
            <ac:spMk id="22" creationId="{52544734-082C-4847-BE4B-A8EB076E6C4B}"/>
          </ac:spMkLst>
        </pc:spChg>
        <pc:spChg chg="add mod">
          <ac:chgData name="YUAN Huaxing" userId="680cda70-8f8f-41b8-bd50-03497d97776e" providerId="ADAL" clId="{A2A0405A-6B1F-4AFE-ADF4-06FBC564D530}" dt="2022-11-25T14:38:25.035" v="5395" actId="1076"/>
          <ac:spMkLst>
            <pc:docMk/>
            <pc:sldMk cId="2061009745" sldId="2147470879"/>
            <ac:spMk id="25" creationId="{9C7E6967-B41E-457D-BDB6-55CCEF58E29D}"/>
          </ac:spMkLst>
        </pc:spChg>
        <pc:spChg chg="add mod">
          <ac:chgData name="YUAN Huaxing" userId="680cda70-8f8f-41b8-bd50-03497d97776e" providerId="ADAL" clId="{A2A0405A-6B1F-4AFE-ADF4-06FBC564D530}" dt="2022-11-25T14:38:25.035" v="5395" actId="1076"/>
          <ac:spMkLst>
            <pc:docMk/>
            <pc:sldMk cId="2061009745" sldId="2147470879"/>
            <ac:spMk id="26" creationId="{5AF1051D-A747-4D6E-84FA-BAFCD27E39F7}"/>
          </ac:spMkLst>
        </pc:spChg>
        <pc:spChg chg="add mod">
          <ac:chgData name="YUAN Huaxing" userId="680cda70-8f8f-41b8-bd50-03497d97776e" providerId="ADAL" clId="{A2A0405A-6B1F-4AFE-ADF4-06FBC564D530}" dt="2022-11-25T14:38:25.035" v="5395" actId="1076"/>
          <ac:spMkLst>
            <pc:docMk/>
            <pc:sldMk cId="2061009745" sldId="2147470879"/>
            <ac:spMk id="27" creationId="{6CEA5072-B6D9-431E-BDE1-C2204BA0D4C3}"/>
          </ac:spMkLst>
        </pc:spChg>
        <pc:spChg chg="add mod">
          <ac:chgData name="YUAN Huaxing" userId="680cda70-8f8f-41b8-bd50-03497d97776e" providerId="ADAL" clId="{A2A0405A-6B1F-4AFE-ADF4-06FBC564D530}" dt="2022-11-25T14:38:25.035" v="5395" actId="1076"/>
          <ac:spMkLst>
            <pc:docMk/>
            <pc:sldMk cId="2061009745" sldId="2147470879"/>
            <ac:spMk id="28" creationId="{4D158BF9-56E8-43D6-A863-3728E08F5EF0}"/>
          </ac:spMkLst>
        </pc:spChg>
        <pc:spChg chg="add mod">
          <ac:chgData name="YUAN Huaxing" userId="680cda70-8f8f-41b8-bd50-03497d97776e" providerId="ADAL" clId="{A2A0405A-6B1F-4AFE-ADF4-06FBC564D530}" dt="2022-11-25T14:38:25.035" v="5395" actId="1076"/>
          <ac:spMkLst>
            <pc:docMk/>
            <pc:sldMk cId="2061009745" sldId="2147470879"/>
            <ac:spMk id="29" creationId="{69D150FF-905E-41A3-937E-296F9B6206F5}"/>
          </ac:spMkLst>
        </pc:spChg>
        <pc:spChg chg="add mod">
          <ac:chgData name="YUAN Huaxing" userId="680cda70-8f8f-41b8-bd50-03497d97776e" providerId="ADAL" clId="{A2A0405A-6B1F-4AFE-ADF4-06FBC564D530}" dt="2022-11-25T14:38:25.035" v="5395" actId="1076"/>
          <ac:spMkLst>
            <pc:docMk/>
            <pc:sldMk cId="2061009745" sldId="2147470879"/>
            <ac:spMk id="30" creationId="{2B16CF85-6A9E-4845-904E-3E8EF9732ECC}"/>
          </ac:spMkLst>
        </pc:spChg>
        <pc:spChg chg="add mod">
          <ac:chgData name="YUAN Huaxing" userId="680cda70-8f8f-41b8-bd50-03497d97776e" providerId="ADAL" clId="{A2A0405A-6B1F-4AFE-ADF4-06FBC564D530}" dt="2022-11-25T14:38:25.035" v="5395" actId="1076"/>
          <ac:spMkLst>
            <pc:docMk/>
            <pc:sldMk cId="2061009745" sldId="2147470879"/>
            <ac:spMk id="31" creationId="{68E4E11A-1648-48AC-8110-738A7BD51697}"/>
          </ac:spMkLst>
        </pc:spChg>
        <pc:spChg chg="add del mod">
          <ac:chgData name="YUAN Huaxing" userId="680cda70-8f8f-41b8-bd50-03497d97776e" providerId="ADAL" clId="{A2A0405A-6B1F-4AFE-ADF4-06FBC564D530}" dt="2022-11-25T14:38:25.035" v="5395" actId="1076"/>
          <ac:spMkLst>
            <pc:docMk/>
            <pc:sldMk cId="2061009745" sldId="2147470879"/>
            <ac:spMk id="32" creationId="{85F46B9E-AB79-44A8-B1E3-3342B87A9BE1}"/>
          </ac:spMkLst>
        </pc:spChg>
        <pc:spChg chg="add mod">
          <ac:chgData name="YUAN Huaxing" userId="680cda70-8f8f-41b8-bd50-03497d97776e" providerId="ADAL" clId="{A2A0405A-6B1F-4AFE-ADF4-06FBC564D530}" dt="2022-11-25T14:38:25.035" v="5395" actId="1076"/>
          <ac:spMkLst>
            <pc:docMk/>
            <pc:sldMk cId="2061009745" sldId="2147470879"/>
            <ac:spMk id="33" creationId="{C498C0C7-1316-4B0E-A286-541E1FB35A72}"/>
          </ac:spMkLst>
        </pc:spChg>
        <pc:spChg chg="add del">
          <ac:chgData name="YUAN Huaxing" userId="680cda70-8f8f-41b8-bd50-03497d97776e" providerId="ADAL" clId="{A2A0405A-6B1F-4AFE-ADF4-06FBC564D530}" dt="2022-11-25T14:38:17.122" v="5392" actId="22"/>
          <ac:spMkLst>
            <pc:docMk/>
            <pc:sldMk cId="2061009745" sldId="2147470879"/>
            <ac:spMk id="35" creationId="{E3D0B7CE-A4EB-4652-AB93-FEA4C2707DC3}"/>
          </ac:spMkLst>
        </pc:spChg>
        <pc:grpChg chg="add del mod">
          <ac:chgData name="YUAN Huaxing" userId="680cda70-8f8f-41b8-bd50-03497d97776e" providerId="ADAL" clId="{A2A0405A-6B1F-4AFE-ADF4-06FBC564D530}" dt="2022-11-25T14:38:28.192" v="5396" actId="478"/>
          <ac:grpSpMkLst>
            <pc:docMk/>
            <pc:sldMk cId="2061009745" sldId="2147470879"/>
            <ac:grpSpMk id="13" creationId="{2990353A-96E7-4DE6-9091-36C0A4210938}"/>
          </ac:grpSpMkLst>
        </pc:grpChg>
        <pc:graphicFrameChg chg="add mod modGraphic">
          <ac:chgData name="YUAN Huaxing" userId="680cda70-8f8f-41b8-bd50-03497d97776e" providerId="ADAL" clId="{A2A0405A-6B1F-4AFE-ADF4-06FBC564D530}" dt="2022-11-25T14:38:31.675" v="5397" actId="14100"/>
          <ac:graphicFrameMkLst>
            <pc:docMk/>
            <pc:sldMk cId="2061009745" sldId="2147470879"/>
            <ac:graphicFrameMk id="8" creationId="{763C940A-32B6-459C-BED7-B3496DDCCCDB}"/>
          </ac:graphicFrameMkLst>
        </pc:graphicFrameChg>
        <pc:graphicFrameChg chg="add del mod">
          <ac:chgData name="YUAN Huaxing" userId="680cda70-8f8f-41b8-bd50-03497d97776e" providerId="ADAL" clId="{A2A0405A-6B1F-4AFE-ADF4-06FBC564D530}" dt="2022-11-25T14:12:06.207" v="4455" actId="478"/>
          <ac:graphicFrameMkLst>
            <pc:docMk/>
            <pc:sldMk cId="2061009745" sldId="2147470879"/>
            <ac:graphicFrameMk id="23" creationId="{FD5BD918-6B5B-4B57-866D-0DFDE469F61E}"/>
          </ac:graphicFrameMkLst>
        </pc:graphicFrameChg>
        <pc:graphicFrameChg chg="add del mod">
          <ac:chgData name="YUAN Huaxing" userId="680cda70-8f8f-41b8-bd50-03497d97776e" providerId="ADAL" clId="{A2A0405A-6B1F-4AFE-ADF4-06FBC564D530}" dt="2022-11-25T14:11:56.791" v="4453" actId="478"/>
          <ac:graphicFrameMkLst>
            <pc:docMk/>
            <pc:sldMk cId="2061009745" sldId="2147470879"/>
            <ac:graphicFrameMk id="24" creationId="{9A31E063-228F-4C3F-8B0D-1BCA938FAB6F}"/>
          </ac:graphicFrameMkLst>
        </pc:graphicFrameChg>
        <pc:picChg chg="mod">
          <ac:chgData name="YUAN Huaxing" userId="680cda70-8f8f-41b8-bd50-03497d97776e" providerId="ADAL" clId="{A2A0405A-6B1F-4AFE-ADF4-06FBC564D530}" dt="2022-11-25T14:11:20.797" v="4449"/>
          <ac:picMkLst>
            <pc:docMk/>
            <pc:sldMk cId="2061009745" sldId="2147470879"/>
            <ac:picMk id="14" creationId="{96AC9A9F-4ED3-4421-9350-09369935886B}"/>
          </ac:picMkLst>
        </pc:picChg>
        <pc:picChg chg="mod">
          <ac:chgData name="YUAN Huaxing" userId="680cda70-8f8f-41b8-bd50-03497d97776e" providerId="ADAL" clId="{A2A0405A-6B1F-4AFE-ADF4-06FBC564D530}" dt="2022-11-25T14:11:20.797" v="4449"/>
          <ac:picMkLst>
            <pc:docMk/>
            <pc:sldMk cId="2061009745" sldId="2147470879"/>
            <ac:picMk id="15" creationId="{89E84A75-808D-43F3-8CBB-4F8F4324D81E}"/>
          </ac:picMkLst>
        </pc:picChg>
        <pc:cxnChg chg="mod">
          <ac:chgData name="YUAN Huaxing" userId="680cda70-8f8f-41b8-bd50-03497d97776e" providerId="ADAL" clId="{A2A0405A-6B1F-4AFE-ADF4-06FBC564D530}" dt="2022-11-25T14:11:20.797" v="4449"/>
          <ac:cxnSpMkLst>
            <pc:docMk/>
            <pc:sldMk cId="2061009745" sldId="2147470879"/>
            <ac:cxnSpMk id="16" creationId="{A23B7A64-6FCC-43F1-BF89-3F48DD5C118C}"/>
          </ac:cxnSpMkLst>
        </pc:cxnChg>
        <pc:cxnChg chg="mod">
          <ac:chgData name="YUAN Huaxing" userId="680cda70-8f8f-41b8-bd50-03497d97776e" providerId="ADAL" clId="{A2A0405A-6B1F-4AFE-ADF4-06FBC564D530}" dt="2022-11-25T14:11:20.797" v="4449"/>
          <ac:cxnSpMkLst>
            <pc:docMk/>
            <pc:sldMk cId="2061009745" sldId="2147470879"/>
            <ac:cxnSpMk id="17" creationId="{D0081D54-AE2C-40A7-9CC9-B666D602F858}"/>
          </ac:cxnSpMkLst>
        </pc:cxnChg>
        <pc:cxnChg chg="mod">
          <ac:chgData name="YUAN Huaxing" userId="680cda70-8f8f-41b8-bd50-03497d97776e" providerId="ADAL" clId="{A2A0405A-6B1F-4AFE-ADF4-06FBC564D530}" dt="2022-11-25T14:11:20.797" v="4449"/>
          <ac:cxnSpMkLst>
            <pc:docMk/>
            <pc:sldMk cId="2061009745" sldId="2147470879"/>
            <ac:cxnSpMk id="18" creationId="{E5049F31-519C-459E-81C4-7AE38601C826}"/>
          </ac:cxnSpMkLst>
        </pc:cxnChg>
      </pc:sldChg>
      <pc:sldChg chg="addSp delSp modSp new mod setBg chgLayout">
        <pc:chgData name="YUAN Huaxing" userId="680cda70-8f8f-41b8-bd50-03497d97776e" providerId="ADAL" clId="{A2A0405A-6B1F-4AFE-ADF4-06FBC564D530}" dt="2022-12-01T11:01:35.536" v="15967" actId="404"/>
        <pc:sldMkLst>
          <pc:docMk/>
          <pc:sldMk cId="3711128851" sldId="2147470880"/>
        </pc:sldMkLst>
        <pc:spChg chg="mod ord">
          <ac:chgData name="YUAN Huaxing" userId="680cda70-8f8f-41b8-bd50-03497d97776e" providerId="ADAL" clId="{A2A0405A-6B1F-4AFE-ADF4-06FBC564D530}" dt="2022-11-29T11:06:24.114" v="12890" actId="700"/>
          <ac:spMkLst>
            <pc:docMk/>
            <pc:sldMk cId="3711128851" sldId="2147470880"/>
            <ac:spMk id="2" creationId="{A290AFE0-0993-470C-B43F-41AFFF87E4E5}"/>
          </ac:spMkLst>
        </pc:spChg>
        <pc:spChg chg="mod ord">
          <ac:chgData name="YUAN Huaxing" userId="680cda70-8f8f-41b8-bd50-03497d97776e" providerId="ADAL" clId="{A2A0405A-6B1F-4AFE-ADF4-06FBC564D530}" dt="2022-11-29T11:06:24.114" v="12890" actId="700"/>
          <ac:spMkLst>
            <pc:docMk/>
            <pc:sldMk cId="3711128851" sldId="2147470880"/>
            <ac:spMk id="3" creationId="{96DB8F50-9AB5-4150-9684-A33B3C0A0F12}"/>
          </ac:spMkLst>
        </pc:spChg>
        <pc:spChg chg="del">
          <ac:chgData name="YUAN Huaxing" userId="680cda70-8f8f-41b8-bd50-03497d97776e" providerId="ADAL" clId="{A2A0405A-6B1F-4AFE-ADF4-06FBC564D530}" dt="2022-11-25T14:22:41.447" v="4488"/>
          <ac:spMkLst>
            <pc:docMk/>
            <pc:sldMk cId="3711128851" sldId="2147470880"/>
            <ac:spMk id="4" creationId="{1F8E08BF-B0EF-47EA-BA44-D79C45343AAF}"/>
          </ac:spMkLst>
        </pc:spChg>
        <pc:spChg chg="mod ord">
          <ac:chgData name="YUAN Huaxing" userId="680cda70-8f8f-41b8-bd50-03497d97776e" providerId="ADAL" clId="{A2A0405A-6B1F-4AFE-ADF4-06FBC564D530}" dt="2022-11-29T11:06:24.114" v="12890" actId="700"/>
          <ac:spMkLst>
            <pc:docMk/>
            <pc:sldMk cId="3711128851" sldId="2147470880"/>
            <ac:spMk id="5" creationId="{584CABF6-FD4F-4642-9528-98DEF7CB2D75}"/>
          </ac:spMkLst>
        </pc:spChg>
        <pc:spChg chg="mod ord">
          <ac:chgData name="YUAN Huaxing" userId="680cda70-8f8f-41b8-bd50-03497d97776e" providerId="ADAL" clId="{A2A0405A-6B1F-4AFE-ADF4-06FBC564D530}" dt="2022-11-29T11:06:24.114" v="12890" actId="700"/>
          <ac:spMkLst>
            <pc:docMk/>
            <pc:sldMk cId="3711128851" sldId="2147470880"/>
            <ac:spMk id="6" creationId="{E185E1C1-5CB7-4C5A-97CC-B0BF95BB9FC3}"/>
          </ac:spMkLst>
        </pc:spChg>
        <pc:spChg chg="add mod">
          <ac:chgData name="YUAN Huaxing" userId="680cda70-8f8f-41b8-bd50-03497d97776e" providerId="ADAL" clId="{A2A0405A-6B1F-4AFE-ADF4-06FBC564D530}" dt="2022-11-29T16:09:19.997" v="14525" actId="1076"/>
          <ac:spMkLst>
            <pc:docMk/>
            <pc:sldMk cId="3711128851" sldId="2147470880"/>
            <ac:spMk id="8" creationId="{AA133D81-9EF9-4CF2-8702-703BE07E407E}"/>
          </ac:spMkLst>
        </pc:spChg>
        <pc:spChg chg="add mod">
          <ac:chgData name="YUAN Huaxing" userId="680cda70-8f8f-41b8-bd50-03497d97776e" providerId="ADAL" clId="{A2A0405A-6B1F-4AFE-ADF4-06FBC564D530}" dt="2022-11-25T15:19:07.427" v="6236" actId="13822"/>
          <ac:spMkLst>
            <pc:docMk/>
            <pc:sldMk cId="3711128851" sldId="2147470880"/>
            <ac:spMk id="9" creationId="{87624D93-F9F5-4146-A5A4-52661FFD92C4}"/>
          </ac:spMkLst>
        </pc:spChg>
        <pc:graphicFrameChg chg="add mod ord modGraphic">
          <ac:chgData name="YUAN Huaxing" userId="680cda70-8f8f-41b8-bd50-03497d97776e" providerId="ADAL" clId="{A2A0405A-6B1F-4AFE-ADF4-06FBC564D530}" dt="2022-12-01T11:01:35.536" v="15967" actId="404"/>
          <ac:graphicFrameMkLst>
            <pc:docMk/>
            <pc:sldMk cId="3711128851" sldId="2147470880"/>
            <ac:graphicFrameMk id="7" creationId="{C8742BCF-45E8-4D13-AFA9-E0E48607728B}"/>
          </ac:graphicFrameMkLst>
        </pc:graphicFrameChg>
      </pc:sldChg>
      <pc:sldChg chg="addSp delSp modSp new mod ord chgLayout">
        <pc:chgData name="YUAN Huaxing" userId="680cda70-8f8f-41b8-bd50-03497d97776e" providerId="ADAL" clId="{A2A0405A-6B1F-4AFE-ADF4-06FBC564D530}" dt="2022-12-01T15:54:51.785" v="17673" actId="1076"/>
        <pc:sldMkLst>
          <pc:docMk/>
          <pc:sldMk cId="3414867377" sldId="2147470881"/>
        </pc:sldMkLst>
        <pc:spChg chg="mod ord">
          <ac:chgData name="YUAN Huaxing" userId="680cda70-8f8f-41b8-bd50-03497d97776e" providerId="ADAL" clId="{A2A0405A-6B1F-4AFE-ADF4-06FBC564D530}" dt="2022-11-25T16:08:20.276" v="9126" actId="20577"/>
          <ac:spMkLst>
            <pc:docMk/>
            <pc:sldMk cId="3414867377" sldId="2147470881"/>
            <ac:spMk id="2" creationId="{65AB0E69-935C-4AA5-B6AD-BB9F10255E4B}"/>
          </ac:spMkLst>
        </pc:spChg>
        <pc:spChg chg="mod ord">
          <ac:chgData name="YUAN Huaxing" userId="680cda70-8f8f-41b8-bd50-03497d97776e" providerId="ADAL" clId="{A2A0405A-6B1F-4AFE-ADF4-06FBC564D530}" dt="2022-11-25T15:08:44.818" v="5850" actId="700"/>
          <ac:spMkLst>
            <pc:docMk/>
            <pc:sldMk cId="3414867377" sldId="2147470881"/>
            <ac:spMk id="3" creationId="{C2689DC0-1BB7-42A8-9191-EDD6AA3B65C4}"/>
          </ac:spMkLst>
        </pc:spChg>
        <pc:spChg chg="mod ord">
          <ac:chgData name="YUAN Huaxing" userId="680cda70-8f8f-41b8-bd50-03497d97776e" providerId="ADAL" clId="{A2A0405A-6B1F-4AFE-ADF4-06FBC564D530}" dt="2022-11-25T15:08:44.818" v="5850" actId="700"/>
          <ac:spMkLst>
            <pc:docMk/>
            <pc:sldMk cId="3414867377" sldId="2147470881"/>
            <ac:spMk id="4" creationId="{99E78626-F923-48F9-A4B7-3496EB82940B}"/>
          </ac:spMkLst>
        </pc:spChg>
        <pc:spChg chg="add del mod ord">
          <ac:chgData name="YUAN Huaxing" userId="680cda70-8f8f-41b8-bd50-03497d97776e" providerId="ADAL" clId="{A2A0405A-6B1F-4AFE-ADF4-06FBC564D530}" dt="2022-11-25T15:08:40.978" v="5849" actId="26606"/>
          <ac:spMkLst>
            <pc:docMk/>
            <pc:sldMk cId="3414867377" sldId="2147470881"/>
            <ac:spMk id="5" creationId="{8C2554ED-4F48-4FB3-A184-A5B509889361}"/>
          </ac:spMkLst>
        </pc:spChg>
        <pc:spChg chg="add del mod ord">
          <ac:chgData name="YUAN Huaxing" userId="680cda70-8f8f-41b8-bd50-03497d97776e" providerId="ADAL" clId="{A2A0405A-6B1F-4AFE-ADF4-06FBC564D530}" dt="2022-11-25T15:08:40.978" v="5849" actId="26606"/>
          <ac:spMkLst>
            <pc:docMk/>
            <pc:sldMk cId="3414867377" sldId="2147470881"/>
            <ac:spMk id="6" creationId="{509DD472-8FF8-416E-BDA2-33757F6C07D2}"/>
          </ac:spMkLst>
        </pc:spChg>
        <pc:spChg chg="add del mod ord">
          <ac:chgData name="YUAN Huaxing" userId="680cda70-8f8f-41b8-bd50-03497d97776e" providerId="ADAL" clId="{A2A0405A-6B1F-4AFE-ADF4-06FBC564D530}" dt="2022-11-25T16:08:28.310" v="9128" actId="478"/>
          <ac:spMkLst>
            <pc:docMk/>
            <pc:sldMk cId="3414867377" sldId="2147470881"/>
            <ac:spMk id="7" creationId="{3FC8B848-0728-4EF2-BFF7-5AA41B01AA22}"/>
          </ac:spMkLst>
        </pc:spChg>
        <pc:spChg chg="add mod ord">
          <ac:chgData name="YUAN Huaxing" userId="680cda70-8f8f-41b8-bd50-03497d97776e" providerId="ADAL" clId="{A2A0405A-6B1F-4AFE-ADF4-06FBC564D530}" dt="2022-11-25T15:12:18.116" v="6129" actId="313"/>
          <ac:spMkLst>
            <pc:docMk/>
            <pc:sldMk cId="3414867377" sldId="2147470881"/>
            <ac:spMk id="8" creationId="{38696277-3253-4921-A9A3-B2D768682887}"/>
          </ac:spMkLst>
        </pc:spChg>
        <pc:spChg chg="add mod">
          <ac:chgData name="YUAN Huaxing" userId="680cda70-8f8f-41b8-bd50-03497d97776e" providerId="ADAL" clId="{A2A0405A-6B1F-4AFE-ADF4-06FBC564D530}" dt="2022-11-29T16:50:26.380" v="14582" actId="1076"/>
          <ac:spMkLst>
            <pc:docMk/>
            <pc:sldMk cId="3414867377" sldId="2147470881"/>
            <ac:spMk id="10" creationId="{919A0F7B-3C5F-41DA-919A-3F0D1087D18D}"/>
          </ac:spMkLst>
        </pc:spChg>
        <pc:spChg chg="add del mod ord">
          <ac:chgData name="YUAN Huaxing" userId="680cda70-8f8f-41b8-bd50-03497d97776e" providerId="ADAL" clId="{A2A0405A-6B1F-4AFE-ADF4-06FBC564D530}" dt="2022-11-25T15:08:44.818" v="5850" actId="700"/>
          <ac:spMkLst>
            <pc:docMk/>
            <pc:sldMk cId="3414867377" sldId="2147470881"/>
            <ac:spMk id="11" creationId="{A6DDD768-578D-3C30-A2F8-75792E8BE292}"/>
          </ac:spMkLst>
        </pc:spChg>
        <pc:spChg chg="add del mod ord">
          <ac:chgData name="YUAN Huaxing" userId="680cda70-8f8f-41b8-bd50-03497d97776e" providerId="ADAL" clId="{A2A0405A-6B1F-4AFE-ADF4-06FBC564D530}" dt="2022-11-25T15:08:44.818" v="5850" actId="700"/>
          <ac:spMkLst>
            <pc:docMk/>
            <pc:sldMk cId="3414867377" sldId="2147470881"/>
            <ac:spMk id="13" creationId="{BC03F5FD-ACC2-FA9F-2882-DF0554C64AC7}"/>
          </ac:spMkLst>
        </pc:spChg>
        <pc:spChg chg="add mod">
          <ac:chgData name="YUAN Huaxing" userId="680cda70-8f8f-41b8-bd50-03497d97776e" providerId="ADAL" clId="{A2A0405A-6B1F-4AFE-ADF4-06FBC564D530}" dt="2022-12-01T15:54:44.588" v="17672" actId="1076"/>
          <ac:spMkLst>
            <pc:docMk/>
            <pc:sldMk cId="3414867377" sldId="2147470881"/>
            <ac:spMk id="14" creationId="{312EE347-86F1-453C-B91A-749E0EDD691E}"/>
          </ac:spMkLst>
        </pc:spChg>
        <pc:spChg chg="add mod">
          <ac:chgData name="YUAN Huaxing" userId="680cda70-8f8f-41b8-bd50-03497d97776e" providerId="ADAL" clId="{A2A0405A-6B1F-4AFE-ADF4-06FBC564D530}" dt="2022-11-25T16:09:59.042" v="9212" actId="1076"/>
          <ac:spMkLst>
            <pc:docMk/>
            <pc:sldMk cId="3414867377" sldId="2147470881"/>
            <ac:spMk id="16" creationId="{247E3E67-49A1-4C5F-BDC7-886693C270CD}"/>
          </ac:spMkLst>
        </pc:spChg>
        <pc:spChg chg="add mod">
          <ac:chgData name="YUAN Huaxing" userId="680cda70-8f8f-41b8-bd50-03497d97776e" providerId="ADAL" clId="{A2A0405A-6B1F-4AFE-ADF4-06FBC564D530}" dt="2022-11-25T16:10:22.344" v="9218" actId="1076"/>
          <ac:spMkLst>
            <pc:docMk/>
            <pc:sldMk cId="3414867377" sldId="2147470881"/>
            <ac:spMk id="18" creationId="{FE5B2148-3E32-4583-80E4-DA33E9840FCD}"/>
          </ac:spMkLst>
        </pc:spChg>
        <pc:spChg chg="add mod">
          <ac:chgData name="YUAN Huaxing" userId="680cda70-8f8f-41b8-bd50-03497d97776e" providerId="ADAL" clId="{A2A0405A-6B1F-4AFE-ADF4-06FBC564D530}" dt="2022-12-01T15:54:51.785" v="17673" actId="1076"/>
          <ac:spMkLst>
            <pc:docMk/>
            <pc:sldMk cId="3414867377" sldId="2147470881"/>
            <ac:spMk id="19" creationId="{5FFE6B68-1704-4491-8673-5308FA8E7F5D}"/>
          </ac:spMkLst>
        </pc:spChg>
        <pc:spChg chg="add del mod">
          <ac:chgData name="YUAN Huaxing" userId="680cda70-8f8f-41b8-bd50-03497d97776e" providerId="ADAL" clId="{A2A0405A-6B1F-4AFE-ADF4-06FBC564D530}" dt="2022-12-01T15:37:48.229" v="17609" actId="478"/>
          <ac:spMkLst>
            <pc:docMk/>
            <pc:sldMk cId="3414867377" sldId="2147470881"/>
            <ac:spMk id="20" creationId="{B280C41B-457D-443A-AD55-CB75044FA883}"/>
          </ac:spMkLst>
        </pc:spChg>
        <pc:spChg chg="add del mod">
          <ac:chgData name="YUAN Huaxing" userId="680cda70-8f8f-41b8-bd50-03497d97776e" providerId="ADAL" clId="{A2A0405A-6B1F-4AFE-ADF4-06FBC564D530}" dt="2022-12-01T15:37:57.248" v="17619" actId="478"/>
          <ac:spMkLst>
            <pc:docMk/>
            <pc:sldMk cId="3414867377" sldId="2147470881"/>
            <ac:spMk id="21" creationId="{E09B6A91-F07F-4147-9C6B-F424F0D19A64}"/>
          </ac:spMkLst>
        </pc:spChg>
        <pc:spChg chg="add mod ord">
          <ac:chgData name="YUAN Huaxing" userId="680cda70-8f8f-41b8-bd50-03497d97776e" providerId="ADAL" clId="{A2A0405A-6B1F-4AFE-ADF4-06FBC564D530}" dt="2022-12-01T15:54:44.588" v="17672" actId="1076"/>
          <ac:spMkLst>
            <pc:docMk/>
            <pc:sldMk cId="3414867377" sldId="2147470881"/>
            <ac:spMk id="22" creationId="{CC4F602E-12DF-41BA-8046-97A856B3695A}"/>
          </ac:spMkLst>
        </pc:spChg>
        <pc:spChg chg="add mod">
          <ac:chgData name="YUAN Huaxing" userId="680cda70-8f8f-41b8-bd50-03497d97776e" providerId="ADAL" clId="{A2A0405A-6B1F-4AFE-ADF4-06FBC564D530}" dt="2022-11-25T16:10:04.257" v="9214" actId="14100"/>
          <ac:spMkLst>
            <pc:docMk/>
            <pc:sldMk cId="3414867377" sldId="2147470881"/>
            <ac:spMk id="23" creationId="{B16FA916-7E8A-4CFF-A126-4569B8D63C38}"/>
          </ac:spMkLst>
        </pc:spChg>
        <pc:spChg chg="add mod">
          <ac:chgData name="YUAN Huaxing" userId="680cda70-8f8f-41b8-bd50-03497d97776e" providerId="ADAL" clId="{A2A0405A-6B1F-4AFE-ADF4-06FBC564D530}" dt="2022-11-25T16:10:22.344" v="9218" actId="1076"/>
          <ac:spMkLst>
            <pc:docMk/>
            <pc:sldMk cId="3414867377" sldId="2147470881"/>
            <ac:spMk id="24" creationId="{D4AB9144-DCBF-41A7-8D40-AEB52926A21D}"/>
          </ac:spMkLst>
        </pc:spChg>
        <pc:spChg chg="add del mod">
          <ac:chgData name="YUAN Huaxing" userId="680cda70-8f8f-41b8-bd50-03497d97776e" providerId="ADAL" clId="{A2A0405A-6B1F-4AFE-ADF4-06FBC564D530}" dt="2022-11-25T15:19:16.432" v="6238" actId="478"/>
          <ac:spMkLst>
            <pc:docMk/>
            <pc:sldMk cId="3414867377" sldId="2147470881"/>
            <ac:spMk id="25" creationId="{12D1E10D-2EC1-4AA5-BA3E-10A0BFA3E27B}"/>
          </ac:spMkLst>
        </pc:spChg>
        <pc:spChg chg="add mod">
          <ac:chgData name="YUAN Huaxing" userId="680cda70-8f8f-41b8-bd50-03497d97776e" providerId="ADAL" clId="{A2A0405A-6B1F-4AFE-ADF4-06FBC564D530}" dt="2022-12-01T15:37:55.420" v="17618" actId="1076"/>
          <ac:spMkLst>
            <pc:docMk/>
            <pc:sldMk cId="3414867377" sldId="2147470881"/>
            <ac:spMk id="26" creationId="{B6607990-F425-4D89-9BF0-BBE693381A9C}"/>
          </ac:spMkLst>
        </pc:spChg>
        <pc:spChg chg="add del mod">
          <ac:chgData name="YUAN Huaxing" userId="680cda70-8f8f-41b8-bd50-03497d97776e" providerId="ADAL" clId="{A2A0405A-6B1F-4AFE-ADF4-06FBC564D530}" dt="2022-11-25T16:08:25.471" v="9127" actId="478"/>
          <ac:spMkLst>
            <pc:docMk/>
            <pc:sldMk cId="3414867377" sldId="2147470881"/>
            <ac:spMk id="26" creationId="{EF3F0C5C-5383-48F8-88FD-6164768A8836}"/>
          </ac:spMkLst>
        </pc:spChg>
        <pc:spChg chg="add mod">
          <ac:chgData name="YUAN Huaxing" userId="680cda70-8f8f-41b8-bd50-03497d97776e" providerId="ADAL" clId="{A2A0405A-6B1F-4AFE-ADF4-06FBC564D530}" dt="2022-12-01T15:54:27.435" v="17671" actId="20577"/>
          <ac:spMkLst>
            <pc:docMk/>
            <pc:sldMk cId="3414867377" sldId="2147470881"/>
            <ac:spMk id="27" creationId="{6B96D4BC-425D-40AC-8469-4415C919A11C}"/>
          </ac:spMkLst>
        </pc:spChg>
        <pc:spChg chg="add mod">
          <ac:chgData name="YUAN Huaxing" userId="680cda70-8f8f-41b8-bd50-03497d97776e" providerId="ADAL" clId="{A2A0405A-6B1F-4AFE-ADF4-06FBC564D530}" dt="2022-11-25T16:11:45.533" v="9289" actId="20577"/>
          <ac:spMkLst>
            <pc:docMk/>
            <pc:sldMk cId="3414867377" sldId="2147470881"/>
            <ac:spMk id="28" creationId="{4E4AC994-3764-43B4-8F78-9617A8909AA6}"/>
          </ac:spMkLst>
        </pc:spChg>
        <pc:spChg chg="add mod">
          <ac:chgData name="YUAN Huaxing" userId="680cda70-8f8f-41b8-bd50-03497d97776e" providerId="ADAL" clId="{A2A0405A-6B1F-4AFE-ADF4-06FBC564D530}" dt="2022-11-29T16:50:21.563" v="14581" actId="1076"/>
          <ac:spMkLst>
            <pc:docMk/>
            <pc:sldMk cId="3414867377" sldId="2147470881"/>
            <ac:spMk id="29" creationId="{9CD43F80-8838-424C-8080-70973F095ED3}"/>
          </ac:spMkLst>
        </pc:spChg>
        <pc:spChg chg="add mod">
          <ac:chgData name="YUAN Huaxing" userId="680cda70-8f8f-41b8-bd50-03497d97776e" providerId="ADAL" clId="{A2A0405A-6B1F-4AFE-ADF4-06FBC564D530}" dt="2022-12-01T15:37:25.495" v="17598" actId="14100"/>
          <ac:spMkLst>
            <pc:docMk/>
            <pc:sldMk cId="3414867377" sldId="2147470881"/>
            <ac:spMk id="30" creationId="{3083F135-A800-4182-98AA-7BC0EB2467AE}"/>
          </ac:spMkLst>
        </pc:spChg>
        <pc:spChg chg="add mod">
          <ac:chgData name="YUAN Huaxing" userId="680cda70-8f8f-41b8-bd50-03497d97776e" providerId="ADAL" clId="{A2A0405A-6B1F-4AFE-ADF4-06FBC564D530}" dt="2022-11-25T16:10:54.675" v="9225" actId="1076"/>
          <ac:spMkLst>
            <pc:docMk/>
            <pc:sldMk cId="3414867377" sldId="2147470881"/>
            <ac:spMk id="32" creationId="{BD2D98E7-A066-4254-8E6B-D86BEE371972}"/>
          </ac:spMkLst>
        </pc:spChg>
        <pc:spChg chg="add mod">
          <ac:chgData name="YUAN Huaxing" userId="680cda70-8f8f-41b8-bd50-03497d97776e" providerId="ADAL" clId="{A2A0405A-6B1F-4AFE-ADF4-06FBC564D530}" dt="2022-11-25T16:11:29.377" v="9270" actId="14100"/>
          <ac:spMkLst>
            <pc:docMk/>
            <pc:sldMk cId="3414867377" sldId="2147470881"/>
            <ac:spMk id="33" creationId="{F256BB39-3AD9-48D9-B704-93A191583D74}"/>
          </ac:spMkLst>
        </pc:spChg>
        <pc:spChg chg="add mod">
          <ac:chgData name="YUAN Huaxing" userId="680cda70-8f8f-41b8-bd50-03497d97776e" providerId="ADAL" clId="{A2A0405A-6B1F-4AFE-ADF4-06FBC564D530}" dt="2022-11-25T16:11:20.499" v="9267" actId="1076"/>
          <ac:spMkLst>
            <pc:docMk/>
            <pc:sldMk cId="3414867377" sldId="2147470881"/>
            <ac:spMk id="34" creationId="{16D1027B-1A3A-40F7-91F9-A9CEE42F8D72}"/>
          </ac:spMkLst>
        </pc:spChg>
        <pc:graphicFrameChg chg="add del mod">
          <ac:chgData name="YUAN Huaxing" userId="680cda70-8f8f-41b8-bd50-03497d97776e" providerId="ADAL" clId="{A2A0405A-6B1F-4AFE-ADF4-06FBC564D530}" dt="2022-11-25T15:10:55.196" v="6011" actId="478"/>
          <ac:graphicFrameMkLst>
            <pc:docMk/>
            <pc:sldMk cId="3414867377" sldId="2147470881"/>
            <ac:graphicFrameMk id="9" creationId="{9D3946F4-C1E1-4F10-9793-3A927FADC73D}"/>
          </ac:graphicFrameMkLst>
        </pc:graphicFrameChg>
        <pc:picChg chg="add mod">
          <ac:chgData name="YUAN Huaxing" userId="680cda70-8f8f-41b8-bd50-03497d97776e" providerId="ADAL" clId="{A2A0405A-6B1F-4AFE-ADF4-06FBC564D530}" dt="2022-12-01T15:54:44.588" v="17672" actId="1076"/>
          <ac:picMkLst>
            <pc:docMk/>
            <pc:sldMk cId="3414867377" sldId="2147470881"/>
            <ac:picMk id="12" creationId="{7D1E8980-7A63-4AD7-9686-877005FFCDEE}"/>
          </ac:picMkLst>
        </pc:picChg>
        <pc:picChg chg="add mod">
          <ac:chgData name="YUAN Huaxing" userId="680cda70-8f8f-41b8-bd50-03497d97776e" providerId="ADAL" clId="{A2A0405A-6B1F-4AFE-ADF4-06FBC564D530}" dt="2022-11-25T16:09:59.042" v="9212" actId="1076"/>
          <ac:picMkLst>
            <pc:docMk/>
            <pc:sldMk cId="3414867377" sldId="2147470881"/>
            <ac:picMk id="15" creationId="{6ABFB60C-9D59-4AC6-BDF0-EA0B3CFC5A9D}"/>
          </ac:picMkLst>
        </pc:picChg>
        <pc:picChg chg="add mod">
          <ac:chgData name="YUAN Huaxing" userId="680cda70-8f8f-41b8-bd50-03497d97776e" providerId="ADAL" clId="{A2A0405A-6B1F-4AFE-ADF4-06FBC564D530}" dt="2022-11-25T16:10:22.344" v="9218" actId="1076"/>
          <ac:picMkLst>
            <pc:docMk/>
            <pc:sldMk cId="3414867377" sldId="2147470881"/>
            <ac:picMk id="17" creationId="{C22C972C-6ED5-4E3A-84B3-43648EE2993F}"/>
          </ac:picMkLst>
        </pc:picChg>
        <pc:picChg chg="add mod">
          <ac:chgData name="YUAN Huaxing" userId="680cda70-8f8f-41b8-bd50-03497d97776e" providerId="ADAL" clId="{A2A0405A-6B1F-4AFE-ADF4-06FBC564D530}" dt="2022-11-25T16:10:54.675" v="9225" actId="1076"/>
          <ac:picMkLst>
            <pc:docMk/>
            <pc:sldMk cId="3414867377" sldId="2147470881"/>
            <ac:picMk id="31" creationId="{0B451644-47A9-41E9-AAB7-80F8816DA1B8}"/>
          </ac:picMkLst>
        </pc:picChg>
      </pc:sldChg>
      <pc:sldChg chg="addSp delSp modSp add del mod chgLayout">
        <pc:chgData name="YUAN Huaxing" userId="680cda70-8f8f-41b8-bd50-03497d97776e" providerId="ADAL" clId="{A2A0405A-6B1F-4AFE-ADF4-06FBC564D530}" dt="2022-11-25T14:41:50.599" v="5419" actId="47"/>
        <pc:sldMkLst>
          <pc:docMk/>
          <pc:sldMk cId="3954682693" sldId="2147470881"/>
        </pc:sldMkLst>
        <pc:spChg chg="mod ord">
          <ac:chgData name="YUAN Huaxing" userId="680cda70-8f8f-41b8-bd50-03497d97776e" providerId="ADAL" clId="{A2A0405A-6B1F-4AFE-ADF4-06FBC564D530}" dt="2022-11-25T14:38:58.176" v="5400" actId="700"/>
          <ac:spMkLst>
            <pc:docMk/>
            <pc:sldMk cId="3954682693" sldId="2147470881"/>
            <ac:spMk id="2" creationId="{3D5DE8C4-8D5B-4E5C-9313-A9077ED0EAB9}"/>
          </ac:spMkLst>
        </pc:spChg>
        <pc:spChg chg="add mod ord">
          <ac:chgData name="YUAN Huaxing" userId="680cda70-8f8f-41b8-bd50-03497d97776e" providerId="ADAL" clId="{A2A0405A-6B1F-4AFE-ADF4-06FBC564D530}" dt="2022-11-25T14:38:58.176" v="5400" actId="700"/>
          <ac:spMkLst>
            <pc:docMk/>
            <pc:sldMk cId="3954682693" sldId="2147470881"/>
            <ac:spMk id="3" creationId="{83158587-0E1A-48FA-9943-D852F12A01C9}"/>
          </ac:spMkLst>
        </pc:spChg>
        <pc:spChg chg="add del mod ord">
          <ac:chgData name="YUAN Huaxing" userId="680cda70-8f8f-41b8-bd50-03497d97776e" providerId="ADAL" clId="{A2A0405A-6B1F-4AFE-ADF4-06FBC564D530}" dt="2022-11-25T14:40:40.669" v="5408" actId="478"/>
          <ac:spMkLst>
            <pc:docMk/>
            <pc:sldMk cId="3954682693" sldId="2147470881"/>
            <ac:spMk id="5" creationId="{5E49CD2A-0027-4537-92F5-0949583D2CAB}"/>
          </ac:spMkLst>
        </pc:spChg>
        <pc:spChg chg="del">
          <ac:chgData name="YUAN Huaxing" userId="680cda70-8f8f-41b8-bd50-03497d97776e" providerId="ADAL" clId="{A2A0405A-6B1F-4AFE-ADF4-06FBC564D530}" dt="2022-11-25T14:40:51.749" v="5413" actId="478"/>
          <ac:spMkLst>
            <pc:docMk/>
            <pc:sldMk cId="3954682693" sldId="2147470881"/>
            <ac:spMk id="7" creationId="{D6901771-42E5-4B63-A92E-AE15A79C9A59}"/>
          </ac:spMkLst>
        </pc:spChg>
        <pc:spChg chg="del">
          <ac:chgData name="YUAN Huaxing" userId="680cda70-8f8f-41b8-bd50-03497d97776e" providerId="ADAL" clId="{A2A0405A-6B1F-4AFE-ADF4-06FBC564D530}" dt="2022-11-25T14:40:53.744" v="5414" actId="478"/>
          <ac:spMkLst>
            <pc:docMk/>
            <pc:sldMk cId="3954682693" sldId="2147470881"/>
            <ac:spMk id="10" creationId="{0E410F99-D30D-4A64-99A0-BCF81EE439E4}"/>
          </ac:spMkLst>
        </pc:spChg>
        <pc:spChg chg="mod">
          <ac:chgData name="YUAN Huaxing" userId="680cda70-8f8f-41b8-bd50-03497d97776e" providerId="ADAL" clId="{A2A0405A-6B1F-4AFE-ADF4-06FBC564D530}" dt="2022-11-25T14:40:13.615" v="5406" actId="948"/>
          <ac:spMkLst>
            <pc:docMk/>
            <pc:sldMk cId="3954682693" sldId="2147470881"/>
            <ac:spMk id="12" creationId="{26B6A31B-E339-4C0A-9166-FE8DDCB587A6}"/>
          </ac:spMkLst>
        </pc:spChg>
        <pc:spChg chg="mod">
          <ac:chgData name="YUAN Huaxing" userId="680cda70-8f8f-41b8-bd50-03497d97776e" providerId="ADAL" clId="{A2A0405A-6B1F-4AFE-ADF4-06FBC564D530}" dt="2022-11-25T14:39:59.651" v="5405" actId="948"/>
          <ac:spMkLst>
            <pc:docMk/>
            <pc:sldMk cId="3954682693" sldId="2147470881"/>
            <ac:spMk id="13" creationId="{7A64F2A4-031C-4497-9AC3-863D05335C7C}"/>
          </ac:spMkLst>
        </pc:spChg>
        <pc:spChg chg="del">
          <ac:chgData name="YUAN Huaxing" userId="680cda70-8f8f-41b8-bd50-03497d97776e" providerId="ADAL" clId="{A2A0405A-6B1F-4AFE-ADF4-06FBC564D530}" dt="2022-11-25T14:40:44.699" v="5409" actId="478"/>
          <ac:spMkLst>
            <pc:docMk/>
            <pc:sldMk cId="3954682693" sldId="2147470881"/>
            <ac:spMk id="35" creationId="{368854BA-92F4-4456-BCC7-7EF68F9D834F}"/>
          </ac:spMkLst>
        </pc:spChg>
        <pc:spChg chg="del">
          <ac:chgData name="YUAN Huaxing" userId="680cda70-8f8f-41b8-bd50-03497d97776e" providerId="ADAL" clId="{A2A0405A-6B1F-4AFE-ADF4-06FBC564D530}" dt="2022-11-25T14:40:46.364" v="5410" actId="478"/>
          <ac:spMkLst>
            <pc:docMk/>
            <pc:sldMk cId="3954682693" sldId="2147470881"/>
            <ac:spMk id="36" creationId="{C51B04FD-9E8C-4DC4-B4B6-4A9171B3D778}"/>
          </ac:spMkLst>
        </pc:spChg>
        <pc:spChg chg="del">
          <ac:chgData name="YUAN Huaxing" userId="680cda70-8f8f-41b8-bd50-03497d97776e" providerId="ADAL" clId="{A2A0405A-6B1F-4AFE-ADF4-06FBC564D530}" dt="2022-11-25T14:40:48.043" v="5411" actId="478"/>
          <ac:spMkLst>
            <pc:docMk/>
            <pc:sldMk cId="3954682693" sldId="2147470881"/>
            <ac:spMk id="38" creationId="{1B70270F-C910-4FB9-AAA5-275A2EDC6FBC}"/>
          </ac:spMkLst>
        </pc:spChg>
        <pc:spChg chg="del">
          <ac:chgData name="YUAN Huaxing" userId="680cda70-8f8f-41b8-bd50-03497d97776e" providerId="ADAL" clId="{A2A0405A-6B1F-4AFE-ADF4-06FBC564D530}" dt="2022-11-25T14:40:49.694" v="5412" actId="478"/>
          <ac:spMkLst>
            <pc:docMk/>
            <pc:sldMk cId="3954682693" sldId="2147470881"/>
            <ac:spMk id="39" creationId="{A9F95946-F891-44B8-9FFC-47F7C64EBA7B}"/>
          </ac:spMkLst>
        </pc:spChg>
        <pc:spChg chg="mod">
          <ac:chgData name="YUAN Huaxing" userId="680cda70-8f8f-41b8-bd50-03497d97776e" providerId="ADAL" clId="{A2A0405A-6B1F-4AFE-ADF4-06FBC564D530}" dt="2022-11-25T14:40:32.473" v="5407" actId="948"/>
          <ac:spMkLst>
            <pc:docMk/>
            <pc:sldMk cId="3954682693" sldId="2147470881"/>
            <ac:spMk id="40" creationId="{22D9AF0C-74BE-46EA-8FD1-E1F0074DFD30}"/>
          </ac:spMkLst>
        </pc:spChg>
      </pc:sldChg>
      <pc:sldChg chg="addSp delSp modSp new mod ord setBg chgLayout">
        <pc:chgData name="YUAN Huaxing" userId="680cda70-8f8f-41b8-bd50-03497d97776e" providerId="ADAL" clId="{A2A0405A-6B1F-4AFE-ADF4-06FBC564D530}" dt="2022-11-29T11:17:17.042" v="13421"/>
        <pc:sldMkLst>
          <pc:docMk/>
          <pc:sldMk cId="675789009" sldId="2147470882"/>
        </pc:sldMkLst>
        <pc:spChg chg="mod ord">
          <ac:chgData name="YUAN Huaxing" userId="680cda70-8f8f-41b8-bd50-03497d97776e" providerId="ADAL" clId="{A2A0405A-6B1F-4AFE-ADF4-06FBC564D530}" dt="2022-11-29T11:06:24.114" v="12890" actId="700"/>
          <ac:spMkLst>
            <pc:docMk/>
            <pc:sldMk cId="675789009" sldId="2147470882"/>
            <ac:spMk id="2" creationId="{4668118C-5BF6-443C-A2EC-463F5CAA2F82}"/>
          </ac:spMkLst>
        </pc:spChg>
        <pc:spChg chg="mod ord">
          <ac:chgData name="YUAN Huaxing" userId="680cda70-8f8f-41b8-bd50-03497d97776e" providerId="ADAL" clId="{A2A0405A-6B1F-4AFE-ADF4-06FBC564D530}" dt="2022-11-29T11:06:24.114" v="12890" actId="700"/>
          <ac:spMkLst>
            <pc:docMk/>
            <pc:sldMk cId="675789009" sldId="2147470882"/>
            <ac:spMk id="3" creationId="{E95B1184-1EAB-4FA1-BF84-E943A1FD9E3C}"/>
          </ac:spMkLst>
        </pc:spChg>
        <pc:spChg chg="del mod">
          <ac:chgData name="YUAN Huaxing" userId="680cda70-8f8f-41b8-bd50-03497d97776e" providerId="ADAL" clId="{A2A0405A-6B1F-4AFE-ADF4-06FBC564D530}" dt="2022-11-25T15:20:22.494" v="6343" actId="478"/>
          <ac:spMkLst>
            <pc:docMk/>
            <pc:sldMk cId="675789009" sldId="2147470882"/>
            <ac:spMk id="4" creationId="{27E71030-C7FA-4DA3-97FE-41A317EF6376}"/>
          </ac:spMkLst>
        </pc:spChg>
        <pc:spChg chg="mod ord">
          <ac:chgData name="YUAN Huaxing" userId="680cda70-8f8f-41b8-bd50-03497d97776e" providerId="ADAL" clId="{A2A0405A-6B1F-4AFE-ADF4-06FBC564D530}" dt="2022-11-29T11:06:24.114" v="12890" actId="700"/>
          <ac:spMkLst>
            <pc:docMk/>
            <pc:sldMk cId="675789009" sldId="2147470882"/>
            <ac:spMk id="5" creationId="{896EEE8B-CDD6-48A7-8A7E-ED70175464CF}"/>
          </ac:spMkLst>
        </pc:spChg>
        <pc:spChg chg="mod ord">
          <ac:chgData name="YUAN Huaxing" userId="680cda70-8f8f-41b8-bd50-03497d97776e" providerId="ADAL" clId="{A2A0405A-6B1F-4AFE-ADF4-06FBC564D530}" dt="2022-11-29T11:06:24.114" v="12890" actId="700"/>
          <ac:spMkLst>
            <pc:docMk/>
            <pc:sldMk cId="675789009" sldId="2147470882"/>
            <ac:spMk id="6" creationId="{34B04065-B5E0-4C04-98E9-A81C2DA0CEB1}"/>
          </ac:spMkLst>
        </pc:spChg>
        <pc:spChg chg="add mod">
          <ac:chgData name="YUAN Huaxing" userId="680cda70-8f8f-41b8-bd50-03497d97776e" providerId="ADAL" clId="{A2A0405A-6B1F-4AFE-ADF4-06FBC564D530}" dt="2022-11-28T13:31:31.136" v="10502" actId="790"/>
          <ac:spMkLst>
            <pc:docMk/>
            <pc:sldMk cId="675789009" sldId="2147470882"/>
            <ac:spMk id="7" creationId="{3BCC87EE-8073-4ED1-9DEB-D9D927864281}"/>
          </ac:spMkLst>
        </pc:spChg>
        <pc:spChg chg="add del mod">
          <ac:chgData name="YUAN Huaxing" userId="680cda70-8f8f-41b8-bd50-03497d97776e" providerId="ADAL" clId="{A2A0405A-6B1F-4AFE-ADF4-06FBC564D530}" dt="2022-11-25T15:20:24.875" v="6346" actId="478"/>
          <ac:spMkLst>
            <pc:docMk/>
            <pc:sldMk cId="675789009" sldId="2147470882"/>
            <ac:spMk id="9" creationId="{409A7B24-97C1-4474-AC9B-FCE9E1F989BB}"/>
          </ac:spMkLst>
        </pc:spChg>
        <pc:spChg chg="add del mod">
          <ac:chgData name="YUAN Huaxing" userId="680cda70-8f8f-41b8-bd50-03497d97776e" providerId="ADAL" clId="{A2A0405A-6B1F-4AFE-ADF4-06FBC564D530}" dt="2022-11-25T15:20:23.608" v="6345"/>
          <ac:spMkLst>
            <pc:docMk/>
            <pc:sldMk cId="675789009" sldId="2147470882"/>
            <ac:spMk id="10" creationId="{5378C833-67E8-4B7F-89AC-65772518E077}"/>
          </ac:spMkLst>
        </pc:spChg>
        <pc:spChg chg="add mod ord">
          <ac:chgData name="YUAN Huaxing" userId="680cda70-8f8f-41b8-bd50-03497d97776e" providerId="ADAL" clId="{A2A0405A-6B1F-4AFE-ADF4-06FBC564D530}" dt="2022-11-29T11:06:24.114" v="12890" actId="700"/>
          <ac:spMkLst>
            <pc:docMk/>
            <pc:sldMk cId="675789009" sldId="2147470882"/>
            <ac:spMk id="11" creationId="{94FCB41A-BFF6-4A94-B8EF-097D6FBF744F}"/>
          </ac:spMkLst>
        </pc:spChg>
      </pc:sldChg>
      <pc:sldChg chg="delSp modSp add mod setBg">
        <pc:chgData name="YUAN Huaxing" userId="680cda70-8f8f-41b8-bd50-03497d97776e" providerId="ADAL" clId="{A2A0405A-6B1F-4AFE-ADF4-06FBC564D530}" dt="2022-11-29T13:56:43.796" v="13864" actId="478"/>
        <pc:sldMkLst>
          <pc:docMk/>
          <pc:sldMk cId="92693578" sldId="2147470883"/>
        </pc:sldMkLst>
        <pc:spChg chg="mod">
          <ac:chgData name="YUAN Huaxing" userId="680cda70-8f8f-41b8-bd50-03497d97776e" providerId="ADAL" clId="{A2A0405A-6B1F-4AFE-ADF4-06FBC564D530}" dt="2022-11-29T11:17:23.872" v="13422" actId="20577"/>
          <ac:spMkLst>
            <pc:docMk/>
            <pc:sldMk cId="92693578" sldId="2147470883"/>
            <ac:spMk id="2" creationId="{48CB7A46-1C35-44FD-AD41-6313CAE8F12D}"/>
          </ac:spMkLst>
        </pc:spChg>
        <pc:spChg chg="del">
          <ac:chgData name="YUAN Huaxing" userId="680cda70-8f8f-41b8-bd50-03497d97776e" providerId="ADAL" clId="{A2A0405A-6B1F-4AFE-ADF4-06FBC564D530}" dt="2022-11-29T13:56:43.796" v="13864" actId="478"/>
          <ac:spMkLst>
            <pc:docMk/>
            <pc:sldMk cId="92693578" sldId="2147470883"/>
            <ac:spMk id="8" creationId="{D0427226-B992-4A2B-91A4-62AFE4FCE683}"/>
          </ac:spMkLst>
        </pc:spChg>
        <pc:spChg chg="mod">
          <ac:chgData name="YUAN Huaxing" userId="680cda70-8f8f-41b8-bd50-03497d97776e" providerId="ADAL" clId="{A2A0405A-6B1F-4AFE-ADF4-06FBC564D530}" dt="2022-11-29T11:17:38.469" v="13437" actId="20577"/>
          <ac:spMkLst>
            <pc:docMk/>
            <pc:sldMk cId="92693578" sldId="2147470883"/>
            <ac:spMk id="9" creationId="{DF9CCF64-6268-424C-8F5E-B436235D6302}"/>
          </ac:spMkLst>
        </pc:spChg>
      </pc:sldChg>
      <pc:sldChg chg="addSp delSp modSp new del mod setBg">
        <pc:chgData name="YUAN Huaxing" userId="680cda70-8f8f-41b8-bd50-03497d97776e" providerId="ADAL" clId="{A2A0405A-6B1F-4AFE-ADF4-06FBC564D530}" dt="2022-11-29T11:17:10.619" v="13418" actId="2696"/>
        <pc:sldMkLst>
          <pc:docMk/>
          <pc:sldMk cId="1676915098" sldId="2147470883"/>
        </pc:sldMkLst>
        <pc:spChg chg="mod">
          <ac:chgData name="YUAN Huaxing" userId="680cda70-8f8f-41b8-bd50-03497d97776e" providerId="ADAL" clId="{A2A0405A-6B1F-4AFE-ADF4-06FBC564D530}" dt="2022-11-29T11:14:57.253" v="13284" actId="790"/>
          <ac:spMkLst>
            <pc:docMk/>
            <pc:sldMk cId="1676915098" sldId="2147470883"/>
            <ac:spMk id="2" creationId="{48CB7A46-1C35-44FD-AD41-6313CAE8F12D}"/>
          </ac:spMkLst>
        </pc:spChg>
        <pc:spChg chg="mod">
          <ac:chgData name="YUAN Huaxing" userId="680cda70-8f8f-41b8-bd50-03497d97776e" providerId="ADAL" clId="{A2A0405A-6B1F-4AFE-ADF4-06FBC564D530}" dt="2022-11-29T11:14:57.253" v="13284" actId="790"/>
          <ac:spMkLst>
            <pc:docMk/>
            <pc:sldMk cId="1676915098" sldId="2147470883"/>
            <ac:spMk id="3" creationId="{A1F37CE3-19B2-453F-96EB-8F7BAD9140B9}"/>
          </ac:spMkLst>
        </pc:spChg>
        <pc:spChg chg="del">
          <ac:chgData name="YUAN Huaxing" userId="680cda70-8f8f-41b8-bd50-03497d97776e" providerId="ADAL" clId="{A2A0405A-6B1F-4AFE-ADF4-06FBC564D530}" dt="2022-11-25T15:33:54.441" v="7352" actId="478"/>
          <ac:spMkLst>
            <pc:docMk/>
            <pc:sldMk cId="1676915098" sldId="2147470883"/>
            <ac:spMk id="4" creationId="{86742E1F-AA74-442B-90AB-ABEA24208E9F}"/>
          </ac:spMkLst>
        </pc:spChg>
        <pc:spChg chg="mod">
          <ac:chgData name="YUAN Huaxing" userId="680cda70-8f8f-41b8-bd50-03497d97776e" providerId="ADAL" clId="{A2A0405A-6B1F-4AFE-ADF4-06FBC564D530}" dt="2022-11-29T11:14:57.253" v="13284" actId="790"/>
          <ac:spMkLst>
            <pc:docMk/>
            <pc:sldMk cId="1676915098" sldId="2147470883"/>
            <ac:spMk id="5" creationId="{DBCEC541-8D21-43A8-9810-5D0CE5A42B93}"/>
          </ac:spMkLst>
        </pc:spChg>
        <pc:spChg chg="mod">
          <ac:chgData name="YUAN Huaxing" userId="680cda70-8f8f-41b8-bd50-03497d97776e" providerId="ADAL" clId="{A2A0405A-6B1F-4AFE-ADF4-06FBC564D530}" dt="2022-11-29T11:14:57.253" v="13284" actId="790"/>
          <ac:spMkLst>
            <pc:docMk/>
            <pc:sldMk cId="1676915098" sldId="2147470883"/>
            <ac:spMk id="6" creationId="{DB4916DD-4428-4BBF-A557-69D8DC1314FB}"/>
          </ac:spMkLst>
        </pc:spChg>
        <pc:spChg chg="add mod">
          <ac:chgData name="YUAN Huaxing" userId="680cda70-8f8f-41b8-bd50-03497d97776e" providerId="ADAL" clId="{A2A0405A-6B1F-4AFE-ADF4-06FBC564D530}" dt="2022-11-29T11:14:57.253" v="13284" actId="790"/>
          <ac:spMkLst>
            <pc:docMk/>
            <pc:sldMk cId="1676915098" sldId="2147470883"/>
            <ac:spMk id="8" creationId="{D0427226-B992-4A2B-91A4-62AFE4FCE683}"/>
          </ac:spMkLst>
        </pc:spChg>
        <pc:spChg chg="add mod">
          <ac:chgData name="YUAN Huaxing" userId="680cda70-8f8f-41b8-bd50-03497d97776e" providerId="ADAL" clId="{A2A0405A-6B1F-4AFE-ADF4-06FBC564D530}" dt="2022-11-29T11:14:59.886" v="13285" actId="313"/>
          <ac:spMkLst>
            <pc:docMk/>
            <pc:sldMk cId="1676915098" sldId="2147470883"/>
            <ac:spMk id="9" creationId="{DF9CCF64-6268-424C-8F5E-B436235D6302}"/>
          </ac:spMkLst>
        </pc:spChg>
        <pc:graphicFrameChg chg="add del mod">
          <ac:chgData name="YUAN Huaxing" userId="680cda70-8f8f-41b8-bd50-03497d97776e" providerId="ADAL" clId="{A2A0405A-6B1F-4AFE-ADF4-06FBC564D530}" dt="2022-11-29T11:09:16.429" v="12899" actId="478"/>
          <ac:graphicFrameMkLst>
            <pc:docMk/>
            <pc:sldMk cId="1676915098" sldId="2147470883"/>
            <ac:graphicFrameMk id="7" creationId="{9092AD2C-D7DD-40DE-B47F-3AD66749EC1C}"/>
          </ac:graphicFrameMkLst>
        </pc:graphicFrameChg>
      </pc:sldChg>
      <pc:sldChg chg="addSp delSp modSp new del mod">
        <pc:chgData name="YUAN Huaxing" userId="680cda70-8f8f-41b8-bd50-03497d97776e" providerId="ADAL" clId="{A2A0405A-6B1F-4AFE-ADF4-06FBC564D530}" dt="2022-11-25T15:40:29.302" v="7451" actId="47"/>
        <pc:sldMkLst>
          <pc:docMk/>
          <pc:sldMk cId="3669402660" sldId="2147470884"/>
        </pc:sldMkLst>
        <pc:spChg chg="mod">
          <ac:chgData name="YUAN Huaxing" userId="680cda70-8f8f-41b8-bd50-03497d97776e" providerId="ADAL" clId="{A2A0405A-6B1F-4AFE-ADF4-06FBC564D530}" dt="2022-11-25T15:34:03.876" v="7357"/>
          <ac:spMkLst>
            <pc:docMk/>
            <pc:sldMk cId="3669402660" sldId="2147470884"/>
            <ac:spMk id="2" creationId="{EBC37A3A-5E35-4F4C-BAF1-E45276C6D25F}"/>
          </ac:spMkLst>
        </pc:spChg>
        <pc:spChg chg="mod">
          <ac:chgData name="YUAN Huaxing" userId="680cda70-8f8f-41b8-bd50-03497d97776e" providerId="ADAL" clId="{A2A0405A-6B1F-4AFE-ADF4-06FBC564D530}" dt="2022-11-25T15:34:19.777" v="7360"/>
          <ac:spMkLst>
            <pc:docMk/>
            <pc:sldMk cId="3669402660" sldId="2147470884"/>
            <ac:spMk id="3" creationId="{132B5557-16B7-4E79-9831-BA1F443AA369}"/>
          </ac:spMkLst>
        </pc:spChg>
        <pc:spChg chg="del">
          <ac:chgData name="YUAN Huaxing" userId="680cda70-8f8f-41b8-bd50-03497d97776e" providerId="ADAL" clId="{A2A0405A-6B1F-4AFE-ADF4-06FBC564D530}" dt="2022-11-25T15:34:14.649" v="7358" actId="478"/>
          <ac:spMkLst>
            <pc:docMk/>
            <pc:sldMk cId="3669402660" sldId="2147470884"/>
            <ac:spMk id="4" creationId="{1FF674D2-FFC8-469F-A416-C59495FD173B}"/>
          </ac:spMkLst>
        </pc:spChg>
        <pc:spChg chg="add del">
          <ac:chgData name="YUAN Huaxing" userId="680cda70-8f8f-41b8-bd50-03497d97776e" providerId="ADAL" clId="{A2A0405A-6B1F-4AFE-ADF4-06FBC564D530}" dt="2022-11-25T15:34:03.155" v="7356" actId="22"/>
          <ac:spMkLst>
            <pc:docMk/>
            <pc:sldMk cId="3669402660" sldId="2147470884"/>
            <ac:spMk id="8" creationId="{1C3D0784-FF32-44A2-949E-5489A0AC7B60}"/>
          </ac:spMkLst>
        </pc:spChg>
        <pc:spChg chg="add mod">
          <ac:chgData name="YUAN Huaxing" userId="680cda70-8f8f-41b8-bd50-03497d97776e" providerId="ADAL" clId="{A2A0405A-6B1F-4AFE-ADF4-06FBC564D530}" dt="2022-11-25T15:40:19.297" v="7446"/>
          <ac:spMkLst>
            <pc:docMk/>
            <pc:sldMk cId="3669402660" sldId="2147470884"/>
            <ac:spMk id="10" creationId="{93B61E51-2959-45A2-AA92-2015E0F2E40B}"/>
          </ac:spMkLst>
        </pc:spChg>
        <pc:graphicFrameChg chg="add mod">
          <ac:chgData name="YUAN Huaxing" userId="680cda70-8f8f-41b8-bd50-03497d97776e" providerId="ADAL" clId="{A2A0405A-6B1F-4AFE-ADF4-06FBC564D530}" dt="2022-11-25T15:34:14.904" v="7359"/>
          <ac:graphicFrameMkLst>
            <pc:docMk/>
            <pc:sldMk cId="3669402660" sldId="2147470884"/>
            <ac:graphicFrameMk id="9" creationId="{013A595F-B8DA-49FF-8392-4BA4A9CF8A23}"/>
          </ac:graphicFrameMkLst>
        </pc:graphicFrameChg>
      </pc:sldChg>
      <pc:sldChg chg="addSp modSp add del mod setBg">
        <pc:chgData name="YUAN Huaxing" userId="680cda70-8f8f-41b8-bd50-03497d97776e" providerId="ADAL" clId="{A2A0405A-6B1F-4AFE-ADF4-06FBC564D530}" dt="2022-11-29T11:17:10.619" v="13418" actId="2696"/>
        <pc:sldMkLst>
          <pc:docMk/>
          <pc:sldMk cId="1246628749" sldId="2147470885"/>
        </pc:sldMkLst>
        <pc:spChg chg="mod">
          <ac:chgData name="YUAN Huaxing" userId="680cda70-8f8f-41b8-bd50-03497d97776e" providerId="ADAL" clId="{A2A0405A-6B1F-4AFE-ADF4-06FBC564D530}" dt="2022-11-25T16:24:33.717" v="10376"/>
          <ac:spMkLst>
            <pc:docMk/>
            <pc:sldMk cId="1246628749" sldId="2147470885"/>
            <ac:spMk id="2" creationId="{2BC4C480-D603-48C5-9664-BBE026D4EF3E}"/>
          </ac:spMkLst>
        </pc:spChg>
        <pc:spChg chg="add mod">
          <ac:chgData name="YUAN Huaxing" userId="680cda70-8f8f-41b8-bd50-03497d97776e" providerId="ADAL" clId="{A2A0405A-6B1F-4AFE-ADF4-06FBC564D530}" dt="2022-11-25T15:40:21.281" v="7447"/>
          <ac:spMkLst>
            <pc:docMk/>
            <pc:sldMk cId="1246628749" sldId="2147470885"/>
            <ac:spMk id="9" creationId="{A6F0BEB8-8386-4FBC-B3AE-6D5725824826}"/>
          </ac:spMkLst>
        </pc:spChg>
      </pc:sldChg>
      <pc:sldChg chg="delSp modSp add mod setBg">
        <pc:chgData name="YUAN Huaxing" userId="680cda70-8f8f-41b8-bd50-03497d97776e" providerId="ADAL" clId="{A2A0405A-6B1F-4AFE-ADF4-06FBC564D530}" dt="2022-11-29T13:57:07.604" v="13866" actId="207"/>
        <pc:sldMkLst>
          <pc:docMk/>
          <pc:sldMk cId="2191590700" sldId="2147470885"/>
        </pc:sldMkLst>
        <pc:spChg chg="mod">
          <ac:chgData name="YUAN Huaxing" userId="680cda70-8f8f-41b8-bd50-03497d97776e" providerId="ADAL" clId="{A2A0405A-6B1F-4AFE-ADF4-06FBC564D530}" dt="2022-11-29T11:17:46.002" v="13438" actId="6549"/>
          <ac:spMkLst>
            <pc:docMk/>
            <pc:sldMk cId="2191590700" sldId="2147470885"/>
            <ac:spMk id="2" creationId="{2BC4C480-D603-48C5-9664-BBE026D4EF3E}"/>
          </ac:spMkLst>
        </pc:spChg>
        <pc:spChg chg="mod">
          <ac:chgData name="YUAN Huaxing" userId="680cda70-8f8f-41b8-bd50-03497d97776e" providerId="ADAL" clId="{A2A0405A-6B1F-4AFE-ADF4-06FBC564D530}" dt="2022-11-29T11:18:46.636" v="13513" actId="20577"/>
          <ac:spMkLst>
            <pc:docMk/>
            <pc:sldMk cId="2191590700" sldId="2147470885"/>
            <ac:spMk id="3" creationId="{BB0A22C4-C265-457A-A0EF-0DF8E589AEA5}"/>
          </ac:spMkLst>
        </pc:spChg>
        <pc:spChg chg="mod">
          <ac:chgData name="YUAN Huaxing" userId="680cda70-8f8f-41b8-bd50-03497d97776e" providerId="ADAL" clId="{A2A0405A-6B1F-4AFE-ADF4-06FBC564D530}" dt="2022-11-29T13:57:07.604" v="13866" actId="207"/>
          <ac:spMkLst>
            <pc:docMk/>
            <pc:sldMk cId="2191590700" sldId="2147470885"/>
            <ac:spMk id="8" creationId="{70527CA3-4EE1-409A-B9C5-D38FC31CCC66}"/>
          </ac:spMkLst>
        </pc:spChg>
        <pc:spChg chg="del">
          <ac:chgData name="YUAN Huaxing" userId="680cda70-8f8f-41b8-bd50-03497d97776e" providerId="ADAL" clId="{A2A0405A-6B1F-4AFE-ADF4-06FBC564D530}" dt="2022-11-29T13:56:55.450" v="13865" actId="478"/>
          <ac:spMkLst>
            <pc:docMk/>
            <pc:sldMk cId="2191590700" sldId="2147470885"/>
            <ac:spMk id="9" creationId="{A6F0BEB8-8386-4FBC-B3AE-6D5725824826}"/>
          </ac:spMkLst>
        </pc:spChg>
      </pc:sldChg>
      <pc:sldChg chg="addSp modSp add del mod setBg">
        <pc:chgData name="YUAN Huaxing" userId="680cda70-8f8f-41b8-bd50-03497d97776e" providerId="ADAL" clId="{A2A0405A-6B1F-4AFE-ADF4-06FBC564D530}" dt="2022-11-29T11:17:10.619" v="13418" actId="2696"/>
        <pc:sldMkLst>
          <pc:docMk/>
          <pc:sldMk cId="1000027870" sldId="2147470886"/>
        </pc:sldMkLst>
        <pc:spChg chg="mod">
          <ac:chgData name="YUAN Huaxing" userId="680cda70-8f8f-41b8-bd50-03497d97776e" providerId="ADAL" clId="{A2A0405A-6B1F-4AFE-ADF4-06FBC564D530}" dt="2022-11-25T16:24:29.900" v="10375" actId="20577"/>
          <ac:spMkLst>
            <pc:docMk/>
            <pc:sldMk cId="1000027870" sldId="2147470886"/>
            <ac:spMk id="2" creationId="{A9309B85-7D1F-4D6A-B8A6-81D46C849BE2}"/>
          </ac:spMkLst>
        </pc:spChg>
        <pc:spChg chg="mod">
          <ac:chgData name="YUAN Huaxing" userId="680cda70-8f8f-41b8-bd50-03497d97776e" providerId="ADAL" clId="{A2A0405A-6B1F-4AFE-ADF4-06FBC564D530}" dt="2022-11-25T15:41:59.620" v="7490" actId="313"/>
          <ac:spMkLst>
            <pc:docMk/>
            <pc:sldMk cId="1000027870" sldId="2147470886"/>
            <ac:spMk id="4" creationId="{1A53111B-216B-4CC0-B0F8-CCD904F73A2D}"/>
          </ac:spMkLst>
        </pc:spChg>
        <pc:spChg chg="add mod">
          <ac:chgData name="YUAN Huaxing" userId="680cda70-8f8f-41b8-bd50-03497d97776e" providerId="ADAL" clId="{A2A0405A-6B1F-4AFE-ADF4-06FBC564D530}" dt="2022-11-25T15:40:22.669" v="7448"/>
          <ac:spMkLst>
            <pc:docMk/>
            <pc:sldMk cId="1000027870" sldId="2147470886"/>
            <ac:spMk id="12" creationId="{536E7CEE-7F0F-4354-8051-848C017B854A}"/>
          </ac:spMkLst>
        </pc:spChg>
      </pc:sldChg>
      <pc:sldChg chg="delSp modSp add mod setBg">
        <pc:chgData name="YUAN Huaxing" userId="680cda70-8f8f-41b8-bd50-03497d97776e" providerId="ADAL" clId="{A2A0405A-6B1F-4AFE-ADF4-06FBC564D530}" dt="2022-11-29T15:47:57.341" v="14040" actId="6549"/>
        <pc:sldMkLst>
          <pc:docMk/>
          <pc:sldMk cId="4131925369" sldId="2147470886"/>
        </pc:sldMkLst>
        <pc:spChg chg="mod">
          <ac:chgData name="YUAN Huaxing" userId="680cda70-8f8f-41b8-bd50-03497d97776e" providerId="ADAL" clId="{A2A0405A-6B1F-4AFE-ADF4-06FBC564D530}" dt="2022-11-29T15:45:15.289" v="13875" actId="790"/>
          <ac:spMkLst>
            <pc:docMk/>
            <pc:sldMk cId="4131925369" sldId="2147470886"/>
            <ac:spMk id="2" creationId="{A9309B85-7D1F-4D6A-B8A6-81D46C849BE2}"/>
          </ac:spMkLst>
        </pc:spChg>
        <pc:spChg chg="mod">
          <ac:chgData name="YUAN Huaxing" userId="680cda70-8f8f-41b8-bd50-03497d97776e" providerId="ADAL" clId="{A2A0405A-6B1F-4AFE-ADF4-06FBC564D530}" dt="2022-11-29T15:45:15.289" v="13875" actId="790"/>
          <ac:spMkLst>
            <pc:docMk/>
            <pc:sldMk cId="4131925369" sldId="2147470886"/>
            <ac:spMk id="3" creationId="{6B570E3D-A1DB-49E1-82B0-B5180E35D0BB}"/>
          </ac:spMkLst>
        </pc:spChg>
        <pc:spChg chg="mod">
          <ac:chgData name="YUAN Huaxing" userId="680cda70-8f8f-41b8-bd50-03497d97776e" providerId="ADAL" clId="{A2A0405A-6B1F-4AFE-ADF4-06FBC564D530}" dt="2022-11-29T15:45:18.768" v="13876" actId="20577"/>
          <ac:spMkLst>
            <pc:docMk/>
            <pc:sldMk cId="4131925369" sldId="2147470886"/>
            <ac:spMk id="4" creationId="{1A53111B-216B-4CC0-B0F8-CCD904F73A2D}"/>
          </ac:spMkLst>
        </pc:spChg>
        <pc:spChg chg="mod">
          <ac:chgData name="YUAN Huaxing" userId="680cda70-8f8f-41b8-bd50-03497d97776e" providerId="ADAL" clId="{A2A0405A-6B1F-4AFE-ADF4-06FBC564D530}" dt="2022-11-29T15:45:15.289" v="13875" actId="790"/>
          <ac:spMkLst>
            <pc:docMk/>
            <pc:sldMk cId="4131925369" sldId="2147470886"/>
            <ac:spMk id="5" creationId="{E288A8D5-7834-4596-8653-0BA3302E1509}"/>
          </ac:spMkLst>
        </pc:spChg>
        <pc:spChg chg="mod">
          <ac:chgData name="YUAN Huaxing" userId="680cda70-8f8f-41b8-bd50-03497d97776e" providerId="ADAL" clId="{A2A0405A-6B1F-4AFE-ADF4-06FBC564D530}" dt="2022-11-29T15:45:15.289" v="13875" actId="790"/>
          <ac:spMkLst>
            <pc:docMk/>
            <pc:sldMk cId="4131925369" sldId="2147470886"/>
            <ac:spMk id="6" creationId="{12FCFB52-8009-4305-97A3-46B85A21B667}"/>
          </ac:spMkLst>
        </pc:spChg>
        <pc:spChg chg="mod">
          <ac:chgData name="YUAN Huaxing" userId="680cda70-8f8f-41b8-bd50-03497d97776e" providerId="ADAL" clId="{A2A0405A-6B1F-4AFE-ADF4-06FBC564D530}" dt="2022-11-29T15:47:57.341" v="14040" actId="6549"/>
          <ac:spMkLst>
            <pc:docMk/>
            <pc:sldMk cId="4131925369" sldId="2147470886"/>
            <ac:spMk id="8" creationId="{44B9A501-E82C-44CF-9FF0-1F1B56A6DF4A}"/>
          </ac:spMkLst>
        </pc:spChg>
        <pc:spChg chg="mod">
          <ac:chgData name="YUAN Huaxing" userId="680cda70-8f8f-41b8-bd50-03497d97776e" providerId="ADAL" clId="{A2A0405A-6B1F-4AFE-ADF4-06FBC564D530}" dt="2022-11-29T15:46:03.303" v="13881" actId="20577"/>
          <ac:spMkLst>
            <pc:docMk/>
            <pc:sldMk cId="4131925369" sldId="2147470886"/>
            <ac:spMk id="10" creationId="{CD05DAFC-8BD5-449F-B43C-D42C439E50A2}"/>
          </ac:spMkLst>
        </pc:spChg>
        <pc:spChg chg="del">
          <ac:chgData name="YUAN Huaxing" userId="680cda70-8f8f-41b8-bd50-03497d97776e" providerId="ADAL" clId="{A2A0405A-6B1F-4AFE-ADF4-06FBC564D530}" dt="2022-11-29T13:57:11.854" v="13867" actId="478"/>
          <ac:spMkLst>
            <pc:docMk/>
            <pc:sldMk cId="4131925369" sldId="2147470886"/>
            <ac:spMk id="12" creationId="{536E7CEE-7F0F-4354-8051-848C017B854A}"/>
          </ac:spMkLst>
        </pc:spChg>
      </pc:sldChg>
      <pc:sldChg chg="addSp modSp add del mod setBg">
        <pc:chgData name="YUAN Huaxing" userId="680cda70-8f8f-41b8-bd50-03497d97776e" providerId="ADAL" clId="{A2A0405A-6B1F-4AFE-ADF4-06FBC564D530}" dt="2022-11-29T11:17:10.619" v="13418" actId="2696"/>
        <pc:sldMkLst>
          <pc:docMk/>
          <pc:sldMk cId="2649460493" sldId="2147470887"/>
        </pc:sldMkLst>
        <pc:spChg chg="mod">
          <ac:chgData name="YUAN Huaxing" userId="680cda70-8f8f-41b8-bd50-03497d97776e" providerId="ADAL" clId="{A2A0405A-6B1F-4AFE-ADF4-06FBC564D530}" dt="2022-11-25T16:24:48.247" v="10389"/>
          <ac:spMkLst>
            <pc:docMk/>
            <pc:sldMk cId="2649460493" sldId="2147470887"/>
            <ac:spMk id="2" creationId="{505DEB7E-49EE-45D7-9B97-E1C9DBBAF625}"/>
          </ac:spMkLst>
        </pc:spChg>
        <pc:spChg chg="mod">
          <ac:chgData name="YUAN Huaxing" userId="680cda70-8f8f-41b8-bd50-03497d97776e" providerId="ADAL" clId="{A2A0405A-6B1F-4AFE-ADF4-06FBC564D530}" dt="2022-11-25T15:39:39.388" v="7392" actId="20577"/>
          <ac:spMkLst>
            <pc:docMk/>
            <pc:sldMk cId="2649460493" sldId="2147470887"/>
            <ac:spMk id="3" creationId="{5EAFC710-A60F-4600-930F-E04031798AA2}"/>
          </ac:spMkLst>
        </pc:spChg>
        <pc:spChg chg="add mod">
          <ac:chgData name="YUAN Huaxing" userId="680cda70-8f8f-41b8-bd50-03497d97776e" providerId="ADAL" clId="{A2A0405A-6B1F-4AFE-ADF4-06FBC564D530}" dt="2022-11-25T15:40:24.291" v="7449"/>
          <ac:spMkLst>
            <pc:docMk/>
            <pc:sldMk cId="2649460493" sldId="2147470887"/>
            <ac:spMk id="7" creationId="{4EEE7C8C-A671-483E-8D89-C9E6964EA6EF}"/>
          </ac:spMkLst>
        </pc:spChg>
      </pc:sldChg>
      <pc:sldChg chg="delSp modSp add mod setBg">
        <pc:chgData name="YUAN Huaxing" userId="680cda70-8f8f-41b8-bd50-03497d97776e" providerId="ADAL" clId="{A2A0405A-6B1F-4AFE-ADF4-06FBC564D530}" dt="2022-11-29T15:56:28.314" v="14288" actId="20577"/>
        <pc:sldMkLst>
          <pc:docMk/>
          <pc:sldMk cId="3057778062" sldId="2147470887"/>
        </pc:sldMkLst>
        <pc:spChg chg="mod">
          <ac:chgData name="YUAN Huaxing" userId="680cda70-8f8f-41b8-bd50-03497d97776e" providerId="ADAL" clId="{A2A0405A-6B1F-4AFE-ADF4-06FBC564D530}" dt="2022-11-29T15:45:31.975" v="13877" actId="790"/>
          <ac:spMkLst>
            <pc:docMk/>
            <pc:sldMk cId="3057778062" sldId="2147470887"/>
            <ac:spMk id="2" creationId="{505DEB7E-49EE-45D7-9B97-E1C9DBBAF625}"/>
          </ac:spMkLst>
        </pc:spChg>
        <pc:spChg chg="mod">
          <ac:chgData name="YUAN Huaxing" userId="680cda70-8f8f-41b8-bd50-03497d97776e" providerId="ADAL" clId="{A2A0405A-6B1F-4AFE-ADF4-06FBC564D530}" dt="2022-11-29T15:45:31.975" v="13877" actId="790"/>
          <ac:spMkLst>
            <pc:docMk/>
            <pc:sldMk cId="3057778062" sldId="2147470887"/>
            <ac:spMk id="3" creationId="{5EAFC710-A60F-4600-930F-E04031798AA2}"/>
          </ac:spMkLst>
        </pc:spChg>
        <pc:spChg chg="mod">
          <ac:chgData name="YUAN Huaxing" userId="680cda70-8f8f-41b8-bd50-03497d97776e" providerId="ADAL" clId="{A2A0405A-6B1F-4AFE-ADF4-06FBC564D530}" dt="2022-11-29T15:56:28.314" v="14288" actId="20577"/>
          <ac:spMkLst>
            <pc:docMk/>
            <pc:sldMk cId="3057778062" sldId="2147470887"/>
            <ac:spMk id="4" creationId="{4E4A9147-04B7-4744-BD77-A41EFA0C8DA8}"/>
          </ac:spMkLst>
        </pc:spChg>
        <pc:spChg chg="mod">
          <ac:chgData name="YUAN Huaxing" userId="680cda70-8f8f-41b8-bd50-03497d97776e" providerId="ADAL" clId="{A2A0405A-6B1F-4AFE-ADF4-06FBC564D530}" dt="2022-11-29T15:45:31.975" v="13877" actId="790"/>
          <ac:spMkLst>
            <pc:docMk/>
            <pc:sldMk cId="3057778062" sldId="2147470887"/>
            <ac:spMk id="5" creationId="{F22DA2EC-3E3D-4A34-B6DC-6BE2306BA781}"/>
          </ac:spMkLst>
        </pc:spChg>
        <pc:spChg chg="mod">
          <ac:chgData name="YUAN Huaxing" userId="680cda70-8f8f-41b8-bd50-03497d97776e" providerId="ADAL" clId="{A2A0405A-6B1F-4AFE-ADF4-06FBC564D530}" dt="2022-11-29T15:45:31.975" v="13877" actId="790"/>
          <ac:spMkLst>
            <pc:docMk/>
            <pc:sldMk cId="3057778062" sldId="2147470887"/>
            <ac:spMk id="6" creationId="{30C160D2-2559-489E-822D-5CA8DE5583C6}"/>
          </ac:spMkLst>
        </pc:spChg>
        <pc:spChg chg="del">
          <ac:chgData name="YUAN Huaxing" userId="680cda70-8f8f-41b8-bd50-03497d97776e" providerId="ADAL" clId="{A2A0405A-6B1F-4AFE-ADF4-06FBC564D530}" dt="2022-11-29T13:57:19.113" v="13869" actId="478"/>
          <ac:spMkLst>
            <pc:docMk/>
            <pc:sldMk cId="3057778062" sldId="2147470887"/>
            <ac:spMk id="7" creationId="{4EEE7C8C-A671-483E-8D89-C9E6964EA6EF}"/>
          </ac:spMkLst>
        </pc:spChg>
      </pc:sldChg>
      <pc:sldChg chg="addSp delSp modSp new mod ord chgLayout">
        <pc:chgData name="YUAN Huaxing" userId="680cda70-8f8f-41b8-bd50-03497d97776e" providerId="ADAL" clId="{A2A0405A-6B1F-4AFE-ADF4-06FBC564D530}" dt="2022-12-01T14:35:54.117" v="17191" actId="20577"/>
        <pc:sldMkLst>
          <pc:docMk/>
          <pc:sldMk cId="1349800289" sldId="2147470888"/>
        </pc:sldMkLst>
        <pc:spChg chg="mod ord">
          <ac:chgData name="YUAN Huaxing" userId="680cda70-8f8f-41b8-bd50-03497d97776e" providerId="ADAL" clId="{A2A0405A-6B1F-4AFE-ADF4-06FBC564D530}" dt="2022-11-25T16:06:00.727" v="8849" actId="20577"/>
          <ac:spMkLst>
            <pc:docMk/>
            <pc:sldMk cId="1349800289" sldId="2147470888"/>
            <ac:spMk id="2" creationId="{347C774A-4EFE-4312-8142-C4EA91EB080B}"/>
          </ac:spMkLst>
        </pc:spChg>
        <pc:spChg chg="del">
          <ac:chgData name="YUAN Huaxing" userId="680cda70-8f8f-41b8-bd50-03497d97776e" providerId="ADAL" clId="{A2A0405A-6B1F-4AFE-ADF4-06FBC564D530}" dt="2022-11-25T16:03:11.345" v="8554" actId="478"/>
          <ac:spMkLst>
            <pc:docMk/>
            <pc:sldMk cId="1349800289" sldId="2147470888"/>
            <ac:spMk id="3" creationId="{55D7C94A-FC28-493D-8E69-83F3E03F9077}"/>
          </ac:spMkLst>
        </pc:spChg>
        <pc:spChg chg="del">
          <ac:chgData name="YUAN Huaxing" userId="680cda70-8f8f-41b8-bd50-03497d97776e" providerId="ADAL" clId="{A2A0405A-6B1F-4AFE-ADF4-06FBC564D530}" dt="2022-11-25T15:57:07.651" v="8202" actId="3680"/>
          <ac:spMkLst>
            <pc:docMk/>
            <pc:sldMk cId="1349800289" sldId="2147470888"/>
            <ac:spMk id="4" creationId="{C25FFC1D-2A7B-4C52-BB36-4CC43B0A1760}"/>
          </ac:spMkLst>
        </pc:spChg>
        <pc:spChg chg="mod ord">
          <ac:chgData name="YUAN Huaxing" userId="680cda70-8f8f-41b8-bd50-03497d97776e" providerId="ADAL" clId="{A2A0405A-6B1F-4AFE-ADF4-06FBC564D530}" dt="2022-11-25T16:04:56.071" v="8751" actId="790"/>
          <ac:spMkLst>
            <pc:docMk/>
            <pc:sldMk cId="1349800289" sldId="2147470888"/>
            <ac:spMk id="5" creationId="{3CF81940-8CAC-47B5-93D6-EAA400B90D9D}"/>
          </ac:spMkLst>
        </pc:spChg>
        <pc:spChg chg="mod ord">
          <ac:chgData name="YUAN Huaxing" userId="680cda70-8f8f-41b8-bd50-03497d97776e" providerId="ADAL" clId="{A2A0405A-6B1F-4AFE-ADF4-06FBC564D530}" dt="2022-11-25T16:04:56.071" v="8751" actId="790"/>
          <ac:spMkLst>
            <pc:docMk/>
            <pc:sldMk cId="1349800289" sldId="2147470888"/>
            <ac:spMk id="6" creationId="{96512D7E-BF7C-4FE6-90AC-ECC6FF63A87F}"/>
          </ac:spMkLst>
        </pc:spChg>
        <pc:spChg chg="add del mod">
          <ac:chgData name="YUAN Huaxing" userId="680cda70-8f8f-41b8-bd50-03497d97776e" providerId="ADAL" clId="{A2A0405A-6B1F-4AFE-ADF4-06FBC564D530}" dt="2022-11-25T16:03:51.776" v="8582"/>
          <ac:spMkLst>
            <pc:docMk/>
            <pc:sldMk cId="1349800289" sldId="2147470888"/>
            <ac:spMk id="9" creationId="{1C0C7C61-AB7C-4B1B-81B2-F5961088B1F9}"/>
          </ac:spMkLst>
        </pc:spChg>
        <pc:spChg chg="add mod ord">
          <ac:chgData name="YUAN Huaxing" userId="680cda70-8f8f-41b8-bd50-03497d97776e" providerId="ADAL" clId="{A2A0405A-6B1F-4AFE-ADF4-06FBC564D530}" dt="2022-11-29T13:54:22.196" v="13829" actId="20577"/>
          <ac:spMkLst>
            <pc:docMk/>
            <pc:sldMk cId="1349800289" sldId="2147470888"/>
            <ac:spMk id="10" creationId="{C1E338E8-E84D-4E38-92A6-B844C769892E}"/>
          </ac:spMkLst>
        </pc:spChg>
        <pc:spChg chg="add mod">
          <ac:chgData name="YUAN Huaxing" userId="680cda70-8f8f-41b8-bd50-03497d97776e" providerId="ADAL" clId="{A2A0405A-6B1F-4AFE-ADF4-06FBC564D530}" dt="2022-11-25T16:05:58.416" v="8847" actId="20577"/>
          <ac:spMkLst>
            <pc:docMk/>
            <pc:sldMk cId="1349800289" sldId="2147470888"/>
            <ac:spMk id="11" creationId="{D086E61C-EE66-4C4A-BEC4-FBD9A1511AF2}"/>
          </ac:spMkLst>
        </pc:spChg>
        <pc:graphicFrameChg chg="add mod ord modGraphic">
          <ac:chgData name="YUAN Huaxing" userId="680cda70-8f8f-41b8-bd50-03497d97776e" providerId="ADAL" clId="{A2A0405A-6B1F-4AFE-ADF4-06FBC564D530}" dt="2022-12-01T14:35:54.117" v="17191" actId="20577"/>
          <ac:graphicFrameMkLst>
            <pc:docMk/>
            <pc:sldMk cId="1349800289" sldId="2147470888"/>
            <ac:graphicFrameMk id="7" creationId="{818F4A08-B265-4906-9459-52D7E5763DAD}"/>
          </ac:graphicFrameMkLst>
        </pc:graphicFrameChg>
        <pc:graphicFrameChg chg="add mod modGraphic">
          <ac:chgData name="YUAN Huaxing" userId="680cda70-8f8f-41b8-bd50-03497d97776e" providerId="ADAL" clId="{A2A0405A-6B1F-4AFE-ADF4-06FBC564D530}" dt="2022-11-29T13:54:37.829" v="13830" actId="6549"/>
          <ac:graphicFrameMkLst>
            <pc:docMk/>
            <pc:sldMk cId="1349800289" sldId="2147470888"/>
            <ac:graphicFrameMk id="8" creationId="{161E330E-CD2A-4601-9BDF-9596A6077B27}"/>
          </ac:graphicFrameMkLst>
        </pc:graphicFrameChg>
      </pc:sldChg>
      <pc:sldChg chg="addSp delSp modSp new del mod">
        <pc:chgData name="YUAN Huaxing" userId="680cda70-8f8f-41b8-bd50-03497d97776e" providerId="ADAL" clId="{A2A0405A-6B1F-4AFE-ADF4-06FBC564D530}" dt="2022-11-25T15:44:39.396" v="7785" actId="47"/>
        <pc:sldMkLst>
          <pc:docMk/>
          <pc:sldMk cId="3232793598" sldId="2147470888"/>
        </pc:sldMkLst>
        <pc:spChg chg="mod">
          <ac:chgData name="YUAN Huaxing" userId="680cda70-8f8f-41b8-bd50-03497d97776e" providerId="ADAL" clId="{A2A0405A-6B1F-4AFE-ADF4-06FBC564D530}" dt="2022-11-25T15:42:34.135" v="7494"/>
          <ac:spMkLst>
            <pc:docMk/>
            <pc:sldMk cId="3232793598" sldId="2147470888"/>
            <ac:spMk id="2" creationId="{86BC2B35-1FD9-43EB-9CFB-F8ED4F6CA3C4}"/>
          </ac:spMkLst>
        </pc:spChg>
        <pc:spChg chg="del">
          <ac:chgData name="YUAN Huaxing" userId="680cda70-8f8f-41b8-bd50-03497d97776e" providerId="ADAL" clId="{A2A0405A-6B1F-4AFE-ADF4-06FBC564D530}" dt="2022-11-25T15:42:44.196" v="7495" actId="3680"/>
          <ac:spMkLst>
            <pc:docMk/>
            <pc:sldMk cId="3232793598" sldId="2147470888"/>
            <ac:spMk id="4" creationId="{B625C937-9825-4124-AA39-59C3D287DF63}"/>
          </ac:spMkLst>
        </pc:spChg>
        <pc:graphicFrameChg chg="add mod ord modGraphic">
          <ac:chgData name="YUAN Huaxing" userId="680cda70-8f8f-41b8-bd50-03497d97776e" providerId="ADAL" clId="{A2A0405A-6B1F-4AFE-ADF4-06FBC564D530}" dt="2022-11-25T15:44:17.227" v="7784" actId="20577"/>
          <ac:graphicFrameMkLst>
            <pc:docMk/>
            <pc:sldMk cId="3232793598" sldId="2147470888"/>
            <ac:graphicFrameMk id="7" creationId="{B1800322-A4D8-47E6-AD63-92B2DC1E387F}"/>
          </ac:graphicFrameMkLst>
        </pc:graphicFrameChg>
      </pc:sldChg>
      <pc:sldChg chg="modSp new del mod">
        <pc:chgData name="YUAN Huaxing" userId="680cda70-8f8f-41b8-bd50-03497d97776e" providerId="ADAL" clId="{A2A0405A-6B1F-4AFE-ADF4-06FBC564D530}" dt="2022-12-01T14:46:47.430" v="17216" actId="47"/>
        <pc:sldMkLst>
          <pc:docMk/>
          <pc:sldMk cId="647505453" sldId="2147470889"/>
        </pc:sldMkLst>
        <pc:spChg chg="mod">
          <ac:chgData name="YUAN Huaxing" userId="680cda70-8f8f-41b8-bd50-03497d97776e" providerId="ADAL" clId="{A2A0405A-6B1F-4AFE-ADF4-06FBC564D530}" dt="2022-11-25T16:25:26.507" v="10426" actId="790"/>
          <ac:spMkLst>
            <pc:docMk/>
            <pc:sldMk cId="647505453" sldId="2147470889"/>
            <ac:spMk id="2" creationId="{06D1FA19-8FC6-4152-B31F-47E15B149686}"/>
          </ac:spMkLst>
        </pc:spChg>
        <pc:spChg chg="mod">
          <ac:chgData name="YUAN Huaxing" userId="680cda70-8f8f-41b8-bd50-03497d97776e" providerId="ADAL" clId="{A2A0405A-6B1F-4AFE-ADF4-06FBC564D530}" dt="2022-11-25T16:25:26.507" v="10426" actId="790"/>
          <ac:spMkLst>
            <pc:docMk/>
            <pc:sldMk cId="647505453" sldId="2147470889"/>
            <ac:spMk id="3" creationId="{6E8E1A1D-750C-47D1-BA02-87C1616792C9}"/>
          </ac:spMkLst>
        </pc:spChg>
        <pc:spChg chg="mod">
          <ac:chgData name="YUAN Huaxing" userId="680cda70-8f8f-41b8-bd50-03497d97776e" providerId="ADAL" clId="{A2A0405A-6B1F-4AFE-ADF4-06FBC564D530}" dt="2022-11-29T16:50:01.596" v="14579" actId="6549"/>
          <ac:spMkLst>
            <pc:docMk/>
            <pc:sldMk cId="647505453" sldId="2147470889"/>
            <ac:spMk id="4" creationId="{0CC4FD50-389B-4C10-A942-802D8A528F4E}"/>
          </ac:spMkLst>
        </pc:spChg>
        <pc:spChg chg="mod">
          <ac:chgData name="YUAN Huaxing" userId="680cda70-8f8f-41b8-bd50-03497d97776e" providerId="ADAL" clId="{A2A0405A-6B1F-4AFE-ADF4-06FBC564D530}" dt="2022-11-25T16:25:26.507" v="10426" actId="790"/>
          <ac:spMkLst>
            <pc:docMk/>
            <pc:sldMk cId="647505453" sldId="2147470889"/>
            <ac:spMk id="5" creationId="{F58AD9BE-3C59-4A2D-B12C-2CDA55AD30C0}"/>
          </ac:spMkLst>
        </pc:spChg>
        <pc:spChg chg="mod">
          <ac:chgData name="YUAN Huaxing" userId="680cda70-8f8f-41b8-bd50-03497d97776e" providerId="ADAL" clId="{A2A0405A-6B1F-4AFE-ADF4-06FBC564D530}" dt="2022-11-25T16:25:26.507" v="10426" actId="790"/>
          <ac:spMkLst>
            <pc:docMk/>
            <pc:sldMk cId="647505453" sldId="2147470889"/>
            <ac:spMk id="6" creationId="{9D03F105-DD95-4402-A9A9-0A3F363048E6}"/>
          </ac:spMkLst>
        </pc:spChg>
      </pc:sldChg>
      <pc:sldChg chg="modSp new del mod">
        <pc:chgData name="YUAN Huaxing" userId="680cda70-8f8f-41b8-bd50-03497d97776e" providerId="ADAL" clId="{A2A0405A-6B1F-4AFE-ADF4-06FBC564D530}" dt="2022-11-25T16:15:04.005" v="9361" actId="47"/>
        <pc:sldMkLst>
          <pc:docMk/>
          <pc:sldMk cId="1666368973" sldId="2147470890"/>
        </pc:sldMkLst>
        <pc:spChg chg="mod">
          <ac:chgData name="YUAN Huaxing" userId="680cda70-8f8f-41b8-bd50-03497d97776e" providerId="ADAL" clId="{A2A0405A-6B1F-4AFE-ADF4-06FBC564D530}" dt="2022-11-25T16:11:54.056" v="9291"/>
          <ac:spMkLst>
            <pc:docMk/>
            <pc:sldMk cId="1666368973" sldId="2147470890"/>
            <ac:spMk id="2" creationId="{6A95EFCE-70CA-4BC5-882D-24656C0B6076}"/>
          </ac:spMkLst>
        </pc:spChg>
      </pc:sldChg>
      <pc:sldChg chg="addSp delSp modSp add mod chgLayout">
        <pc:chgData name="YUAN Huaxing" userId="680cda70-8f8f-41b8-bd50-03497d97776e" providerId="ADAL" clId="{A2A0405A-6B1F-4AFE-ADF4-06FBC564D530}" dt="2022-11-25T16:16:40.767" v="9376"/>
        <pc:sldMkLst>
          <pc:docMk/>
          <pc:sldMk cId="546259168" sldId="2147470891"/>
        </pc:sldMkLst>
        <pc:spChg chg="add del mod ord">
          <ac:chgData name="YUAN Huaxing" userId="680cda70-8f8f-41b8-bd50-03497d97776e" providerId="ADAL" clId="{A2A0405A-6B1F-4AFE-ADF4-06FBC564D530}" dt="2022-11-25T16:13:19.455" v="9330" actId="700"/>
          <ac:spMkLst>
            <pc:docMk/>
            <pc:sldMk cId="546259168" sldId="2147470891"/>
            <ac:spMk id="2" creationId="{057BF958-FF18-4BF1-8722-A2745812B65E}"/>
          </ac:spMkLst>
        </pc:spChg>
        <pc:spChg chg="add del mod ord">
          <ac:chgData name="YUAN Huaxing" userId="680cda70-8f8f-41b8-bd50-03497d97776e" providerId="ADAL" clId="{A2A0405A-6B1F-4AFE-ADF4-06FBC564D530}" dt="2022-11-25T16:13:19.455" v="9330" actId="700"/>
          <ac:spMkLst>
            <pc:docMk/>
            <pc:sldMk cId="546259168" sldId="2147470891"/>
            <ac:spMk id="3" creationId="{75E4B3BF-1786-40CD-9BF5-7204277CB587}"/>
          </ac:spMkLst>
        </pc:spChg>
        <pc:spChg chg="add del mod ord">
          <ac:chgData name="YUAN Huaxing" userId="680cda70-8f8f-41b8-bd50-03497d97776e" providerId="ADAL" clId="{A2A0405A-6B1F-4AFE-ADF4-06FBC564D530}" dt="2022-11-25T16:13:19.455" v="9330" actId="700"/>
          <ac:spMkLst>
            <pc:docMk/>
            <pc:sldMk cId="546259168" sldId="2147470891"/>
            <ac:spMk id="4" creationId="{D6ED67CE-46A7-4D97-A3D8-B68D7703C4FC}"/>
          </ac:spMkLst>
        </pc:spChg>
        <pc:spChg chg="add mod ord">
          <ac:chgData name="YUAN Huaxing" userId="680cda70-8f8f-41b8-bd50-03497d97776e" providerId="ADAL" clId="{A2A0405A-6B1F-4AFE-ADF4-06FBC564D530}" dt="2022-11-25T16:16:40.767" v="9376"/>
          <ac:spMkLst>
            <pc:docMk/>
            <pc:sldMk cId="546259168" sldId="2147470891"/>
            <ac:spMk id="5" creationId="{A8202F02-255E-43C5-912F-1D3EC6DDCE78}"/>
          </ac:spMkLst>
        </pc:spChg>
        <pc:spChg chg="add mod ord">
          <ac:chgData name="YUAN Huaxing" userId="680cda70-8f8f-41b8-bd50-03497d97776e" providerId="ADAL" clId="{A2A0405A-6B1F-4AFE-ADF4-06FBC564D530}" dt="2022-11-25T16:13:40.242" v="9338"/>
          <ac:spMkLst>
            <pc:docMk/>
            <pc:sldMk cId="546259168" sldId="2147470891"/>
            <ac:spMk id="6" creationId="{1DA17E71-94E5-4AAF-AE1B-0C5811DF5E85}"/>
          </ac:spMkLst>
        </pc:spChg>
        <pc:spChg chg="add mod ord">
          <ac:chgData name="YUAN Huaxing" userId="680cda70-8f8f-41b8-bd50-03497d97776e" providerId="ADAL" clId="{A2A0405A-6B1F-4AFE-ADF4-06FBC564D530}" dt="2022-11-25T16:14:58.768" v="9360" actId="404"/>
          <ac:spMkLst>
            <pc:docMk/>
            <pc:sldMk cId="546259168" sldId="2147470891"/>
            <ac:spMk id="7" creationId="{217BE8D9-FBB0-497B-8E6A-2E7B471CB760}"/>
          </ac:spMkLst>
        </pc:spChg>
        <pc:spChg chg="del">
          <ac:chgData name="YUAN Huaxing" userId="680cda70-8f8f-41b8-bd50-03497d97776e" providerId="ADAL" clId="{A2A0405A-6B1F-4AFE-ADF4-06FBC564D530}" dt="2022-11-25T16:13:24.990" v="9333" actId="478"/>
          <ac:spMkLst>
            <pc:docMk/>
            <pc:sldMk cId="546259168" sldId="2147470891"/>
            <ac:spMk id="48" creationId="{DC228726-CFF1-4B8F-B320-9227F1387021}"/>
          </ac:spMkLst>
        </pc:spChg>
        <pc:spChg chg="del mod">
          <ac:chgData name="YUAN Huaxing" userId="680cda70-8f8f-41b8-bd50-03497d97776e" providerId="ADAL" clId="{A2A0405A-6B1F-4AFE-ADF4-06FBC564D530}" dt="2022-11-25T16:13:23.920" v="9332" actId="478"/>
          <ac:spMkLst>
            <pc:docMk/>
            <pc:sldMk cId="546259168" sldId="2147470891"/>
            <ac:spMk id="49" creationId="{49C9A6EA-E9EF-4C21-A099-3AFE031BB9A9}"/>
          </ac:spMkLst>
        </pc:spChg>
        <pc:spChg chg="mod">
          <ac:chgData name="YUAN Huaxing" userId="680cda70-8f8f-41b8-bd50-03497d97776e" providerId="ADAL" clId="{A2A0405A-6B1F-4AFE-ADF4-06FBC564D530}" dt="2022-11-25T16:13:59.626" v="9341" actId="6549"/>
          <ac:spMkLst>
            <pc:docMk/>
            <pc:sldMk cId="546259168" sldId="2147470891"/>
            <ac:spMk id="60" creationId="{0B48FB97-55BD-4F76-89F7-CFCD897C7408}"/>
          </ac:spMkLst>
        </pc:spChg>
        <pc:spChg chg="mod">
          <ac:chgData name="YUAN Huaxing" userId="680cda70-8f8f-41b8-bd50-03497d97776e" providerId="ADAL" clId="{A2A0405A-6B1F-4AFE-ADF4-06FBC564D530}" dt="2022-11-25T16:14:51.616" v="9359" actId="20577"/>
          <ac:spMkLst>
            <pc:docMk/>
            <pc:sldMk cId="546259168" sldId="2147470891"/>
            <ac:spMk id="65" creationId="{8D9FD89B-F06D-488B-BC7D-583924F8D602}"/>
          </ac:spMkLst>
        </pc:spChg>
        <pc:picChg chg="del">
          <ac:chgData name="YUAN Huaxing" userId="680cda70-8f8f-41b8-bd50-03497d97776e" providerId="ADAL" clId="{A2A0405A-6B1F-4AFE-ADF4-06FBC564D530}" dt="2022-11-25T16:14:15.544" v="9349" actId="478"/>
          <ac:picMkLst>
            <pc:docMk/>
            <pc:sldMk cId="546259168" sldId="2147470891"/>
            <ac:picMk id="64" creationId="{2DC64671-FCE7-4C25-AEEE-B30C9FD1FE89}"/>
          </ac:picMkLst>
        </pc:picChg>
        <pc:picChg chg="add mod">
          <ac:chgData name="YUAN Huaxing" userId="680cda70-8f8f-41b8-bd50-03497d97776e" providerId="ADAL" clId="{A2A0405A-6B1F-4AFE-ADF4-06FBC564D530}" dt="2022-11-25T16:14:47.723" v="9352" actId="1076"/>
          <ac:picMkLst>
            <pc:docMk/>
            <pc:sldMk cId="546259168" sldId="2147470891"/>
            <ac:picMk id="1026" creationId="{E3CAC0BA-E21C-44BF-BF86-6128732A4D47}"/>
          </ac:picMkLst>
        </pc:picChg>
      </pc:sldChg>
      <pc:sldChg chg="addSp delSp modSp new mod">
        <pc:chgData name="YUAN Huaxing" userId="680cda70-8f8f-41b8-bd50-03497d97776e" providerId="ADAL" clId="{A2A0405A-6B1F-4AFE-ADF4-06FBC564D530}" dt="2022-12-01T17:30:05.740" v="17998" actId="478"/>
        <pc:sldMkLst>
          <pc:docMk/>
          <pc:sldMk cId="1386994369" sldId="2147470892"/>
        </pc:sldMkLst>
        <pc:spChg chg="mod">
          <ac:chgData name="YUAN Huaxing" userId="680cda70-8f8f-41b8-bd50-03497d97776e" providerId="ADAL" clId="{A2A0405A-6B1F-4AFE-ADF4-06FBC564D530}" dt="2022-11-28T14:56:11.811" v="10510" actId="790"/>
          <ac:spMkLst>
            <pc:docMk/>
            <pc:sldMk cId="1386994369" sldId="2147470892"/>
            <ac:spMk id="2" creationId="{36F0644C-FBE3-418D-846E-E0C7A578B765}"/>
          </ac:spMkLst>
        </pc:spChg>
        <pc:spChg chg="mod">
          <ac:chgData name="YUAN Huaxing" userId="680cda70-8f8f-41b8-bd50-03497d97776e" providerId="ADAL" clId="{A2A0405A-6B1F-4AFE-ADF4-06FBC564D530}" dt="2022-11-28T14:56:11.811" v="10510" actId="790"/>
          <ac:spMkLst>
            <pc:docMk/>
            <pc:sldMk cId="1386994369" sldId="2147470892"/>
            <ac:spMk id="3" creationId="{D142C2DB-4B85-4156-9FD4-BBAA52DE7CE5}"/>
          </ac:spMkLst>
        </pc:spChg>
        <pc:spChg chg="add del mod">
          <ac:chgData name="YUAN Huaxing" userId="680cda70-8f8f-41b8-bd50-03497d97776e" providerId="ADAL" clId="{A2A0405A-6B1F-4AFE-ADF4-06FBC564D530}" dt="2022-12-01T16:18:19.170" v="17995" actId="478"/>
          <ac:spMkLst>
            <pc:docMk/>
            <pc:sldMk cId="1386994369" sldId="2147470892"/>
            <ac:spMk id="4" creationId="{D80A4A7C-DF45-443B-A2CE-A36FA40D7BB5}"/>
          </ac:spMkLst>
        </pc:spChg>
        <pc:spChg chg="del mod">
          <ac:chgData name="YUAN Huaxing" userId="680cda70-8f8f-41b8-bd50-03497d97776e" providerId="ADAL" clId="{A2A0405A-6B1F-4AFE-ADF4-06FBC564D530}" dt="2022-12-01T09:35:24.820" v="14667" actId="478"/>
          <ac:spMkLst>
            <pc:docMk/>
            <pc:sldMk cId="1386994369" sldId="2147470892"/>
            <ac:spMk id="4" creationId="{F5A261B5-BAC9-48CC-A570-67C917BF9BA0}"/>
          </ac:spMkLst>
        </pc:spChg>
        <pc:spChg chg="mod">
          <ac:chgData name="YUAN Huaxing" userId="680cda70-8f8f-41b8-bd50-03497d97776e" providerId="ADAL" clId="{A2A0405A-6B1F-4AFE-ADF4-06FBC564D530}" dt="2022-11-28T14:56:11.811" v="10510" actId="790"/>
          <ac:spMkLst>
            <pc:docMk/>
            <pc:sldMk cId="1386994369" sldId="2147470892"/>
            <ac:spMk id="5" creationId="{916732CF-FDDE-4C8C-9A04-D734BA6020D5}"/>
          </ac:spMkLst>
        </pc:spChg>
        <pc:spChg chg="mod">
          <ac:chgData name="YUAN Huaxing" userId="680cda70-8f8f-41b8-bd50-03497d97776e" providerId="ADAL" clId="{A2A0405A-6B1F-4AFE-ADF4-06FBC564D530}" dt="2022-11-28T14:56:11.811" v="10510" actId="790"/>
          <ac:spMkLst>
            <pc:docMk/>
            <pc:sldMk cId="1386994369" sldId="2147470892"/>
            <ac:spMk id="6" creationId="{B470C6E2-F4B7-4CDC-B708-A765C968D195}"/>
          </ac:spMkLst>
        </pc:spChg>
        <pc:spChg chg="add mod">
          <ac:chgData name="YUAN Huaxing" userId="680cda70-8f8f-41b8-bd50-03497d97776e" providerId="ADAL" clId="{A2A0405A-6B1F-4AFE-ADF4-06FBC564D530}" dt="2022-12-01T16:18:16.465" v="17994" actId="1076"/>
          <ac:spMkLst>
            <pc:docMk/>
            <pc:sldMk cId="1386994369" sldId="2147470892"/>
            <ac:spMk id="7" creationId="{782B906B-24EF-4479-9839-35096C18A08C}"/>
          </ac:spMkLst>
        </pc:spChg>
        <pc:spChg chg="add del mod">
          <ac:chgData name="YUAN Huaxing" userId="680cda70-8f8f-41b8-bd50-03497d97776e" providerId="ADAL" clId="{A2A0405A-6B1F-4AFE-ADF4-06FBC564D530}" dt="2022-12-01T09:35:27.221" v="14668" actId="478"/>
          <ac:spMkLst>
            <pc:docMk/>
            <pc:sldMk cId="1386994369" sldId="2147470892"/>
            <ac:spMk id="8" creationId="{618C8E45-87B7-4E06-8F01-F2F458DCB2A8}"/>
          </ac:spMkLst>
        </pc:spChg>
        <pc:spChg chg="add mod">
          <ac:chgData name="YUAN Huaxing" userId="680cda70-8f8f-41b8-bd50-03497d97776e" providerId="ADAL" clId="{A2A0405A-6B1F-4AFE-ADF4-06FBC564D530}" dt="2022-12-01T16:18:16.465" v="17994" actId="1076"/>
          <ac:spMkLst>
            <pc:docMk/>
            <pc:sldMk cId="1386994369" sldId="2147470892"/>
            <ac:spMk id="11" creationId="{74D18408-8A84-41CE-AB31-C492A7E834AE}"/>
          </ac:spMkLst>
        </pc:spChg>
        <pc:spChg chg="add mod">
          <ac:chgData name="YUAN Huaxing" userId="680cda70-8f8f-41b8-bd50-03497d97776e" providerId="ADAL" clId="{A2A0405A-6B1F-4AFE-ADF4-06FBC564D530}" dt="2022-12-01T16:14:32.661" v="17954" actId="1076"/>
          <ac:spMkLst>
            <pc:docMk/>
            <pc:sldMk cId="1386994369" sldId="2147470892"/>
            <ac:spMk id="12" creationId="{6BA8E73F-69D9-4A00-9942-E61D2C6605CE}"/>
          </ac:spMkLst>
        </pc:spChg>
        <pc:spChg chg="add del mod">
          <ac:chgData name="YUAN Huaxing" userId="680cda70-8f8f-41b8-bd50-03497d97776e" providerId="ADAL" clId="{A2A0405A-6B1F-4AFE-ADF4-06FBC564D530}" dt="2022-12-01T17:30:05.740" v="17998" actId="478"/>
          <ac:spMkLst>
            <pc:docMk/>
            <pc:sldMk cId="1386994369" sldId="2147470892"/>
            <ac:spMk id="13" creationId="{DBF682B6-C40F-437D-A59A-528F80379521}"/>
          </ac:spMkLst>
        </pc:spChg>
        <pc:spChg chg="add mod">
          <ac:chgData name="YUAN Huaxing" userId="680cda70-8f8f-41b8-bd50-03497d97776e" providerId="ADAL" clId="{A2A0405A-6B1F-4AFE-ADF4-06FBC564D530}" dt="2022-12-01T16:15:39.813" v="17964" actId="1076"/>
          <ac:spMkLst>
            <pc:docMk/>
            <pc:sldMk cId="1386994369" sldId="2147470892"/>
            <ac:spMk id="14" creationId="{9428182F-924D-413C-975E-22724D7CE075}"/>
          </ac:spMkLst>
        </pc:spChg>
        <pc:spChg chg="add mod">
          <ac:chgData name="YUAN Huaxing" userId="680cda70-8f8f-41b8-bd50-03497d97776e" providerId="ADAL" clId="{A2A0405A-6B1F-4AFE-ADF4-06FBC564D530}" dt="2022-12-01T16:15:39.813" v="17964" actId="1076"/>
          <ac:spMkLst>
            <pc:docMk/>
            <pc:sldMk cId="1386994369" sldId="2147470892"/>
            <ac:spMk id="15" creationId="{8252C95C-886B-42F4-8836-DAE2347B7C34}"/>
          </ac:spMkLst>
        </pc:spChg>
        <pc:spChg chg="add mod">
          <ac:chgData name="YUAN Huaxing" userId="680cda70-8f8f-41b8-bd50-03497d97776e" providerId="ADAL" clId="{A2A0405A-6B1F-4AFE-ADF4-06FBC564D530}" dt="2022-12-01T16:15:39.813" v="17964" actId="1076"/>
          <ac:spMkLst>
            <pc:docMk/>
            <pc:sldMk cId="1386994369" sldId="2147470892"/>
            <ac:spMk id="16" creationId="{CE8B1724-D357-426D-96D5-5B2F11D07FF5}"/>
          </ac:spMkLst>
        </pc:spChg>
        <pc:spChg chg="add mod">
          <ac:chgData name="YUAN Huaxing" userId="680cda70-8f8f-41b8-bd50-03497d97776e" providerId="ADAL" clId="{A2A0405A-6B1F-4AFE-ADF4-06FBC564D530}" dt="2022-12-01T16:18:16.465" v="17994" actId="1076"/>
          <ac:spMkLst>
            <pc:docMk/>
            <pc:sldMk cId="1386994369" sldId="2147470892"/>
            <ac:spMk id="17" creationId="{97B06F6D-376C-424D-AAEC-477127F69DE6}"/>
          </ac:spMkLst>
        </pc:spChg>
        <pc:spChg chg="add mod">
          <ac:chgData name="YUAN Huaxing" userId="680cda70-8f8f-41b8-bd50-03497d97776e" providerId="ADAL" clId="{A2A0405A-6B1F-4AFE-ADF4-06FBC564D530}" dt="2022-12-01T16:18:16.465" v="17994" actId="1076"/>
          <ac:spMkLst>
            <pc:docMk/>
            <pc:sldMk cId="1386994369" sldId="2147470892"/>
            <ac:spMk id="18" creationId="{6DD5A138-18AA-4638-B173-C0E549FB63A9}"/>
          </ac:spMkLst>
        </pc:spChg>
        <pc:spChg chg="add mod">
          <ac:chgData name="YUAN Huaxing" userId="680cda70-8f8f-41b8-bd50-03497d97776e" providerId="ADAL" clId="{A2A0405A-6B1F-4AFE-ADF4-06FBC564D530}" dt="2022-12-01T16:18:16.465" v="17994" actId="1076"/>
          <ac:spMkLst>
            <pc:docMk/>
            <pc:sldMk cId="1386994369" sldId="2147470892"/>
            <ac:spMk id="19" creationId="{538F6CA4-9C1B-494F-926E-ED125032F245}"/>
          </ac:spMkLst>
        </pc:spChg>
        <pc:spChg chg="add mod">
          <ac:chgData name="YUAN Huaxing" userId="680cda70-8f8f-41b8-bd50-03497d97776e" providerId="ADAL" clId="{A2A0405A-6B1F-4AFE-ADF4-06FBC564D530}" dt="2022-12-01T16:18:16.465" v="17994" actId="1076"/>
          <ac:spMkLst>
            <pc:docMk/>
            <pc:sldMk cId="1386994369" sldId="2147470892"/>
            <ac:spMk id="20" creationId="{DFB34521-E8F2-4F02-9467-DAC4A694D185}"/>
          </ac:spMkLst>
        </pc:spChg>
        <pc:spChg chg="add mod">
          <ac:chgData name="YUAN Huaxing" userId="680cda70-8f8f-41b8-bd50-03497d97776e" providerId="ADAL" clId="{A2A0405A-6B1F-4AFE-ADF4-06FBC564D530}" dt="2022-12-01T16:14:25.957" v="17953" actId="1076"/>
          <ac:spMkLst>
            <pc:docMk/>
            <pc:sldMk cId="1386994369" sldId="2147470892"/>
            <ac:spMk id="21" creationId="{36CA6C6F-646C-4186-B9FA-E914DEBFFE06}"/>
          </ac:spMkLst>
        </pc:spChg>
        <pc:spChg chg="add mod">
          <ac:chgData name="YUAN Huaxing" userId="680cda70-8f8f-41b8-bd50-03497d97776e" providerId="ADAL" clId="{A2A0405A-6B1F-4AFE-ADF4-06FBC564D530}" dt="2022-12-01T16:14:25.957" v="17953" actId="1076"/>
          <ac:spMkLst>
            <pc:docMk/>
            <pc:sldMk cId="1386994369" sldId="2147470892"/>
            <ac:spMk id="22" creationId="{D99B19BC-B26A-4758-9151-4AD1AD61D450}"/>
          </ac:spMkLst>
        </pc:spChg>
        <pc:spChg chg="add mod">
          <ac:chgData name="YUAN Huaxing" userId="680cda70-8f8f-41b8-bd50-03497d97776e" providerId="ADAL" clId="{A2A0405A-6B1F-4AFE-ADF4-06FBC564D530}" dt="2022-12-01T16:18:27.428" v="17996" actId="1076"/>
          <ac:spMkLst>
            <pc:docMk/>
            <pc:sldMk cId="1386994369" sldId="2147470892"/>
            <ac:spMk id="23" creationId="{172C49A7-BE6C-447D-B10C-EF9FEAF9E053}"/>
          </ac:spMkLst>
        </pc:spChg>
        <pc:spChg chg="add del">
          <ac:chgData name="YUAN Huaxing" userId="680cda70-8f8f-41b8-bd50-03497d97776e" providerId="ADAL" clId="{A2A0405A-6B1F-4AFE-ADF4-06FBC564D530}" dt="2022-12-01T10:43:45.280" v="15909" actId="22"/>
          <ac:spMkLst>
            <pc:docMk/>
            <pc:sldMk cId="1386994369" sldId="2147470892"/>
            <ac:spMk id="24" creationId="{856F23E7-F238-4098-8333-BBC4B5335C60}"/>
          </ac:spMkLst>
        </pc:spChg>
        <pc:spChg chg="add mod">
          <ac:chgData name="YUAN Huaxing" userId="680cda70-8f8f-41b8-bd50-03497d97776e" providerId="ADAL" clId="{A2A0405A-6B1F-4AFE-ADF4-06FBC564D530}" dt="2022-12-01T16:18:27.428" v="17996" actId="1076"/>
          <ac:spMkLst>
            <pc:docMk/>
            <pc:sldMk cId="1386994369" sldId="2147470892"/>
            <ac:spMk id="25" creationId="{77AB5D36-4B2D-4FE8-9D79-E244F82B837A}"/>
          </ac:spMkLst>
        </pc:spChg>
        <pc:spChg chg="add del mod">
          <ac:chgData name="YUAN Huaxing" userId="680cda70-8f8f-41b8-bd50-03497d97776e" providerId="ADAL" clId="{A2A0405A-6B1F-4AFE-ADF4-06FBC564D530}" dt="2022-12-01T16:12:57.110" v="17934" actId="478"/>
          <ac:spMkLst>
            <pc:docMk/>
            <pc:sldMk cId="1386994369" sldId="2147470892"/>
            <ac:spMk id="26" creationId="{923CB586-C505-40E4-B450-E0077379526A}"/>
          </ac:spMkLst>
        </pc:spChg>
        <pc:spChg chg="add del mod">
          <ac:chgData name="YUAN Huaxing" userId="680cda70-8f8f-41b8-bd50-03497d97776e" providerId="ADAL" clId="{A2A0405A-6B1F-4AFE-ADF4-06FBC564D530}" dt="2022-12-01T16:12:57.110" v="17934" actId="478"/>
          <ac:spMkLst>
            <pc:docMk/>
            <pc:sldMk cId="1386994369" sldId="2147470892"/>
            <ac:spMk id="27" creationId="{CBCFEB4D-BAE9-49E1-9122-F5192666C7C9}"/>
          </ac:spMkLst>
        </pc:spChg>
        <pc:spChg chg="add del mod">
          <ac:chgData name="YUAN Huaxing" userId="680cda70-8f8f-41b8-bd50-03497d97776e" providerId="ADAL" clId="{A2A0405A-6B1F-4AFE-ADF4-06FBC564D530}" dt="2022-12-01T16:12:57.110" v="17934" actId="478"/>
          <ac:spMkLst>
            <pc:docMk/>
            <pc:sldMk cId="1386994369" sldId="2147470892"/>
            <ac:spMk id="28" creationId="{FE2AD81E-3FF1-46B3-9808-6FBB10DD419A}"/>
          </ac:spMkLst>
        </pc:spChg>
        <pc:spChg chg="add del mod">
          <ac:chgData name="YUAN Huaxing" userId="680cda70-8f8f-41b8-bd50-03497d97776e" providerId="ADAL" clId="{A2A0405A-6B1F-4AFE-ADF4-06FBC564D530}" dt="2022-12-01T16:12:57.110" v="17934" actId="478"/>
          <ac:spMkLst>
            <pc:docMk/>
            <pc:sldMk cId="1386994369" sldId="2147470892"/>
            <ac:spMk id="29" creationId="{3185F92A-91C9-49F7-88F8-3AE47C5D1A52}"/>
          </ac:spMkLst>
        </pc:spChg>
        <pc:spChg chg="add del mod">
          <ac:chgData name="YUAN Huaxing" userId="680cda70-8f8f-41b8-bd50-03497d97776e" providerId="ADAL" clId="{A2A0405A-6B1F-4AFE-ADF4-06FBC564D530}" dt="2022-12-01T16:12:57.110" v="17934" actId="478"/>
          <ac:spMkLst>
            <pc:docMk/>
            <pc:sldMk cId="1386994369" sldId="2147470892"/>
            <ac:spMk id="30" creationId="{C539F7A8-0875-4EC2-9456-A3E3E539AAF2}"/>
          </ac:spMkLst>
        </pc:spChg>
        <pc:spChg chg="add del mod">
          <ac:chgData name="YUAN Huaxing" userId="680cda70-8f8f-41b8-bd50-03497d97776e" providerId="ADAL" clId="{A2A0405A-6B1F-4AFE-ADF4-06FBC564D530}" dt="2022-12-01T16:12:57.110" v="17934" actId="478"/>
          <ac:spMkLst>
            <pc:docMk/>
            <pc:sldMk cId="1386994369" sldId="2147470892"/>
            <ac:spMk id="31" creationId="{D25F5064-EC26-4C06-8A7B-9A362DB31A1A}"/>
          </ac:spMkLst>
        </pc:spChg>
        <pc:spChg chg="add del mod">
          <ac:chgData name="YUAN Huaxing" userId="680cda70-8f8f-41b8-bd50-03497d97776e" providerId="ADAL" clId="{A2A0405A-6B1F-4AFE-ADF4-06FBC564D530}" dt="2022-12-01T16:13:00.327" v="17936"/>
          <ac:spMkLst>
            <pc:docMk/>
            <pc:sldMk cId="1386994369" sldId="2147470892"/>
            <ac:spMk id="32" creationId="{3CF89215-7755-4963-B060-5EA3EC644C02}"/>
          </ac:spMkLst>
        </pc:spChg>
        <pc:spChg chg="add mod">
          <ac:chgData name="YUAN Huaxing" userId="680cda70-8f8f-41b8-bd50-03497d97776e" providerId="ADAL" clId="{A2A0405A-6B1F-4AFE-ADF4-06FBC564D530}" dt="2022-12-01T16:18:27.428" v="17996" actId="1076"/>
          <ac:spMkLst>
            <pc:docMk/>
            <pc:sldMk cId="1386994369" sldId="2147470892"/>
            <ac:spMk id="33" creationId="{00B5A998-0482-4281-84AF-2ED694FE698E}"/>
          </ac:spMkLst>
        </pc:spChg>
        <pc:spChg chg="add mod">
          <ac:chgData name="YUAN Huaxing" userId="680cda70-8f8f-41b8-bd50-03497d97776e" providerId="ADAL" clId="{A2A0405A-6B1F-4AFE-ADF4-06FBC564D530}" dt="2022-12-01T16:18:27.428" v="17996" actId="1076"/>
          <ac:spMkLst>
            <pc:docMk/>
            <pc:sldMk cId="1386994369" sldId="2147470892"/>
            <ac:spMk id="34" creationId="{E6F5AF4B-C889-4BB5-B4D8-4A42A23D8887}"/>
          </ac:spMkLst>
        </pc:spChg>
        <pc:spChg chg="add mod">
          <ac:chgData name="YUAN Huaxing" userId="680cda70-8f8f-41b8-bd50-03497d97776e" providerId="ADAL" clId="{A2A0405A-6B1F-4AFE-ADF4-06FBC564D530}" dt="2022-12-01T16:18:27.428" v="17996" actId="1076"/>
          <ac:spMkLst>
            <pc:docMk/>
            <pc:sldMk cId="1386994369" sldId="2147470892"/>
            <ac:spMk id="35" creationId="{F82E9FDC-D9C1-4954-B2DC-06BC68924FF7}"/>
          </ac:spMkLst>
        </pc:spChg>
        <pc:spChg chg="add mod">
          <ac:chgData name="YUAN Huaxing" userId="680cda70-8f8f-41b8-bd50-03497d97776e" providerId="ADAL" clId="{A2A0405A-6B1F-4AFE-ADF4-06FBC564D530}" dt="2022-12-01T16:18:27.428" v="17996" actId="1076"/>
          <ac:spMkLst>
            <pc:docMk/>
            <pc:sldMk cId="1386994369" sldId="2147470892"/>
            <ac:spMk id="36" creationId="{9F1AE134-7FF8-4DC1-9AC8-5592A1CD3119}"/>
          </ac:spMkLst>
        </pc:spChg>
        <pc:spChg chg="add mod">
          <ac:chgData name="YUAN Huaxing" userId="680cda70-8f8f-41b8-bd50-03497d97776e" providerId="ADAL" clId="{A2A0405A-6B1F-4AFE-ADF4-06FBC564D530}" dt="2022-12-01T16:18:27.428" v="17996" actId="1076"/>
          <ac:spMkLst>
            <pc:docMk/>
            <pc:sldMk cId="1386994369" sldId="2147470892"/>
            <ac:spMk id="37" creationId="{C32A26F0-10AF-4400-98D3-7F66307C7918}"/>
          </ac:spMkLst>
        </pc:spChg>
        <pc:spChg chg="add mod">
          <ac:chgData name="YUAN Huaxing" userId="680cda70-8f8f-41b8-bd50-03497d97776e" providerId="ADAL" clId="{A2A0405A-6B1F-4AFE-ADF4-06FBC564D530}" dt="2022-12-01T16:18:27.428" v="17996" actId="1076"/>
          <ac:spMkLst>
            <pc:docMk/>
            <pc:sldMk cId="1386994369" sldId="2147470892"/>
            <ac:spMk id="38" creationId="{DC71BC99-5A94-411D-82A5-592D7BE9E8F7}"/>
          </ac:spMkLst>
        </pc:spChg>
        <pc:spChg chg="add mod ord">
          <ac:chgData name="YUAN Huaxing" userId="680cda70-8f8f-41b8-bd50-03497d97776e" providerId="ADAL" clId="{A2A0405A-6B1F-4AFE-ADF4-06FBC564D530}" dt="2022-12-01T16:17:02.287" v="17982" actId="14100"/>
          <ac:spMkLst>
            <pc:docMk/>
            <pc:sldMk cId="1386994369" sldId="2147470892"/>
            <ac:spMk id="39" creationId="{34BB7444-6A7B-4A63-805B-923BE359F94F}"/>
          </ac:spMkLst>
        </pc:spChg>
        <pc:spChg chg="add mod ord">
          <ac:chgData name="YUAN Huaxing" userId="680cda70-8f8f-41b8-bd50-03497d97776e" providerId="ADAL" clId="{A2A0405A-6B1F-4AFE-ADF4-06FBC564D530}" dt="2022-12-01T16:16:58.986" v="17981" actId="14100"/>
          <ac:spMkLst>
            <pc:docMk/>
            <pc:sldMk cId="1386994369" sldId="2147470892"/>
            <ac:spMk id="40" creationId="{728973F2-F3AF-4155-A49C-67BF6D37CF2B}"/>
          </ac:spMkLst>
        </pc:spChg>
        <pc:spChg chg="add mod ord">
          <ac:chgData name="YUAN Huaxing" userId="680cda70-8f8f-41b8-bd50-03497d97776e" providerId="ADAL" clId="{A2A0405A-6B1F-4AFE-ADF4-06FBC564D530}" dt="2022-12-01T16:17:06.978" v="17983" actId="14100"/>
          <ac:spMkLst>
            <pc:docMk/>
            <pc:sldMk cId="1386994369" sldId="2147470892"/>
            <ac:spMk id="41" creationId="{06AC8089-0D4E-4838-A696-251DA0B8BB2F}"/>
          </ac:spMkLst>
        </pc:spChg>
        <pc:graphicFrameChg chg="add mod modGraphic">
          <ac:chgData name="YUAN Huaxing" userId="680cda70-8f8f-41b8-bd50-03497d97776e" providerId="ADAL" clId="{A2A0405A-6B1F-4AFE-ADF4-06FBC564D530}" dt="2022-12-01T10:46:18.820" v="15963" actId="12100"/>
          <ac:graphicFrameMkLst>
            <pc:docMk/>
            <pc:sldMk cId="1386994369" sldId="2147470892"/>
            <ac:graphicFrameMk id="9" creationId="{5A9BEC4D-F2E0-4739-8E3F-C70BC67DE21B}"/>
          </ac:graphicFrameMkLst>
        </pc:graphicFrameChg>
        <pc:cxnChg chg="add mod">
          <ac:chgData name="YUAN Huaxing" userId="680cda70-8f8f-41b8-bd50-03497d97776e" providerId="ADAL" clId="{A2A0405A-6B1F-4AFE-ADF4-06FBC564D530}" dt="2022-12-01T16:17:46.711" v="17988" actId="208"/>
          <ac:cxnSpMkLst>
            <pc:docMk/>
            <pc:sldMk cId="1386994369" sldId="2147470892"/>
            <ac:cxnSpMk id="43" creationId="{DF7B0EA5-F1F9-4E23-BBB1-801D880AF502}"/>
          </ac:cxnSpMkLst>
        </pc:cxnChg>
        <pc:cxnChg chg="add mod">
          <ac:chgData name="YUAN Huaxing" userId="680cda70-8f8f-41b8-bd50-03497d97776e" providerId="ADAL" clId="{A2A0405A-6B1F-4AFE-ADF4-06FBC564D530}" dt="2022-12-01T16:17:46.711" v="17988" actId="208"/>
          <ac:cxnSpMkLst>
            <pc:docMk/>
            <pc:sldMk cId="1386994369" sldId="2147470892"/>
            <ac:cxnSpMk id="45" creationId="{98711BA3-1335-4880-8A5B-E0341A6DFB40}"/>
          </ac:cxnSpMkLst>
        </pc:cxnChg>
        <pc:cxnChg chg="add mod">
          <ac:chgData name="YUAN Huaxing" userId="680cda70-8f8f-41b8-bd50-03497d97776e" providerId="ADAL" clId="{A2A0405A-6B1F-4AFE-ADF4-06FBC564D530}" dt="2022-12-01T16:17:55.796" v="17990" actId="1076"/>
          <ac:cxnSpMkLst>
            <pc:docMk/>
            <pc:sldMk cId="1386994369" sldId="2147470892"/>
            <ac:cxnSpMk id="47" creationId="{52E6956E-36AE-4D53-84BF-60C58A3F4F1F}"/>
          </ac:cxnSpMkLst>
        </pc:cxnChg>
        <pc:cxnChg chg="add mod">
          <ac:chgData name="YUAN Huaxing" userId="680cda70-8f8f-41b8-bd50-03497d97776e" providerId="ADAL" clId="{A2A0405A-6B1F-4AFE-ADF4-06FBC564D530}" dt="2022-12-01T16:18:01.860" v="17992" actId="1076"/>
          <ac:cxnSpMkLst>
            <pc:docMk/>
            <pc:sldMk cId="1386994369" sldId="2147470892"/>
            <ac:cxnSpMk id="48" creationId="{CDC5AB7E-05D7-472A-8C71-D8C1A8797FB0}"/>
          </ac:cxnSpMkLst>
        </pc:cxnChg>
      </pc:sldChg>
      <pc:sldChg chg="addSp delSp modSp new mod">
        <pc:chgData name="YUAN Huaxing" userId="680cda70-8f8f-41b8-bd50-03497d97776e" providerId="ADAL" clId="{A2A0405A-6B1F-4AFE-ADF4-06FBC564D530}" dt="2022-12-02T14:02:51.190" v="21120" actId="1076"/>
        <pc:sldMkLst>
          <pc:docMk/>
          <pc:sldMk cId="2084846352" sldId="2147470893"/>
        </pc:sldMkLst>
        <pc:spChg chg="mod">
          <ac:chgData name="YUAN Huaxing" userId="680cda70-8f8f-41b8-bd50-03497d97776e" providerId="ADAL" clId="{A2A0405A-6B1F-4AFE-ADF4-06FBC564D530}" dt="2022-12-02T13:58:44.827" v="21114" actId="790"/>
          <ac:spMkLst>
            <pc:docMk/>
            <pc:sldMk cId="2084846352" sldId="2147470893"/>
            <ac:spMk id="2" creationId="{BD79FA95-99FB-49AA-A7DD-8BF230A62197}"/>
          </ac:spMkLst>
        </pc:spChg>
        <pc:spChg chg="mod">
          <ac:chgData name="YUAN Huaxing" userId="680cda70-8f8f-41b8-bd50-03497d97776e" providerId="ADAL" clId="{A2A0405A-6B1F-4AFE-ADF4-06FBC564D530}" dt="2022-12-02T13:58:44.827" v="21114" actId="790"/>
          <ac:spMkLst>
            <pc:docMk/>
            <pc:sldMk cId="2084846352" sldId="2147470893"/>
            <ac:spMk id="3" creationId="{68AF8710-928C-4B35-9F5D-394182D25184}"/>
          </ac:spMkLst>
        </pc:spChg>
        <pc:spChg chg="del mod">
          <ac:chgData name="YUAN Huaxing" userId="680cda70-8f8f-41b8-bd50-03497d97776e" providerId="ADAL" clId="{A2A0405A-6B1F-4AFE-ADF4-06FBC564D530}" dt="2022-12-01T17:31:14.348" v="18006" actId="3680"/>
          <ac:spMkLst>
            <pc:docMk/>
            <pc:sldMk cId="2084846352" sldId="2147470893"/>
            <ac:spMk id="4" creationId="{FA26AE9C-FD68-4358-BF6F-CB0D77D92288}"/>
          </ac:spMkLst>
        </pc:spChg>
        <pc:spChg chg="mod">
          <ac:chgData name="YUAN Huaxing" userId="680cda70-8f8f-41b8-bd50-03497d97776e" providerId="ADAL" clId="{A2A0405A-6B1F-4AFE-ADF4-06FBC564D530}" dt="2022-12-02T13:58:44.827" v="21114" actId="790"/>
          <ac:spMkLst>
            <pc:docMk/>
            <pc:sldMk cId="2084846352" sldId="2147470893"/>
            <ac:spMk id="5" creationId="{DBD14F44-FF5C-4254-9DCC-0322B57A0978}"/>
          </ac:spMkLst>
        </pc:spChg>
        <pc:spChg chg="mod">
          <ac:chgData name="YUAN Huaxing" userId="680cda70-8f8f-41b8-bd50-03497d97776e" providerId="ADAL" clId="{A2A0405A-6B1F-4AFE-ADF4-06FBC564D530}" dt="2022-12-02T13:58:44.827" v="21114" actId="790"/>
          <ac:spMkLst>
            <pc:docMk/>
            <pc:sldMk cId="2084846352" sldId="2147470893"/>
            <ac:spMk id="6" creationId="{18E7A924-43DB-457E-AC4B-F6B42DBE5105}"/>
          </ac:spMkLst>
        </pc:spChg>
        <pc:graphicFrameChg chg="add mod ord modGraphic">
          <ac:chgData name="YUAN Huaxing" userId="680cda70-8f8f-41b8-bd50-03497d97776e" providerId="ADAL" clId="{A2A0405A-6B1F-4AFE-ADF4-06FBC564D530}" dt="2022-12-02T14:02:51.190" v="21120" actId="1076"/>
          <ac:graphicFrameMkLst>
            <pc:docMk/>
            <pc:sldMk cId="2084846352" sldId="2147470893"/>
            <ac:graphicFrameMk id="7" creationId="{4ECCEC33-3996-458E-AA0F-54A813E68776}"/>
          </ac:graphicFrameMkLst>
        </pc:graphicFrameChg>
      </pc:sldChg>
      <pc:sldChg chg="addSp delSp modSp new mod ord">
        <pc:chgData name="YUAN Huaxing" userId="680cda70-8f8f-41b8-bd50-03497d97776e" providerId="ADAL" clId="{A2A0405A-6B1F-4AFE-ADF4-06FBC564D530}" dt="2023-01-11T09:42:38.124" v="21170" actId="20577"/>
        <pc:sldMkLst>
          <pc:docMk/>
          <pc:sldMk cId="1963164929" sldId="2147470894"/>
        </pc:sldMkLst>
        <pc:spChg chg="mod">
          <ac:chgData name="YUAN Huaxing" userId="680cda70-8f8f-41b8-bd50-03497d97776e" providerId="ADAL" clId="{A2A0405A-6B1F-4AFE-ADF4-06FBC564D530}" dt="2022-12-02T13:12:35.773" v="20529" actId="1076"/>
          <ac:spMkLst>
            <pc:docMk/>
            <pc:sldMk cId="1963164929" sldId="2147470894"/>
            <ac:spMk id="2" creationId="{F916A355-C0B9-40DE-8181-511D69D2D157}"/>
          </ac:spMkLst>
        </pc:spChg>
        <pc:spChg chg="del">
          <ac:chgData name="YUAN Huaxing" userId="680cda70-8f8f-41b8-bd50-03497d97776e" providerId="ADAL" clId="{A2A0405A-6B1F-4AFE-ADF4-06FBC564D530}" dt="2022-11-28T16:28:50.817" v="10590" actId="478"/>
          <ac:spMkLst>
            <pc:docMk/>
            <pc:sldMk cId="1963164929" sldId="2147470894"/>
            <ac:spMk id="3" creationId="{0B06FAEF-8844-478B-B81B-8314BA771418}"/>
          </ac:spMkLst>
        </pc:spChg>
        <pc:spChg chg="del">
          <ac:chgData name="YUAN Huaxing" userId="680cda70-8f8f-41b8-bd50-03497d97776e" providerId="ADAL" clId="{A2A0405A-6B1F-4AFE-ADF4-06FBC564D530}" dt="2022-11-28T16:28:51.866" v="10591" actId="478"/>
          <ac:spMkLst>
            <pc:docMk/>
            <pc:sldMk cId="1963164929" sldId="2147470894"/>
            <ac:spMk id="4" creationId="{259C2DBF-735A-4905-B429-5875A644514F}"/>
          </ac:spMkLst>
        </pc:spChg>
        <pc:spChg chg="del mod">
          <ac:chgData name="YUAN Huaxing" userId="680cda70-8f8f-41b8-bd50-03497d97776e" providerId="ADAL" clId="{A2A0405A-6B1F-4AFE-ADF4-06FBC564D530}" dt="2022-11-28T17:27:12.856" v="11657" actId="478"/>
          <ac:spMkLst>
            <pc:docMk/>
            <pc:sldMk cId="1963164929" sldId="2147470894"/>
            <ac:spMk id="5" creationId="{D65E5759-B27D-4966-A6FA-4A6ABCC92D11}"/>
          </ac:spMkLst>
        </pc:spChg>
        <pc:spChg chg="del mod">
          <ac:chgData name="YUAN Huaxing" userId="680cda70-8f8f-41b8-bd50-03497d97776e" providerId="ADAL" clId="{A2A0405A-6B1F-4AFE-ADF4-06FBC564D530}" dt="2022-11-28T17:27:15.125" v="11658" actId="478"/>
          <ac:spMkLst>
            <pc:docMk/>
            <pc:sldMk cId="1963164929" sldId="2147470894"/>
            <ac:spMk id="6" creationId="{1A577528-E155-4951-AA35-AD81EB51F5A3}"/>
          </ac:spMkLst>
        </pc:spChg>
        <pc:spChg chg="add del mod">
          <ac:chgData name="YUAN Huaxing" userId="680cda70-8f8f-41b8-bd50-03497d97776e" providerId="ADAL" clId="{A2A0405A-6B1F-4AFE-ADF4-06FBC564D530}" dt="2022-11-28T16:48:38.663" v="11252" actId="478"/>
          <ac:spMkLst>
            <pc:docMk/>
            <pc:sldMk cId="1963164929" sldId="2147470894"/>
            <ac:spMk id="7" creationId="{20355D2F-7BA7-4EF4-B02D-F60A84011516}"/>
          </ac:spMkLst>
        </pc:spChg>
        <pc:spChg chg="add mod">
          <ac:chgData name="YUAN Huaxing" userId="680cda70-8f8f-41b8-bd50-03497d97776e" providerId="ADAL" clId="{A2A0405A-6B1F-4AFE-ADF4-06FBC564D530}" dt="2022-12-02T13:40:06.581" v="21084" actId="554"/>
          <ac:spMkLst>
            <pc:docMk/>
            <pc:sldMk cId="1963164929" sldId="2147470894"/>
            <ac:spMk id="8" creationId="{BCB81558-3691-48B0-9D78-F390E4CE11CC}"/>
          </ac:spMkLst>
        </pc:spChg>
        <pc:spChg chg="add mod">
          <ac:chgData name="YUAN Huaxing" userId="680cda70-8f8f-41b8-bd50-03497d97776e" providerId="ADAL" clId="{A2A0405A-6B1F-4AFE-ADF4-06FBC564D530}" dt="2022-12-02T13:39:30.189" v="21080" actId="1035"/>
          <ac:spMkLst>
            <pc:docMk/>
            <pc:sldMk cId="1963164929" sldId="2147470894"/>
            <ac:spMk id="9" creationId="{7E9BF203-35DA-4F5F-9793-4B72EBBF789A}"/>
          </ac:spMkLst>
        </pc:spChg>
        <pc:spChg chg="add mod">
          <ac:chgData name="YUAN Huaxing" userId="680cda70-8f8f-41b8-bd50-03497d97776e" providerId="ADAL" clId="{A2A0405A-6B1F-4AFE-ADF4-06FBC564D530}" dt="2022-12-02T13:39:30.189" v="21080" actId="1035"/>
          <ac:spMkLst>
            <pc:docMk/>
            <pc:sldMk cId="1963164929" sldId="2147470894"/>
            <ac:spMk id="10" creationId="{F3F5CBCB-3F55-4DA8-8DC4-F0371DBEA1D7}"/>
          </ac:spMkLst>
        </pc:spChg>
        <pc:spChg chg="add mod">
          <ac:chgData name="YUAN Huaxing" userId="680cda70-8f8f-41b8-bd50-03497d97776e" providerId="ADAL" clId="{A2A0405A-6B1F-4AFE-ADF4-06FBC564D530}" dt="2022-12-02T13:39:24.656" v="21078" actId="1036"/>
          <ac:spMkLst>
            <pc:docMk/>
            <pc:sldMk cId="1963164929" sldId="2147470894"/>
            <ac:spMk id="11" creationId="{0E6BF0D3-65B0-43E7-AD16-0F3E424C4AFD}"/>
          </ac:spMkLst>
        </pc:spChg>
        <pc:spChg chg="add mod topLvl">
          <ac:chgData name="YUAN Huaxing" userId="680cda70-8f8f-41b8-bd50-03497d97776e" providerId="ADAL" clId="{A2A0405A-6B1F-4AFE-ADF4-06FBC564D530}" dt="2022-12-02T13:45:15.696" v="21089" actId="478"/>
          <ac:spMkLst>
            <pc:docMk/>
            <pc:sldMk cId="1963164929" sldId="2147470894"/>
            <ac:spMk id="12" creationId="{CBDF9AE1-34A6-4F09-B3A0-3368FBBC490C}"/>
          </ac:spMkLst>
        </pc:spChg>
        <pc:spChg chg="add mod">
          <ac:chgData name="YUAN Huaxing" userId="680cda70-8f8f-41b8-bd50-03497d97776e" providerId="ADAL" clId="{A2A0405A-6B1F-4AFE-ADF4-06FBC564D530}" dt="2022-12-02T13:39:30.189" v="21080" actId="1035"/>
          <ac:spMkLst>
            <pc:docMk/>
            <pc:sldMk cId="1963164929" sldId="2147470894"/>
            <ac:spMk id="13" creationId="{51C40A80-0E30-4DDF-9D0A-620B6E99BCF6}"/>
          </ac:spMkLst>
        </pc:spChg>
        <pc:spChg chg="add mod">
          <ac:chgData name="YUAN Huaxing" userId="680cda70-8f8f-41b8-bd50-03497d97776e" providerId="ADAL" clId="{A2A0405A-6B1F-4AFE-ADF4-06FBC564D530}" dt="2022-12-02T13:39:30.189" v="21080" actId="1035"/>
          <ac:spMkLst>
            <pc:docMk/>
            <pc:sldMk cId="1963164929" sldId="2147470894"/>
            <ac:spMk id="14" creationId="{6ADD7F34-05C6-43D7-B85C-C1D5B924E3A7}"/>
          </ac:spMkLst>
        </pc:spChg>
        <pc:spChg chg="add mod">
          <ac:chgData name="YUAN Huaxing" userId="680cda70-8f8f-41b8-bd50-03497d97776e" providerId="ADAL" clId="{A2A0405A-6B1F-4AFE-ADF4-06FBC564D530}" dt="2022-12-02T13:39:24.656" v="21078" actId="1036"/>
          <ac:spMkLst>
            <pc:docMk/>
            <pc:sldMk cId="1963164929" sldId="2147470894"/>
            <ac:spMk id="15" creationId="{413F1D1C-CE80-40E2-B29A-2F5E144E06BB}"/>
          </ac:spMkLst>
        </pc:spChg>
        <pc:spChg chg="add mod">
          <ac:chgData name="YUAN Huaxing" userId="680cda70-8f8f-41b8-bd50-03497d97776e" providerId="ADAL" clId="{A2A0405A-6B1F-4AFE-ADF4-06FBC564D530}" dt="2022-12-02T13:40:06.581" v="21084" actId="554"/>
          <ac:spMkLst>
            <pc:docMk/>
            <pc:sldMk cId="1963164929" sldId="2147470894"/>
            <ac:spMk id="18" creationId="{90C6872B-2C9B-4A09-A387-ADCA3E15A714}"/>
          </ac:spMkLst>
        </pc:spChg>
        <pc:spChg chg="add mod">
          <ac:chgData name="YUAN Huaxing" userId="680cda70-8f8f-41b8-bd50-03497d97776e" providerId="ADAL" clId="{A2A0405A-6B1F-4AFE-ADF4-06FBC564D530}" dt="2022-12-02T13:39:30.189" v="21080" actId="1035"/>
          <ac:spMkLst>
            <pc:docMk/>
            <pc:sldMk cId="1963164929" sldId="2147470894"/>
            <ac:spMk id="19" creationId="{21080E38-831B-4DAA-9794-8BB377F4F837}"/>
          </ac:spMkLst>
        </pc:spChg>
        <pc:spChg chg="add mod">
          <ac:chgData name="YUAN Huaxing" userId="680cda70-8f8f-41b8-bd50-03497d97776e" providerId="ADAL" clId="{A2A0405A-6B1F-4AFE-ADF4-06FBC564D530}" dt="2022-12-02T13:39:30.189" v="21080" actId="1035"/>
          <ac:spMkLst>
            <pc:docMk/>
            <pc:sldMk cId="1963164929" sldId="2147470894"/>
            <ac:spMk id="20" creationId="{84B1F3E5-6629-4F6D-A9C9-BAE5C817FC9C}"/>
          </ac:spMkLst>
        </pc:spChg>
        <pc:spChg chg="add del mod">
          <ac:chgData name="YUAN Huaxing" userId="680cda70-8f8f-41b8-bd50-03497d97776e" providerId="ADAL" clId="{A2A0405A-6B1F-4AFE-ADF4-06FBC564D530}" dt="2022-11-28T16:31:14.483" v="10721"/>
          <ac:spMkLst>
            <pc:docMk/>
            <pc:sldMk cId="1963164929" sldId="2147470894"/>
            <ac:spMk id="21" creationId="{A97AFE63-E1FA-4DF6-8852-B14E742DAF29}"/>
          </ac:spMkLst>
        </pc:spChg>
        <pc:spChg chg="add mod">
          <ac:chgData name="YUAN Huaxing" userId="680cda70-8f8f-41b8-bd50-03497d97776e" providerId="ADAL" clId="{A2A0405A-6B1F-4AFE-ADF4-06FBC564D530}" dt="2022-12-02T13:39:30.189" v="21080" actId="1035"/>
          <ac:spMkLst>
            <pc:docMk/>
            <pc:sldMk cId="1963164929" sldId="2147470894"/>
            <ac:spMk id="22" creationId="{D6E9724D-7E42-462E-AD8D-941550C8F144}"/>
          </ac:spMkLst>
        </pc:spChg>
        <pc:spChg chg="add mod">
          <ac:chgData name="YUAN Huaxing" userId="680cda70-8f8f-41b8-bd50-03497d97776e" providerId="ADAL" clId="{A2A0405A-6B1F-4AFE-ADF4-06FBC564D530}" dt="2022-12-02T13:39:30.189" v="21080" actId="1035"/>
          <ac:spMkLst>
            <pc:docMk/>
            <pc:sldMk cId="1963164929" sldId="2147470894"/>
            <ac:spMk id="23" creationId="{9FB01AE0-1C6F-4DE5-A378-91678CABCDCC}"/>
          </ac:spMkLst>
        </pc:spChg>
        <pc:spChg chg="add mod">
          <ac:chgData name="YUAN Huaxing" userId="680cda70-8f8f-41b8-bd50-03497d97776e" providerId="ADAL" clId="{A2A0405A-6B1F-4AFE-ADF4-06FBC564D530}" dt="2022-12-02T13:39:24.656" v="21078" actId="1036"/>
          <ac:spMkLst>
            <pc:docMk/>
            <pc:sldMk cId="1963164929" sldId="2147470894"/>
            <ac:spMk id="24" creationId="{B2D6FD7F-B213-42F9-BADA-5EE492CAB41D}"/>
          </ac:spMkLst>
        </pc:spChg>
        <pc:spChg chg="add mod">
          <ac:chgData name="YUAN Huaxing" userId="680cda70-8f8f-41b8-bd50-03497d97776e" providerId="ADAL" clId="{A2A0405A-6B1F-4AFE-ADF4-06FBC564D530}" dt="2022-12-02T13:40:06.581" v="21084" actId="554"/>
          <ac:spMkLst>
            <pc:docMk/>
            <pc:sldMk cId="1963164929" sldId="2147470894"/>
            <ac:spMk id="25" creationId="{8F57AB87-CA49-4E7D-AB7A-0E5AC1D7590C}"/>
          </ac:spMkLst>
        </pc:spChg>
        <pc:spChg chg="add del mod ord topLvl">
          <ac:chgData name="YUAN Huaxing" userId="680cda70-8f8f-41b8-bd50-03497d97776e" providerId="ADAL" clId="{A2A0405A-6B1F-4AFE-ADF4-06FBC564D530}" dt="2022-12-02T13:20:46.140" v="20610" actId="1076"/>
          <ac:spMkLst>
            <pc:docMk/>
            <pc:sldMk cId="1963164929" sldId="2147470894"/>
            <ac:spMk id="29" creationId="{78742343-206E-4512-8882-C299E3391CEB}"/>
          </ac:spMkLst>
        </pc:spChg>
        <pc:spChg chg="add del mod">
          <ac:chgData name="YUAN Huaxing" userId="680cda70-8f8f-41b8-bd50-03497d97776e" providerId="ADAL" clId="{A2A0405A-6B1F-4AFE-ADF4-06FBC564D530}" dt="2022-11-28T16:37:36.111" v="11126" actId="478"/>
          <ac:spMkLst>
            <pc:docMk/>
            <pc:sldMk cId="1963164929" sldId="2147470894"/>
            <ac:spMk id="29" creationId="{9F525BCE-7FEA-4411-85FF-C72622E015A3}"/>
          </ac:spMkLst>
        </pc:spChg>
        <pc:spChg chg="add del mod">
          <ac:chgData name="YUAN Huaxing" userId="680cda70-8f8f-41b8-bd50-03497d97776e" providerId="ADAL" clId="{A2A0405A-6B1F-4AFE-ADF4-06FBC564D530}" dt="2022-11-28T16:37:37.069" v="11127" actId="478"/>
          <ac:spMkLst>
            <pc:docMk/>
            <pc:sldMk cId="1963164929" sldId="2147470894"/>
            <ac:spMk id="30" creationId="{0278A415-2C38-41B7-8835-28DA90B3D1B7}"/>
          </ac:spMkLst>
        </pc:spChg>
        <pc:spChg chg="add del mod">
          <ac:chgData name="YUAN Huaxing" userId="680cda70-8f8f-41b8-bd50-03497d97776e" providerId="ADAL" clId="{A2A0405A-6B1F-4AFE-ADF4-06FBC564D530}" dt="2022-11-28T16:37:38.104" v="11128" actId="478"/>
          <ac:spMkLst>
            <pc:docMk/>
            <pc:sldMk cId="1963164929" sldId="2147470894"/>
            <ac:spMk id="31" creationId="{909FC04A-EF60-46CB-BA16-074FA1FC87AC}"/>
          </ac:spMkLst>
        </pc:spChg>
        <pc:spChg chg="add del mod">
          <ac:chgData name="YUAN Huaxing" userId="680cda70-8f8f-41b8-bd50-03497d97776e" providerId="ADAL" clId="{A2A0405A-6B1F-4AFE-ADF4-06FBC564D530}" dt="2022-11-28T16:37:42.667" v="11131" actId="478"/>
          <ac:spMkLst>
            <pc:docMk/>
            <pc:sldMk cId="1963164929" sldId="2147470894"/>
            <ac:spMk id="33" creationId="{7D417AF7-2F19-4502-A955-BE7CFE1D0DB1}"/>
          </ac:spMkLst>
        </pc:spChg>
        <pc:spChg chg="add del mod">
          <ac:chgData name="YUAN Huaxing" userId="680cda70-8f8f-41b8-bd50-03497d97776e" providerId="ADAL" clId="{A2A0405A-6B1F-4AFE-ADF4-06FBC564D530}" dt="2022-11-28T17:16:40.600" v="11433" actId="478"/>
          <ac:spMkLst>
            <pc:docMk/>
            <pc:sldMk cId="1963164929" sldId="2147470894"/>
            <ac:spMk id="34" creationId="{0A20D5B1-A8F5-47FE-869D-96D8942BB1A7}"/>
          </ac:spMkLst>
        </pc:spChg>
        <pc:spChg chg="add del mod">
          <ac:chgData name="YUAN Huaxing" userId="680cda70-8f8f-41b8-bd50-03497d97776e" providerId="ADAL" clId="{A2A0405A-6B1F-4AFE-ADF4-06FBC564D530}" dt="2022-12-02T13:11:42.048" v="20518" actId="21"/>
          <ac:spMkLst>
            <pc:docMk/>
            <pc:sldMk cId="1963164929" sldId="2147470894"/>
            <ac:spMk id="35" creationId="{67AC8CD8-F0ED-4CC5-AE09-D23DB2E99049}"/>
          </ac:spMkLst>
        </pc:spChg>
        <pc:spChg chg="add del mod">
          <ac:chgData name="YUAN Huaxing" userId="680cda70-8f8f-41b8-bd50-03497d97776e" providerId="ADAL" clId="{A2A0405A-6B1F-4AFE-ADF4-06FBC564D530}" dt="2022-12-02T13:10:34.800" v="20498" actId="21"/>
          <ac:spMkLst>
            <pc:docMk/>
            <pc:sldMk cId="1963164929" sldId="2147470894"/>
            <ac:spMk id="36" creationId="{703659B7-9714-418B-8B95-7E91B6AD1635}"/>
          </ac:spMkLst>
        </pc:spChg>
        <pc:spChg chg="add del mod">
          <ac:chgData name="YUAN Huaxing" userId="680cda70-8f8f-41b8-bd50-03497d97776e" providerId="ADAL" clId="{A2A0405A-6B1F-4AFE-ADF4-06FBC564D530}" dt="2022-11-28T17:27:03.392" v="11655" actId="478"/>
          <ac:spMkLst>
            <pc:docMk/>
            <pc:sldMk cId="1963164929" sldId="2147470894"/>
            <ac:spMk id="37" creationId="{8551A91C-E38E-4B93-8E01-36DB1A856356}"/>
          </ac:spMkLst>
        </pc:spChg>
        <pc:spChg chg="add mod">
          <ac:chgData name="YUAN Huaxing" userId="680cda70-8f8f-41b8-bd50-03497d97776e" providerId="ADAL" clId="{A2A0405A-6B1F-4AFE-ADF4-06FBC564D530}" dt="2022-12-02T13:40:06.581" v="21084" actId="554"/>
          <ac:spMkLst>
            <pc:docMk/>
            <pc:sldMk cId="1963164929" sldId="2147470894"/>
            <ac:spMk id="38" creationId="{B00542A6-EBB7-4871-840F-042F0951A6B8}"/>
          </ac:spMkLst>
        </pc:spChg>
        <pc:spChg chg="add mod ord">
          <ac:chgData name="YUAN Huaxing" userId="680cda70-8f8f-41b8-bd50-03497d97776e" providerId="ADAL" clId="{A2A0405A-6B1F-4AFE-ADF4-06FBC564D530}" dt="2023-01-11T09:42:38.124" v="21170" actId="20577"/>
          <ac:spMkLst>
            <pc:docMk/>
            <pc:sldMk cId="1963164929" sldId="2147470894"/>
            <ac:spMk id="39" creationId="{98D8AD3D-0177-404F-8063-E51C440FB1FF}"/>
          </ac:spMkLst>
        </pc:spChg>
        <pc:spChg chg="add mod ord">
          <ac:chgData name="YUAN Huaxing" userId="680cda70-8f8f-41b8-bd50-03497d97776e" providerId="ADAL" clId="{A2A0405A-6B1F-4AFE-ADF4-06FBC564D530}" dt="2022-12-02T13:47:57.184" v="21112" actId="20577"/>
          <ac:spMkLst>
            <pc:docMk/>
            <pc:sldMk cId="1963164929" sldId="2147470894"/>
            <ac:spMk id="40" creationId="{6C2D85C5-E0E5-4350-8334-DA9075A7C434}"/>
          </ac:spMkLst>
        </pc:spChg>
        <pc:spChg chg="add mod">
          <ac:chgData name="YUAN Huaxing" userId="680cda70-8f8f-41b8-bd50-03497d97776e" providerId="ADAL" clId="{A2A0405A-6B1F-4AFE-ADF4-06FBC564D530}" dt="2022-12-02T13:39:30.189" v="21080" actId="1035"/>
          <ac:spMkLst>
            <pc:docMk/>
            <pc:sldMk cId="1963164929" sldId="2147470894"/>
            <ac:spMk id="41" creationId="{23EDD5FB-53E1-474F-9C71-62F307713247}"/>
          </ac:spMkLst>
        </pc:spChg>
        <pc:spChg chg="add del mod">
          <ac:chgData name="YUAN Huaxing" userId="680cda70-8f8f-41b8-bd50-03497d97776e" providerId="ADAL" clId="{A2A0405A-6B1F-4AFE-ADF4-06FBC564D530}" dt="2022-11-28T17:27:03.392" v="11655" actId="478"/>
          <ac:spMkLst>
            <pc:docMk/>
            <pc:sldMk cId="1963164929" sldId="2147470894"/>
            <ac:spMk id="42" creationId="{BB47CE40-A628-49A6-A5E0-51DCF1C58730}"/>
          </ac:spMkLst>
        </pc:spChg>
        <pc:spChg chg="add mod">
          <ac:chgData name="YUAN Huaxing" userId="680cda70-8f8f-41b8-bd50-03497d97776e" providerId="ADAL" clId="{A2A0405A-6B1F-4AFE-ADF4-06FBC564D530}" dt="2022-12-02T13:39:24.656" v="21078" actId="1036"/>
          <ac:spMkLst>
            <pc:docMk/>
            <pc:sldMk cId="1963164929" sldId="2147470894"/>
            <ac:spMk id="43" creationId="{255D00A6-FF68-4165-B496-4A0BC0995B66}"/>
          </ac:spMkLst>
        </pc:spChg>
        <pc:spChg chg="add mod">
          <ac:chgData name="YUAN Huaxing" userId="680cda70-8f8f-41b8-bd50-03497d97776e" providerId="ADAL" clId="{A2A0405A-6B1F-4AFE-ADF4-06FBC564D530}" dt="2022-12-02T13:39:30.189" v="21080" actId="1035"/>
          <ac:spMkLst>
            <pc:docMk/>
            <pc:sldMk cId="1963164929" sldId="2147470894"/>
            <ac:spMk id="44" creationId="{898F1EC3-261E-4A90-99CD-5773F836C6E3}"/>
          </ac:spMkLst>
        </pc:spChg>
        <pc:spChg chg="add del mod">
          <ac:chgData name="YUAN Huaxing" userId="680cda70-8f8f-41b8-bd50-03497d97776e" providerId="ADAL" clId="{A2A0405A-6B1F-4AFE-ADF4-06FBC564D530}" dt="2022-11-28T17:34:15.879" v="11892" actId="478"/>
          <ac:spMkLst>
            <pc:docMk/>
            <pc:sldMk cId="1963164929" sldId="2147470894"/>
            <ac:spMk id="45" creationId="{723ADC9B-66A1-47F1-B0D3-418A42FEF6C7}"/>
          </ac:spMkLst>
        </pc:spChg>
        <pc:spChg chg="add mod ord topLvl">
          <ac:chgData name="YUAN Huaxing" userId="680cda70-8f8f-41b8-bd50-03497d97776e" providerId="ADAL" clId="{A2A0405A-6B1F-4AFE-ADF4-06FBC564D530}" dt="2022-12-02T13:15:32.559" v="20555" actId="166"/>
          <ac:spMkLst>
            <pc:docMk/>
            <pc:sldMk cId="1963164929" sldId="2147470894"/>
            <ac:spMk id="46" creationId="{4EE30973-6F78-4A65-9E30-1DEF365F7504}"/>
          </ac:spMkLst>
        </pc:spChg>
        <pc:spChg chg="add del mod">
          <ac:chgData name="YUAN Huaxing" userId="680cda70-8f8f-41b8-bd50-03497d97776e" providerId="ADAL" clId="{A2A0405A-6B1F-4AFE-ADF4-06FBC564D530}" dt="2022-11-28T17:26:40.832" v="11650"/>
          <ac:spMkLst>
            <pc:docMk/>
            <pc:sldMk cId="1963164929" sldId="2147470894"/>
            <ac:spMk id="47" creationId="{48F40A19-ADA9-4009-A92E-FF8DE7BEC206}"/>
          </ac:spMkLst>
        </pc:spChg>
        <pc:spChg chg="add del mod">
          <ac:chgData name="YUAN Huaxing" userId="680cda70-8f8f-41b8-bd50-03497d97776e" providerId="ADAL" clId="{A2A0405A-6B1F-4AFE-ADF4-06FBC564D530}" dt="2022-11-28T17:16:53.604" v="11439" actId="478"/>
          <ac:spMkLst>
            <pc:docMk/>
            <pc:sldMk cId="1963164929" sldId="2147470894"/>
            <ac:spMk id="47" creationId="{6E8AC1CF-E15C-4344-A567-3223FB961B87}"/>
          </ac:spMkLst>
        </pc:spChg>
        <pc:spChg chg="add mod">
          <ac:chgData name="YUAN Huaxing" userId="680cda70-8f8f-41b8-bd50-03497d97776e" providerId="ADAL" clId="{A2A0405A-6B1F-4AFE-ADF4-06FBC564D530}" dt="2022-12-02T13:40:06.581" v="21084" actId="554"/>
          <ac:spMkLst>
            <pc:docMk/>
            <pc:sldMk cId="1963164929" sldId="2147470894"/>
            <ac:spMk id="48" creationId="{18439A58-F3AA-48A6-9104-B74BA197CC12}"/>
          </ac:spMkLst>
        </pc:spChg>
        <pc:spChg chg="add del">
          <ac:chgData name="YUAN Huaxing" userId="680cda70-8f8f-41b8-bd50-03497d97776e" providerId="ADAL" clId="{A2A0405A-6B1F-4AFE-ADF4-06FBC564D530}" dt="2022-11-28T17:07:35.092" v="11327"/>
          <ac:spMkLst>
            <pc:docMk/>
            <pc:sldMk cId="1963164929" sldId="2147470894"/>
            <ac:spMk id="48" creationId="{4454973C-1013-408D-A145-B36FE25E5B3F}"/>
          </ac:spMkLst>
        </pc:spChg>
        <pc:spChg chg="add del mod">
          <ac:chgData name="YUAN Huaxing" userId="680cda70-8f8f-41b8-bd50-03497d97776e" providerId="ADAL" clId="{A2A0405A-6B1F-4AFE-ADF4-06FBC564D530}" dt="2022-11-28T17:26:40.832" v="11650"/>
          <ac:spMkLst>
            <pc:docMk/>
            <pc:sldMk cId="1963164929" sldId="2147470894"/>
            <ac:spMk id="48" creationId="{574A8FBE-2952-40C3-A849-A779B82D43EF}"/>
          </ac:spMkLst>
        </pc:spChg>
        <pc:spChg chg="add del mod">
          <ac:chgData name="YUAN Huaxing" userId="680cda70-8f8f-41b8-bd50-03497d97776e" providerId="ADAL" clId="{A2A0405A-6B1F-4AFE-ADF4-06FBC564D530}" dt="2022-11-28T17:26:40.832" v="11650"/>
          <ac:spMkLst>
            <pc:docMk/>
            <pc:sldMk cId="1963164929" sldId="2147470894"/>
            <ac:spMk id="49" creationId="{8127C756-3E36-456D-997D-6874A595D920}"/>
          </ac:spMkLst>
        </pc:spChg>
        <pc:spChg chg="add mod">
          <ac:chgData name="YUAN Huaxing" userId="680cda70-8f8f-41b8-bd50-03497d97776e" providerId="ADAL" clId="{A2A0405A-6B1F-4AFE-ADF4-06FBC564D530}" dt="2022-12-02T13:39:30.189" v="21080" actId="1035"/>
          <ac:spMkLst>
            <pc:docMk/>
            <pc:sldMk cId="1963164929" sldId="2147470894"/>
            <ac:spMk id="49" creationId="{F77E57F5-DAE7-4AE6-884B-58724A68B261}"/>
          </ac:spMkLst>
        </pc:spChg>
        <pc:spChg chg="add del mod">
          <ac:chgData name="YUAN Huaxing" userId="680cda70-8f8f-41b8-bd50-03497d97776e" providerId="ADAL" clId="{A2A0405A-6B1F-4AFE-ADF4-06FBC564D530}" dt="2022-11-28T17:26:40.832" v="11650"/>
          <ac:spMkLst>
            <pc:docMk/>
            <pc:sldMk cId="1963164929" sldId="2147470894"/>
            <ac:spMk id="50" creationId="{B00F88F1-8E2A-4DFB-94DB-B843864C3A82}"/>
          </ac:spMkLst>
        </pc:spChg>
        <pc:spChg chg="add del mod">
          <ac:chgData name="YUAN Huaxing" userId="680cda70-8f8f-41b8-bd50-03497d97776e" providerId="ADAL" clId="{A2A0405A-6B1F-4AFE-ADF4-06FBC564D530}" dt="2022-11-28T17:26:40.832" v="11650"/>
          <ac:spMkLst>
            <pc:docMk/>
            <pc:sldMk cId="1963164929" sldId="2147470894"/>
            <ac:spMk id="51" creationId="{AE71B44C-DAC9-4A0D-AFF1-50537FC5CB24}"/>
          </ac:spMkLst>
        </pc:spChg>
        <pc:spChg chg="add del mod">
          <ac:chgData name="YUAN Huaxing" userId="680cda70-8f8f-41b8-bd50-03497d97776e" providerId="ADAL" clId="{A2A0405A-6B1F-4AFE-ADF4-06FBC564D530}" dt="2022-11-28T17:26:40.832" v="11650"/>
          <ac:spMkLst>
            <pc:docMk/>
            <pc:sldMk cId="1963164929" sldId="2147470894"/>
            <ac:spMk id="54" creationId="{E45BEE13-30BD-4747-9B91-D04A124CF5DE}"/>
          </ac:spMkLst>
        </pc:spChg>
        <pc:spChg chg="add del mod">
          <ac:chgData name="YUAN Huaxing" userId="680cda70-8f8f-41b8-bd50-03497d97776e" providerId="ADAL" clId="{A2A0405A-6B1F-4AFE-ADF4-06FBC564D530}" dt="2022-11-28T17:26:40.832" v="11650"/>
          <ac:spMkLst>
            <pc:docMk/>
            <pc:sldMk cId="1963164929" sldId="2147470894"/>
            <ac:spMk id="55" creationId="{6F8E59E6-6DCC-409A-A967-3CF2EA231FF8}"/>
          </ac:spMkLst>
        </pc:spChg>
        <pc:spChg chg="add del mod ord">
          <ac:chgData name="YUAN Huaxing" userId="680cda70-8f8f-41b8-bd50-03497d97776e" providerId="ADAL" clId="{A2A0405A-6B1F-4AFE-ADF4-06FBC564D530}" dt="2022-11-28T17:17:04.932" v="11445" actId="478"/>
          <ac:spMkLst>
            <pc:docMk/>
            <pc:sldMk cId="1963164929" sldId="2147470894"/>
            <ac:spMk id="56" creationId="{360934B3-08E1-4F69-892A-0DFD57987C6D}"/>
          </ac:spMkLst>
        </pc:spChg>
        <pc:spChg chg="add del mod">
          <ac:chgData name="YUAN Huaxing" userId="680cda70-8f8f-41b8-bd50-03497d97776e" providerId="ADAL" clId="{A2A0405A-6B1F-4AFE-ADF4-06FBC564D530}" dt="2022-11-28T17:26:40.832" v="11650"/>
          <ac:spMkLst>
            <pc:docMk/>
            <pc:sldMk cId="1963164929" sldId="2147470894"/>
            <ac:spMk id="56" creationId="{F4DE4D08-41FD-423C-986B-8B5EEDCFD683}"/>
          </ac:spMkLst>
        </pc:spChg>
        <pc:spChg chg="add del mod">
          <ac:chgData name="YUAN Huaxing" userId="680cda70-8f8f-41b8-bd50-03497d97776e" providerId="ADAL" clId="{A2A0405A-6B1F-4AFE-ADF4-06FBC564D530}" dt="2022-11-28T17:17:04.932" v="11445" actId="478"/>
          <ac:spMkLst>
            <pc:docMk/>
            <pc:sldMk cId="1963164929" sldId="2147470894"/>
            <ac:spMk id="57" creationId="{60F7B406-A060-4880-B06C-D32966A4C4EC}"/>
          </ac:spMkLst>
        </pc:spChg>
        <pc:spChg chg="add del mod">
          <ac:chgData name="YUAN Huaxing" userId="680cda70-8f8f-41b8-bd50-03497d97776e" providerId="ADAL" clId="{A2A0405A-6B1F-4AFE-ADF4-06FBC564D530}" dt="2022-11-28T17:26:40.832" v="11650"/>
          <ac:spMkLst>
            <pc:docMk/>
            <pc:sldMk cId="1963164929" sldId="2147470894"/>
            <ac:spMk id="58" creationId="{9BFBE8FB-AC1D-4F21-B064-7D241B3C2353}"/>
          </ac:spMkLst>
        </pc:spChg>
        <pc:spChg chg="add del mod ord">
          <ac:chgData name="YUAN Huaxing" userId="680cda70-8f8f-41b8-bd50-03497d97776e" providerId="ADAL" clId="{A2A0405A-6B1F-4AFE-ADF4-06FBC564D530}" dt="2022-12-02T13:11:42.048" v="20518" actId="21"/>
          <ac:spMkLst>
            <pc:docMk/>
            <pc:sldMk cId="1963164929" sldId="2147470894"/>
            <ac:spMk id="59" creationId="{1BAF7A16-460F-4944-8B48-6B7AB94B625B}"/>
          </ac:spMkLst>
        </pc:spChg>
        <pc:spChg chg="add del">
          <ac:chgData name="YUAN Huaxing" userId="680cda70-8f8f-41b8-bd50-03497d97776e" providerId="ADAL" clId="{A2A0405A-6B1F-4AFE-ADF4-06FBC564D530}" dt="2022-12-02T13:25:34.569" v="20655"/>
          <ac:spMkLst>
            <pc:docMk/>
            <pc:sldMk cId="1963164929" sldId="2147470894"/>
            <ac:spMk id="60" creationId="{A4BD360A-0F6B-47E2-845B-A4C2DF6CAD49}"/>
          </ac:spMkLst>
        </pc:spChg>
        <pc:spChg chg="add mod">
          <ac:chgData name="YUAN Huaxing" userId="680cda70-8f8f-41b8-bd50-03497d97776e" providerId="ADAL" clId="{A2A0405A-6B1F-4AFE-ADF4-06FBC564D530}" dt="2022-11-28T17:16:25.134" v="11405"/>
          <ac:spMkLst>
            <pc:docMk/>
            <pc:sldMk cId="1963164929" sldId="2147470894"/>
            <ac:spMk id="60" creationId="{B8AF4EFA-3E16-4698-8CDF-3835CDD66323}"/>
          </ac:spMkLst>
        </pc:spChg>
        <pc:spChg chg="add del mod ord">
          <ac:chgData name="YUAN Huaxing" userId="680cda70-8f8f-41b8-bd50-03497d97776e" providerId="ADAL" clId="{A2A0405A-6B1F-4AFE-ADF4-06FBC564D530}" dt="2022-12-02T13:10:34.800" v="20498" actId="21"/>
          <ac:spMkLst>
            <pc:docMk/>
            <pc:sldMk cId="1963164929" sldId="2147470894"/>
            <ac:spMk id="61" creationId="{4DB22769-CCDF-4D7A-BCE1-4405B93FC514}"/>
          </ac:spMkLst>
        </pc:spChg>
        <pc:spChg chg="add del mod">
          <ac:chgData name="YUAN Huaxing" userId="680cda70-8f8f-41b8-bd50-03497d97776e" providerId="ADAL" clId="{A2A0405A-6B1F-4AFE-ADF4-06FBC564D530}" dt="2022-12-02T13:25:48.804" v="20658" actId="478"/>
          <ac:spMkLst>
            <pc:docMk/>
            <pc:sldMk cId="1963164929" sldId="2147470894"/>
            <ac:spMk id="62" creationId="{9828F376-9687-4A63-A109-AA0DCB1BF5FF}"/>
          </ac:spMkLst>
        </pc:spChg>
        <pc:spChg chg="add del mod">
          <ac:chgData name="YUAN Huaxing" userId="680cda70-8f8f-41b8-bd50-03497d97776e" providerId="ADAL" clId="{A2A0405A-6B1F-4AFE-ADF4-06FBC564D530}" dt="2022-11-28T17:26:40.832" v="11650"/>
          <ac:spMkLst>
            <pc:docMk/>
            <pc:sldMk cId="1963164929" sldId="2147470894"/>
            <ac:spMk id="63" creationId="{9196FD9C-102A-4E14-B68E-60DDFF34F851}"/>
          </ac:spMkLst>
        </pc:spChg>
        <pc:spChg chg="add del mod">
          <ac:chgData name="YUAN Huaxing" userId="680cda70-8f8f-41b8-bd50-03497d97776e" providerId="ADAL" clId="{A2A0405A-6B1F-4AFE-ADF4-06FBC564D530}" dt="2022-12-02T13:11:05.988" v="20510" actId="21"/>
          <ac:spMkLst>
            <pc:docMk/>
            <pc:sldMk cId="1963164929" sldId="2147470894"/>
            <ac:spMk id="63" creationId="{ABB3D9E9-A81B-4B7B-B831-75EB98C62308}"/>
          </ac:spMkLst>
        </pc:spChg>
        <pc:spChg chg="add del mod ord topLvl">
          <ac:chgData name="YUAN Huaxing" userId="680cda70-8f8f-41b8-bd50-03497d97776e" providerId="ADAL" clId="{A2A0405A-6B1F-4AFE-ADF4-06FBC564D530}" dt="2022-12-02T13:10:26.439" v="20495" actId="478"/>
          <ac:spMkLst>
            <pc:docMk/>
            <pc:sldMk cId="1963164929" sldId="2147470894"/>
            <ac:spMk id="64" creationId="{844C6751-3B30-428D-ACF0-D0078F59C4D2}"/>
          </ac:spMkLst>
        </pc:spChg>
        <pc:spChg chg="mod topLvl">
          <ac:chgData name="YUAN Huaxing" userId="680cda70-8f8f-41b8-bd50-03497d97776e" providerId="ADAL" clId="{A2A0405A-6B1F-4AFE-ADF4-06FBC564D530}" dt="2023-01-11T09:42:22.405" v="21161" actId="20577"/>
          <ac:spMkLst>
            <pc:docMk/>
            <pc:sldMk cId="1963164929" sldId="2147470894"/>
            <ac:spMk id="65" creationId="{934EF385-EFDC-4802-9810-02C85A865066}"/>
          </ac:spMkLst>
        </pc:spChg>
        <pc:spChg chg="add del mod ord">
          <ac:chgData name="YUAN Huaxing" userId="680cda70-8f8f-41b8-bd50-03497d97776e" providerId="ADAL" clId="{A2A0405A-6B1F-4AFE-ADF4-06FBC564D530}" dt="2022-12-02T13:11:42.048" v="20518" actId="21"/>
          <ac:spMkLst>
            <pc:docMk/>
            <pc:sldMk cId="1963164929" sldId="2147470894"/>
            <ac:spMk id="65" creationId="{F45B3006-A041-4317-93F7-69028C39DF2D}"/>
          </ac:spMkLst>
        </pc:spChg>
        <pc:spChg chg="del mod topLvl">
          <ac:chgData name="YUAN Huaxing" userId="680cda70-8f8f-41b8-bd50-03497d97776e" providerId="ADAL" clId="{A2A0405A-6B1F-4AFE-ADF4-06FBC564D530}" dt="2023-01-11T09:42:17.024" v="21149" actId="478"/>
          <ac:spMkLst>
            <pc:docMk/>
            <pc:sldMk cId="1963164929" sldId="2147470894"/>
            <ac:spMk id="66" creationId="{360AA022-C451-4A6A-AA9D-3B3C4ED2EB53}"/>
          </ac:spMkLst>
        </pc:spChg>
        <pc:spChg chg="add del mod ord">
          <ac:chgData name="YUAN Huaxing" userId="680cda70-8f8f-41b8-bd50-03497d97776e" providerId="ADAL" clId="{A2A0405A-6B1F-4AFE-ADF4-06FBC564D530}" dt="2022-12-02T13:11:13.427" v="20513" actId="21"/>
          <ac:spMkLst>
            <pc:docMk/>
            <pc:sldMk cId="1963164929" sldId="2147470894"/>
            <ac:spMk id="66" creationId="{836F09CC-2135-48A2-81CE-E399AC8D6AD3}"/>
          </ac:spMkLst>
        </pc:spChg>
        <pc:spChg chg="add del mod">
          <ac:chgData name="YUAN Huaxing" userId="680cda70-8f8f-41b8-bd50-03497d97776e" providerId="ADAL" clId="{A2A0405A-6B1F-4AFE-ADF4-06FBC564D530}" dt="2022-12-02T13:11:05.988" v="20510" actId="21"/>
          <ac:spMkLst>
            <pc:docMk/>
            <pc:sldMk cId="1963164929" sldId="2147470894"/>
            <ac:spMk id="67" creationId="{263486B3-E512-475B-91DB-ECAF17F02358}"/>
          </ac:spMkLst>
        </pc:spChg>
        <pc:spChg chg="add del mod">
          <ac:chgData name="YUAN Huaxing" userId="680cda70-8f8f-41b8-bd50-03497d97776e" providerId="ADAL" clId="{A2A0405A-6B1F-4AFE-ADF4-06FBC564D530}" dt="2022-11-28T17:27:03.392" v="11655" actId="478"/>
          <ac:spMkLst>
            <pc:docMk/>
            <pc:sldMk cId="1963164929" sldId="2147470894"/>
            <ac:spMk id="67" creationId="{94247BA0-E66A-47AD-A361-662D73499044}"/>
          </ac:spMkLst>
        </pc:spChg>
        <pc:spChg chg="add del mod">
          <ac:chgData name="YUAN Huaxing" userId="680cda70-8f8f-41b8-bd50-03497d97776e" providerId="ADAL" clId="{A2A0405A-6B1F-4AFE-ADF4-06FBC564D530}" dt="2022-12-02T13:10:39.999" v="20502"/>
          <ac:spMkLst>
            <pc:docMk/>
            <pc:sldMk cId="1963164929" sldId="2147470894"/>
            <ac:spMk id="68" creationId="{7DD7DC8B-B71B-4FA2-82A8-D432A930F382}"/>
          </ac:spMkLst>
        </pc:spChg>
        <pc:spChg chg="add del mod">
          <ac:chgData name="YUAN Huaxing" userId="680cda70-8f8f-41b8-bd50-03497d97776e" providerId="ADAL" clId="{A2A0405A-6B1F-4AFE-ADF4-06FBC564D530}" dt="2022-11-28T17:26:40.832" v="11650"/>
          <ac:spMkLst>
            <pc:docMk/>
            <pc:sldMk cId="1963164929" sldId="2147470894"/>
            <ac:spMk id="68" creationId="{8548B054-EE70-4745-82D1-CEDA2E5BD1A7}"/>
          </ac:spMkLst>
        </pc:spChg>
        <pc:spChg chg="add del mod">
          <ac:chgData name="YUAN Huaxing" userId="680cda70-8f8f-41b8-bd50-03497d97776e" providerId="ADAL" clId="{A2A0405A-6B1F-4AFE-ADF4-06FBC564D530}" dt="2022-12-02T13:10:39.999" v="20502"/>
          <ac:spMkLst>
            <pc:docMk/>
            <pc:sldMk cId="1963164929" sldId="2147470894"/>
            <ac:spMk id="69" creationId="{D65971D5-A761-4914-9ADB-6821BAD6A2F0}"/>
          </ac:spMkLst>
        </pc:spChg>
        <pc:spChg chg="add del mod">
          <ac:chgData name="YUAN Huaxing" userId="680cda70-8f8f-41b8-bd50-03497d97776e" providerId="ADAL" clId="{A2A0405A-6B1F-4AFE-ADF4-06FBC564D530}" dt="2022-11-28T17:26:40.832" v="11650"/>
          <ac:spMkLst>
            <pc:docMk/>
            <pc:sldMk cId="1963164929" sldId="2147470894"/>
            <ac:spMk id="70" creationId="{487A6107-316B-4378-8C68-DC54EC9F415A}"/>
          </ac:spMkLst>
        </pc:spChg>
        <pc:spChg chg="add mod">
          <ac:chgData name="YUAN Huaxing" userId="680cda70-8f8f-41b8-bd50-03497d97776e" providerId="ADAL" clId="{A2A0405A-6B1F-4AFE-ADF4-06FBC564D530}" dt="2022-12-02T13:12:09.146" v="20523" actId="164"/>
          <ac:spMkLst>
            <pc:docMk/>
            <pc:sldMk cId="1963164929" sldId="2147470894"/>
            <ac:spMk id="70" creationId="{610E99C0-6ED9-4D75-A654-E8F8AC706A90}"/>
          </ac:spMkLst>
        </pc:spChg>
        <pc:spChg chg="add mod">
          <ac:chgData name="YUAN Huaxing" userId="680cda70-8f8f-41b8-bd50-03497d97776e" providerId="ADAL" clId="{A2A0405A-6B1F-4AFE-ADF4-06FBC564D530}" dt="2022-12-02T13:12:09.146" v="20523" actId="164"/>
          <ac:spMkLst>
            <pc:docMk/>
            <pc:sldMk cId="1963164929" sldId="2147470894"/>
            <ac:spMk id="71" creationId="{9F6C9A1A-B3C7-4965-9BEB-B1A6F51542E1}"/>
          </ac:spMkLst>
        </pc:spChg>
        <pc:spChg chg="add mod ord">
          <ac:chgData name="YUAN Huaxing" userId="680cda70-8f8f-41b8-bd50-03497d97776e" providerId="ADAL" clId="{A2A0405A-6B1F-4AFE-ADF4-06FBC564D530}" dt="2022-12-02T13:17:38.931" v="20568" actId="13822"/>
          <ac:spMkLst>
            <pc:docMk/>
            <pc:sldMk cId="1963164929" sldId="2147470894"/>
            <ac:spMk id="72" creationId="{1C323071-A61D-4BC3-B649-DFEBB0EEA6E2}"/>
          </ac:spMkLst>
        </pc:spChg>
        <pc:spChg chg="add del mod">
          <ac:chgData name="YUAN Huaxing" userId="680cda70-8f8f-41b8-bd50-03497d97776e" providerId="ADAL" clId="{A2A0405A-6B1F-4AFE-ADF4-06FBC564D530}" dt="2022-11-28T17:26:40.832" v="11650"/>
          <ac:spMkLst>
            <pc:docMk/>
            <pc:sldMk cId="1963164929" sldId="2147470894"/>
            <ac:spMk id="72" creationId="{A298B7C9-F168-44E3-A318-473CD76CD36C}"/>
          </ac:spMkLst>
        </pc:spChg>
        <pc:spChg chg="add mod">
          <ac:chgData name="YUAN Huaxing" userId="680cda70-8f8f-41b8-bd50-03497d97776e" providerId="ADAL" clId="{A2A0405A-6B1F-4AFE-ADF4-06FBC564D530}" dt="2022-12-02T13:17:03.586" v="20567" actId="13822"/>
          <ac:spMkLst>
            <pc:docMk/>
            <pc:sldMk cId="1963164929" sldId="2147470894"/>
            <ac:spMk id="73" creationId="{BB8C3C91-48B8-45FE-BDAC-D0255476EDEE}"/>
          </ac:spMkLst>
        </pc:spChg>
        <pc:spChg chg="add mod">
          <ac:chgData name="YUAN Huaxing" userId="680cda70-8f8f-41b8-bd50-03497d97776e" providerId="ADAL" clId="{A2A0405A-6B1F-4AFE-ADF4-06FBC564D530}" dt="2022-12-05T10:11:15.611" v="21121" actId="1076"/>
          <ac:spMkLst>
            <pc:docMk/>
            <pc:sldMk cId="1963164929" sldId="2147470894"/>
            <ac:spMk id="74" creationId="{FF85D024-5526-4BB3-AA2B-C982AC82EBF1}"/>
          </ac:spMkLst>
        </pc:spChg>
        <pc:spChg chg="add mod">
          <ac:chgData name="YUAN Huaxing" userId="680cda70-8f8f-41b8-bd50-03497d97776e" providerId="ADAL" clId="{A2A0405A-6B1F-4AFE-ADF4-06FBC564D530}" dt="2022-12-02T13:12:18.416" v="20525" actId="164"/>
          <ac:spMkLst>
            <pc:docMk/>
            <pc:sldMk cId="1963164929" sldId="2147470894"/>
            <ac:spMk id="75" creationId="{48E32190-CD19-484C-9F1A-3C51318C61F1}"/>
          </ac:spMkLst>
        </pc:spChg>
        <pc:spChg chg="add del mod">
          <ac:chgData name="YUAN Huaxing" userId="680cda70-8f8f-41b8-bd50-03497d97776e" providerId="ADAL" clId="{A2A0405A-6B1F-4AFE-ADF4-06FBC564D530}" dt="2022-11-28T17:26:40.832" v="11650"/>
          <ac:spMkLst>
            <pc:docMk/>
            <pc:sldMk cId="1963164929" sldId="2147470894"/>
            <ac:spMk id="77" creationId="{A53BE2C9-E494-46F8-9688-3CAB7DF0E927}"/>
          </ac:spMkLst>
        </pc:spChg>
        <pc:spChg chg="add del">
          <ac:chgData name="YUAN Huaxing" userId="680cda70-8f8f-41b8-bd50-03497d97776e" providerId="ADAL" clId="{A2A0405A-6B1F-4AFE-ADF4-06FBC564D530}" dt="2022-12-02T13:27:02.257" v="20673"/>
          <ac:spMkLst>
            <pc:docMk/>
            <pc:sldMk cId="1963164929" sldId="2147470894"/>
            <ac:spMk id="78" creationId="{C1045AFE-B0BB-4F55-A815-3D3593635128}"/>
          </ac:spMkLst>
        </pc:spChg>
        <pc:spChg chg="add del mod">
          <ac:chgData name="YUAN Huaxing" userId="680cda70-8f8f-41b8-bd50-03497d97776e" providerId="ADAL" clId="{A2A0405A-6B1F-4AFE-ADF4-06FBC564D530}" dt="2022-11-28T17:26:40.832" v="11650"/>
          <ac:spMkLst>
            <pc:docMk/>
            <pc:sldMk cId="1963164929" sldId="2147470894"/>
            <ac:spMk id="79" creationId="{652BB451-0EBA-4986-84FA-E8A482D71DE7}"/>
          </ac:spMkLst>
        </pc:spChg>
        <pc:spChg chg="add del mod">
          <ac:chgData name="YUAN Huaxing" userId="680cda70-8f8f-41b8-bd50-03497d97776e" providerId="ADAL" clId="{A2A0405A-6B1F-4AFE-ADF4-06FBC564D530}" dt="2022-12-02T13:18:49.677" v="20606" actId="478"/>
          <ac:spMkLst>
            <pc:docMk/>
            <pc:sldMk cId="1963164929" sldId="2147470894"/>
            <ac:spMk id="79" creationId="{882EFDBC-3EE4-4DA1-8A6E-DEBC9AD0922B}"/>
          </ac:spMkLst>
        </pc:spChg>
        <pc:spChg chg="add mod">
          <ac:chgData name="YUAN Huaxing" userId="680cda70-8f8f-41b8-bd50-03497d97776e" providerId="ADAL" clId="{A2A0405A-6B1F-4AFE-ADF4-06FBC564D530}" dt="2022-12-02T13:40:06.581" v="21084" actId="554"/>
          <ac:spMkLst>
            <pc:docMk/>
            <pc:sldMk cId="1963164929" sldId="2147470894"/>
            <ac:spMk id="80" creationId="{F379A6CC-3F6F-4A6A-8944-4A4DDB63075F}"/>
          </ac:spMkLst>
        </pc:spChg>
        <pc:spChg chg="add mod">
          <ac:chgData name="YUAN Huaxing" userId="680cda70-8f8f-41b8-bd50-03497d97776e" providerId="ADAL" clId="{A2A0405A-6B1F-4AFE-ADF4-06FBC564D530}" dt="2022-12-02T13:13:44.362" v="20543" actId="165"/>
          <ac:spMkLst>
            <pc:docMk/>
            <pc:sldMk cId="1963164929" sldId="2147470894"/>
            <ac:spMk id="83" creationId="{4B0C5193-1144-4849-B26B-A1D9309E05D0}"/>
          </ac:spMkLst>
        </pc:spChg>
        <pc:spChg chg="add del mod topLvl">
          <ac:chgData name="YUAN Huaxing" userId="680cda70-8f8f-41b8-bd50-03497d97776e" providerId="ADAL" clId="{A2A0405A-6B1F-4AFE-ADF4-06FBC564D530}" dt="2022-12-02T13:45:15.696" v="21089" actId="478"/>
          <ac:spMkLst>
            <pc:docMk/>
            <pc:sldMk cId="1963164929" sldId="2147470894"/>
            <ac:spMk id="84" creationId="{AB4E338C-3FF6-415D-AF62-A23F30F13180}"/>
          </ac:spMkLst>
        </pc:spChg>
        <pc:spChg chg="add del mod">
          <ac:chgData name="YUAN Huaxing" userId="680cda70-8f8f-41b8-bd50-03497d97776e" providerId="ADAL" clId="{A2A0405A-6B1F-4AFE-ADF4-06FBC564D530}" dt="2022-11-28T17:32:54.861" v="11867" actId="478"/>
          <ac:spMkLst>
            <pc:docMk/>
            <pc:sldMk cId="1963164929" sldId="2147470894"/>
            <ac:spMk id="85" creationId="{5BE14F3D-4CC1-4DD7-8BC4-AA3CA4C3EF9F}"/>
          </ac:spMkLst>
        </pc:spChg>
        <pc:spChg chg="add del">
          <ac:chgData name="YUAN Huaxing" userId="680cda70-8f8f-41b8-bd50-03497d97776e" providerId="ADAL" clId="{A2A0405A-6B1F-4AFE-ADF4-06FBC564D530}" dt="2022-12-02T13:28:35.132" v="20706"/>
          <ac:spMkLst>
            <pc:docMk/>
            <pc:sldMk cId="1963164929" sldId="2147470894"/>
            <ac:spMk id="85" creationId="{D4C07FA0-97C7-4FDD-8FC5-6E140DA21861}"/>
          </ac:spMkLst>
        </pc:spChg>
        <pc:spChg chg="add mod">
          <ac:chgData name="YUAN Huaxing" userId="680cda70-8f8f-41b8-bd50-03497d97776e" providerId="ADAL" clId="{A2A0405A-6B1F-4AFE-ADF4-06FBC564D530}" dt="2022-12-02T13:39:30.189" v="21080" actId="1035"/>
          <ac:spMkLst>
            <pc:docMk/>
            <pc:sldMk cId="1963164929" sldId="2147470894"/>
            <ac:spMk id="86" creationId="{032C0152-8F19-4352-BCA6-9F2B9D7C97BF}"/>
          </ac:spMkLst>
        </pc:spChg>
        <pc:spChg chg="add mod">
          <ac:chgData name="YUAN Huaxing" userId="680cda70-8f8f-41b8-bd50-03497d97776e" providerId="ADAL" clId="{A2A0405A-6B1F-4AFE-ADF4-06FBC564D530}" dt="2022-12-02T13:39:30.189" v="21080" actId="1035"/>
          <ac:spMkLst>
            <pc:docMk/>
            <pc:sldMk cId="1963164929" sldId="2147470894"/>
            <ac:spMk id="87" creationId="{B124F027-CD4B-4D6D-98AA-E39F3ACA40E3}"/>
          </ac:spMkLst>
        </pc:spChg>
        <pc:spChg chg="add mod">
          <ac:chgData name="YUAN Huaxing" userId="680cda70-8f8f-41b8-bd50-03497d97776e" providerId="ADAL" clId="{A2A0405A-6B1F-4AFE-ADF4-06FBC564D530}" dt="2022-12-02T13:39:30.189" v="21080" actId="1035"/>
          <ac:spMkLst>
            <pc:docMk/>
            <pc:sldMk cId="1963164929" sldId="2147470894"/>
            <ac:spMk id="88" creationId="{D551C193-E4DA-4ED9-8766-164B366E0F60}"/>
          </ac:spMkLst>
        </pc:spChg>
        <pc:spChg chg="add mod ord">
          <ac:chgData name="YUAN Huaxing" userId="680cda70-8f8f-41b8-bd50-03497d97776e" providerId="ADAL" clId="{A2A0405A-6B1F-4AFE-ADF4-06FBC564D530}" dt="2023-01-04T13:50:12.377" v="21145" actId="20577"/>
          <ac:spMkLst>
            <pc:docMk/>
            <pc:sldMk cId="1963164929" sldId="2147470894"/>
            <ac:spMk id="92" creationId="{41199D81-9425-4EF2-9729-636D42F11960}"/>
          </ac:spMkLst>
        </pc:spChg>
        <pc:spChg chg="add mod">
          <ac:chgData name="YUAN Huaxing" userId="680cda70-8f8f-41b8-bd50-03497d97776e" providerId="ADAL" clId="{A2A0405A-6B1F-4AFE-ADF4-06FBC564D530}" dt="2022-12-02T13:45:20.030" v="21091" actId="1076"/>
          <ac:spMkLst>
            <pc:docMk/>
            <pc:sldMk cId="1963164929" sldId="2147470894"/>
            <ac:spMk id="94" creationId="{52575420-99B5-496F-B273-DBB53A503F62}"/>
          </ac:spMkLst>
        </pc:spChg>
        <pc:grpChg chg="add del mod ord">
          <ac:chgData name="YUAN Huaxing" userId="680cda70-8f8f-41b8-bd50-03497d97776e" providerId="ADAL" clId="{A2A0405A-6B1F-4AFE-ADF4-06FBC564D530}" dt="2022-12-02T13:11:42.048" v="20518" actId="21"/>
          <ac:grpSpMkLst>
            <pc:docMk/>
            <pc:sldMk cId="1963164929" sldId="2147470894"/>
            <ac:grpSpMk id="4" creationId="{9201F999-BFDE-4CAA-9012-926BDCA4D4A5}"/>
          </ac:grpSpMkLst>
        </pc:grpChg>
        <pc:grpChg chg="add del mod">
          <ac:chgData name="YUAN Huaxing" userId="680cda70-8f8f-41b8-bd50-03497d97776e" providerId="ADAL" clId="{A2A0405A-6B1F-4AFE-ADF4-06FBC564D530}" dt="2022-12-02T13:45:15.696" v="21089" actId="478"/>
          <ac:grpSpMkLst>
            <pc:docMk/>
            <pc:sldMk cId="1963164929" sldId="2147470894"/>
            <ac:grpSpMk id="5" creationId="{56134C8F-E4C3-40CB-ABA3-72BB0509933D}"/>
          </ac:grpSpMkLst>
        </pc:grpChg>
        <pc:grpChg chg="add del mod ord">
          <ac:chgData name="YUAN Huaxing" userId="680cda70-8f8f-41b8-bd50-03497d97776e" providerId="ADAL" clId="{A2A0405A-6B1F-4AFE-ADF4-06FBC564D530}" dt="2022-12-02T13:10:34.800" v="20498" actId="21"/>
          <ac:grpSpMkLst>
            <pc:docMk/>
            <pc:sldMk cId="1963164929" sldId="2147470894"/>
            <ac:grpSpMk id="7" creationId="{F017FCD1-06C0-42F7-A44F-FC6B1F8674B8}"/>
          </ac:grpSpMkLst>
        </pc:grpChg>
        <pc:grpChg chg="add mod ord topLvl">
          <ac:chgData name="YUAN Huaxing" userId="680cda70-8f8f-41b8-bd50-03497d97776e" providerId="ADAL" clId="{A2A0405A-6B1F-4AFE-ADF4-06FBC564D530}" dt="2022-12-02T13:20:51.297" v="20611" actId="1076"/>
          <ac:grpSpMkLst>
            <pc:docMk/>
            <pc:sldMk cId="1963164929" sldId="2147470894"/>
            <ac:grpSpMk id="16" creationId="{25AB6AEE-23B1-4C91-B8DE-58EAEF122675}"/>
          </ac:grpSpMkLst>
        </pc:grpChg>
        <pc:grpChg chg="add mod">
          <ac:chgData name="YUAN Huaxing" userId="680cda70-8f8f-41b8-bd50-03497d97776e" providerId="ADAL" clId="{A2A0405A-6B1F-4AFE-ADF4-06FBC564D530}" dt="2022-12-02T13:39:30.189" v="21080" actId="1035"/>
          <ac:grpSpMkLst>
            <pc:docMk/>
            <pc:sldMk cId="1963164929" sldId="2147470894"/>
            <ac:grpSpMk id="31" creationId="{1A5C249E-1EA7-4D3F-A6D6-FC2E618BDD38}"/>
          </ac:grpSpMkLst>
        </pc:grpChg>
        <pc:grpChg chg="add mod">
          <ac:chgData name="YUAN Huaxing" userId="680cda70-8f8f-41b8-bd50-03497d97776e" providerId="ADAL" clId="{A2A0405A-6B1F-4AFE-ADF4-06FBC564D530}" dt="2022-12-02T13:39:30.189" v="21080" actId="1035"/>
          <ac:grpSpMkLst>
            <pc:docMk/>
            <pc:sldMk cId="1963164929" sldId="2147470894"/>
            <ac:grpSpMk id="33" creationId="{FE5065B5-BFF3-4AA4-9E82-D977BDB53C0B}"/>
          </ac:grpSpMkLst>
        </pc:grpChg>
        <pc:grpChg chg="add mod">
          <ac:chgData name="YUAN Huaxing" userId="680cda70-8f8f-41b8-bd50-03497d97776e" providerId="ADAL" clId="{A2A0405A-6B1F-4AFE-ADF4-06FBC564D530}" dt="2022-12-02T13:39:30.189" v="21080" actId="1035"/>
          <ac:grpSpMkLst>
            <pc:docMk/>
            <pc:sldMk cId="1963164929" sldId="2147470894"/>
            <ac:grpSpMk id="34" creationId="{883E9120-99BE-43AB-A0B3-F8C21CFBA721}"/>
          </ac:grpSpMkLst>
        </pc:grpChg>
        <pc:grpChg chg="add mod">
          <ac:chgData name="YUAN Huaxing" userId="680cda70-8f8f-41b8-bd50-03497d97776e" providerId="ADAL" clId="{A2A0405A-6B1F-4AFE-ADF4-06FBC564D530}" dt="2022-12-02T13:39:30.189" v="21080" actId="1035"/>
          <ac:grpSpMkLst>
            <pc:docMk/>
            <pc:sldMk cId="1963164929" sldId="2147470894"/>
            <ac:grpSpMk id="37" creationId="{3F06E982-8B4A-4152-92F3-3100801E2332}"/>
          </ac:grpSpMkLst>
        </pc:grpChg>
        <pc:grpChg chg="add mod">
          <ac:chgData name="YUAN Huaxing" userId="680cda70-8f8f-41b8-bd50-03497d97776e" providerId="ADAL" clId="{A2A0405A-6B1F-4AFE-ADF4-06FBC564D530}" dt="2022-12-02T13:48:05.090" v="21113" actId="1076"/>
          <ac:grpSpMkLst>
            <pc:docMk/>
            <pc:sldMk cId="1963164929" sldId="2147470894"/>
            <ac:grpSpMk id="42" creationId="{F55F9654-0DB5-46B3-868C-AF9B66204FFF}"/>
          </ac:grpSpMkLst>
        </pc:grpChg>
        <pc:grpChg chg="add mod">
          <ac:chgData name="YUAN Huaxing" userId="680cda70-8f8f-41b8-bd50-03497d97776e" providerId="ADAL" clId="{A2A0405A-6B1F-4AFE-ADF4-06FBC564D530}" dt="2022-12-02T13:39:24.656" v="21078" actId="1036"/>
          <ac:grpSpMkLst>
            <pc:docMk/>
            <pc:sldMk cId="1963164929" sldId="2147470894"/>
            <ac:grpSpMk id="45" creationId="{8E3D4266-271F-4026-A3B5-70BB816C5186}"/>
          </ac:grpSpMkLst>
        </pc:grpChg>
        <pc:grpChg chg="add mod">
          <ac:chgData name="YUAN Huaxing" userId="680cda70-8f8f-41b8-bd50-03497d97776e" providerId="ADAL" clId="{A2A0405A-6B1F-4AFE-ADF4-06FBC564D530}" dt="2022-12-02T13:39:30.189" v="21080" actId="1035"/>
          <ac:grpSpMkLst>
            <pc:docMk/>
            <pc:sldMk cId="1963164929" sldId="2147470894"/>
            <ac:grpSpMk id="47" creationId="{107300C8-0E4E-45A5-A42A-705890308E8A}"/>
          </ac:grpSpMkLst>
        </pc:grpChg>
        <pc:grpChg chg="add del mod">
          <ac:chgData name="YUAN Huaxing" userId="680cda70-8f8f-41b8-bd50-03497d97776e" providerId="ADAL" clId="{A2A0405A-6B1F-4AFE-ADF4-06FBC564D530}" dt="2022-12-02T13:10:26.439" v="20495" actId="478"/>
          <ac:grpSpMkLst>
            <pc:docMk/>
            <pc:sldMk cId="1963164929" sldId="2147470894"/>
            <ac:grpSpMk id="50" creationId="{099FA165-FF8A-4571-81E5-EFCE5FF8F731}"/>
          </ac:grpSpMkLst>
        </pc:grpChg>
        <pc:grpChg chg="add del mod">
          <ac:chgData name="YUAN Huaxing" userId="680cda70-8f8f-41b8-bd50-03497d97776e" providerId="ADAL" clId="{A2A0405A-6B1F-4AFE-ADF4-06FBC564D530}" dt="2022-12-02T13:13:44.362" v="20543" actId="165"/>
          <ac:grpSpMkLst>
            <pc:docMk/>
            <pc:sldMk cId="1963164929" sldId="2147470894"/>
            <ac:grpSpMk id="51" creationId="{5DA7445B-8BBB-4F39-AEFD-B32D9130934F}"/>
          </ac:grpSpMkLst>
        </pc:grpChg>
        <pc:grpChg chg="add mod">
          <ac:chgData name="YUAN Huaxing" userId="680cda70-8f8f-41b8-bd50-03497d97776e" providerId="ADAL" clId="{A2A0405A-6B1F-4AFE-ADF4-06FBC564D530}" dt="2022-12-02T13:21:03.484" v="20615" actId="1036"/>
          <ac:grpSpMkLst>
            <pc:docMk/>
            <pc:sldMk cId="1963164929" sldId="2147470894"/>
            <ac:grpSpMk id="53" creationId="{724AD8D1-AD44-4621-ADA6-A159F7CF203F}"/>
          </ac:grpSpMkLst>
        </pc:grpChg>
        <pc:grpChg chg="add mod">
          <ac:chgData name="YUAN Huaxing" userId="680cda70-8f8f-41b8-bd50-03497d97776e" providerId="ADAL" clId="{A2A0405A-6B1F-4AFE-ADF4-06FBC564D530}" dt="2022-12-02T13:20:58.269" v="20612" actId="1076"/>
          <ac:grpSpMkLst>
            <pc:docMk/>
            <pc:sldMk cId="1963164929" sldId="2147470894"/>
            <ac:grpSpMk id="54" creationId="{F2CE96F8-DDB3-4BC6-BE4F-68B08D902819}"/>
          </ac:grpSpMkLst>
        </pc:grpChg>
        <pc:grpChg chg="add del mod">
          <ac:chgData name="YUAN Huaxing" userId="680cda70-8f8f-41b8-bd50-03497d97776e" providerId="ADAL" clId="{A2A0405A-6B1F-4AFE-ADF4-06FBC564D530}" dt="2022-12-02T13:14:18.061" v="20548" actId="165"/>
          <ac:grpSpMkLst>
            <pc:docMk/>
            <pc:sldMk cId="1963164929" sldId="2147470894"/>
            <ac:grpSpMk id="57" creationId="{820DBF0C-163D-459F-A8AF-527B1CAD937F}"/>
          </ac:grpSpMkLst>
        </pc:grpChg>
        <pc:grpChg chg="add mod">
          <ac:chgData name="YUAN Huaxing" userId="680cda70-8f8f-41b8-bd50-03497d97776e" providerId="ADAL" clId="{A2A0405A-6B1F-4AFE-ADF4-06FBC564D530}" dt="2022-12-05T10:15:06.673" v="21122" actId="1076"/>
          <ac:grpSpMkLst>
            <pc:docMk/>
            <pc:sldMk cId="1963164929" sldId="2147470894"/>
            <ac:grpSpMk id="58" creationId="{6D2F7B24-0566-4CA4-9CBD-4A6198AAE3DB}"/>
          </ac:grpSpMkLst>
        </pc:grpChg>
        <pc:grpChg chg="add del mod">
          <ac:chgData name="YUAN Huaxing" userId="680cda70-8f8f-41b8-bd50-03497d97776e" providerId="ADAL" clId="{A2A0405A-6B1F-4AFE-ADF4-06FBC564D530}" dt="2023-01-11T09:42:17.024" v="21149" actId="478"/>
          <ac:grpSpMkLst>
            <pc:docMk/>
            <pc:sldMk cId="1963164929" sldId="2147470894"/>
            <ac:grpSpMk id="64" creationId="{980024D2-D671-4648-8F0F-24AD8C9F41D0}"/>
          </ac:grpSpMkLst>
        </pc:grpChg>
        <pc:grpChg chg="add mod">
          <ac:chgData name="YUAN Huaxing" userId="680cda70-8f8f-41b8-bd50-03497d97776e" providerId="ADAL" clId="{A2A0405A-6B1F-4AFE-ADF4-06FBC564D530}" dt="2022-12-02T13:47:22.893" v="21102" actId="1076"/>
          <ac:grpSpMkLst>
            <pc:docMk/>
            <pc:sldMk cId="1963164929" sldId="2147470894"/>
            <ac:grpSpMk id="91" creationId="{62D40C36-5579-44DE-877B-FEFAD092AAA8}"/>
          </ac:grpSpMkLst>
        </pc:grpChg>
        <pc:graphicFrameChg chg="add del mod ord topLvl modGraphic">
          <ac:chgData name="YUAN Huaxing" userId="680cda70-8f8f-41b8-bd50-03497d97776e" providerId="ADAL" clId="{A2A0405A-6B1F-4AFE-ADF4-06FBC564D530}" dt="2022-12-02T13:10:29.892" v="20497" actId="478"/>
          <ac:graphicFrameMkLst>
            <pc:docMk/>
            <pc:sldMk cId="1963164929" sldId="2147470894"/>
            <ac:graphicFrameMk id="52" creationId="{D7D0B3AC-5470-41DD-9D75-069C51802628}"/>
          </ac:graphicFrameMkLst>
        </pc:graphicFrameChg>
        <pc:graphicFrameChg chg="add mod topLvl modGraphic">
          <ac:chgData name="YUAN Huaxing" userId="680cda70-8f8f-41b8-bd50-03497d97776e" providerId="ADAL" clId="{A2A0405A-6B1F-4AFE-ADF4-06FBC564D530}" dt="2022-12-02T13:15:40.779" v="20557" actId="1076"/>
          <ac:graphicFrameMkLst>
            <pc:docMk/>
            <pc:sldMk cId="1963164929" sldId="2147470894"/>
            <ac:graphicFrameMk id="56" creationId="{493C6BD4-FC8B-45AB-9763-641B68296425}"/>
          </ac:graphicFrameMkLst>
        </pc:graphicFrameChg>
        <pc:picChg chg="add mod">
          <ac:chgData name="YUAN Huaxing" userId="680cda70-8f8f-41b8-bd50-03497d97776e" providerId="ADAL" clId="{A2A0405A-6B1F-4AFE-ADF4-06FBC564D530}" dt="2022-12-02T13:13:44.362" v="20543" actId="165"/>
          <ac:picMkLst>
            <pc:docMk/>
            <pc:sldMk cId="1963164929" sldId="2147470894"/>
            <ac:picMk id="3" creationId="{CBEF72BA-F678-4EFB-BB63-77CF37C5EB63}"/>
          </ac:picMkLst>
        </pc:picChg>
        <pc:picChg chg="add del mod">
          <ac:chgData name="YUAN Huaxing" userId="680cda70-8f8f-41b8-bd50-03497d97776e" providerId="ADAL" clId="{A2A0405A-6B1F-4AFE-ADF4-06FBC564D530}" dt="2022-12-02T10:30:04.243" v="20259"/>
          <ac:picMkLst>
            <pc:docMk/>
            <pc:sldMk cId="1963164929" sldId="2147470894"/>
            <ac:picMk id="17" creationId="{6BB2ECC0-4FC0-49D8-A131-39848008D7E5}"/>
          </ac:picMkLst>
        </pc:picChg>
        <pc:picChg chg="add mod">
          <ac:chgData name="YUAN Huaxing" userId="680cda70-8f8f-41b8-bd50-03497d97776e" providerId="ADAL" clId="{A2A0405A-6B1F-4AFE-ADF4-06FBC564D530}" dt="2022-12-02T13:48:05.090" v="21113" actId="1076"/>
          <ac:picMkLst>
            <pc:docMk/>
            <pc:sldMk cId="1963164929" sldId="2147470894"/>
            <ac:picMk id="26" creationId="{E748CAEC-206F-44ED-BB43-C5B852B34764}"/>
          </ac:picMkLst>
        </pc:picChg>
        <pc:picChg chg="add mod">
          <ac:chgData name="YUAN Huaxing" userId="680cda70-8f8f-41b8-bd50-03497d97776e" providerId="ADAL" clId="{A2A0405A-6B1F-4AFE-ADF4-06FBC564D530}" dt="2022-12-02T13:48:05.090" v="21113" actId="1076"/>
          <ac:picMkLst>
            <pc:docMk/>
            <pc:sldMk cId="1963164929" sldId="2147470894"/>
            <ac:picMk id="27" creationId="{7B3A7C97-7C86-42D5-A401-A87D3F3ACFA9}"/>
          </ac:picMkLst>
        </pc:picChg>
        <pc:picChg chg="add mod">
          <ac:chgData name="YUAN Huaxing" userId="680cda70-8f8f-41b8-bd50-03497d97776e" providerId="ADAL" clId="{A2A0405A-6B1F-4AFE-ADF4-06FBC564D530}" dt="2022-12-02T13:48:05.090" v="21113" actId="1076"/>
          <ac:picMkLst>
            <pc:docMk/>
            <pc:sldMk cId="1963164929" sldId="2147470894"/>
            <ac:picMk id="28" creationId="{E1B58598-C96A-40FD-B02C-35CCD4405E2E}"/>
          </ac:picMkLst>
        </pc:picChg>
        <pc:picChg chg="add mod">
          <ac:chgData name="YUAN Huaxing" userId="680cda70-8f8f-41b8-bd50-03497d97776e" providerId="ADAL" clId="{A2A0405A-6B1F-4AFE-ADF4-06FBC564D530}" dt="2022-12-02T13:39:30.189" v="21080" actId="1035"/>
          <ac:picMkLst>
            <pc:docMk/>
            <pc:sldMk cId="1963164929" sldId="2147470894"/>
            <ac:picMk id="30" creationId="{86E48765-9B7A-45D6-A046-17E5D2BE413A}"/>
          </ac:picMkLst>
        </pc:picChg>
        <pc:picChg chg="add mod">
          <ac:chgData name="YUAN Huaxing" userId="680cda70-8f8f-41b8-bd50-03497d97776e" providerId="ADAL" clId="{A2A0405A-6B1F-4AFE-ADF4-06FBC564D530}" dt="2022-12-02T13:47:51.155" v="21103" actId="1036"/>
          <ac:picMkLst>
            <pc:docMk/>
            <pc:sldMk cId="1963164929" sldId="2147470894"/>
            <ac:picMk id="32" creationId="{200BB10E-D175-4F77-93B6-66A691138D18}"/>
          </ac:picMkLst>
        </pc:picChg>
        <pc:picChg chg="add del mod">
          <ac:chgData name="YUAN Huaxing" userId="680cda70-8f8f-41b8-bd50-03497d97776e" providerId="ADAL" clId="{A2A0405A-6B1F-4AFE-ADF4-06FBC564D530}" dt="2022-11-28T17:16:59.692" v="11442" actId="478"/>
          <ac:picMkLst>
            <pc:docMk/>
            <pc:sldMk cId="1963164929" sldId="2147470894"/>
            <ac:picMk id="50" creationId="{A65C0DFC-21AC-4C8B-A572-77EFF8997A89}"/>
          </ac:picMkLst>
        </pc:picChg>
        <pc:picChg chg="add del mod">
          <ac:chgData name="YUAN Huaxing" userId="680cda70-8f8f-41b8-bd50-03497d97776e" providerId="ADAL" clId="{A2A0405A-6B1F-4AFE-ADF4-06FBC564D530}" dt="2022-11-28T17:26:40.832" v="11650"/>
          <ac:picMkLst>
            <pc:docMk/>
            <pc:sldMk cId="1963164929" sldId="2147470894"/>
            <ac:picMk id="53" creationId="{3F574F56-62F3-452B-BDAD-6D4E2386FAE7}"/>
          </ac:picMkLst>
        </pc:picChg>
        <pc:picChg chg="add del mod">
          <ac:chgData name="YUAN Huaxing" userId="680cda70-8f8f-41b8-bd50-03497d97776e" providerId="ADAL" clId="{A2A0405A-6B1F-4AFE-ADF4-06FBC564D530}" dt="2022-11-28T17:26:40.832" v="11650"/>
          <ac:picMkLst>
            <pc:docMk/>
            <pc:sldMk cId="1963164929" sldId="2147470894"/>
            <ac:picMk id="57" creationId="{3E9B3EE7-3E6D-4630-80D2-4F7D28BEB007}"/>
          </ac:picMkLst>
        </pc:picChg>
        <pc:picChg chg="add del mod">
          <ac:chgData name="YUAN Huaxing" userId="680cda70-8f8f-41b8-bd50-03497d97776e" providerId="ADAL" clId="{A2A0405A-6B1F-4AFE-ADF4-06FBC564D530}" dt="2022-11-28T17:26:40.832" v="11650"/>
          <ac:picMkLst>
            <pc:docMk/>
            <pc:sldMk cId="1963164929" sldId="2147470894"/>
            <ac:picMk id="69" creationId="{BDFC5A86-D507-4971-8105-75BAEDA51D70}"/>
          </ac:picMkLst>
        </pc:picChg>
        <pc:picChg chg="add del mod">
          <ac:chgData name="YUAN Huaxing" userId="680cda70-8f8f-41b8-bd50-03497d97776e" providerId="ADAL" clId="{A2A0405A-6B1F-4AFE-ADF4-06FBC564D530}" dt="2022-11-28T17:26:40.832" v="11650"/>
          <ac:picMkLst>
            <pc:docMk/>
            <pc:sldMk cId="1963164929" sldId="2147470894"/>
            <ac:picMk id="71" creationId="{9B42FA96-7C6E-4158-A90C-3552DC782C40}"/>
          </ac:picMkLst>
        </pc:picChg>
        <pc:picChg chg="add del mod">
          <ac:chgData name="YUAN Huaxing" userId="680cda70-8f8f-41b8-bd50-03497d97776e" providerId="ADAL" clId="{A2A0405A-6B1F-4AFE-ADF4-06FBC564D530}" dt="2022-11-28T17:26:40.832" v="11650"/>
          <ac:picMkLst>
            <pc:docMk/>
            <pc:sldMk cId="1963164929" sldId="2147470894"/>
            <ac:picMk id="73" creationId="{D26F14E0-A252-4277-A934-20173B252777}"/>
          </ac:picMkLst>
        </pc:picChg>
        <pc:picChg chg="add del mod">
          <ac:chgData name="YUAN Huaxing" userId="680cda70-8f8f-41b8-bd50-03497d97776e" providerId="ADAL" clId="{A2A0405A-6B1F-4AFE-ADF4-06FBC564D530}" dt="2022-11-28T17:26:40.832" v="11650"/>
          <ac:picMkLst>
            <pc:docMk/>
            <pc:sldMk cId="1963164929" sldId="2147470894"/>
            <ac:picMk id="74" creationId="{BEA52931-9CFF-4ACA-9DB5-B56CDA2F6B2C}"/>
          </ac:picMkLst>
        </pc:picChg>
        <pc:picChg chg="add del mod">
          <ac:chgData name="YUAN Huaxing" userId="680cda70-8f8f-41b8-bd50-03497d97776e" providerId="ADAL" clId="{A2A0405A-6B1F-4AFE-ADF4-06FBC564D530}" dt="2022-11-28T17:26:40.832" v="11650"/>
          <ac:picMkLst>
            <pc:docMk/>
            <pc:sldMk cId="1963164929" sldId="2147470894"/>
            <ac:picMk id="76" creationId="{AA6FCB3D-E64D-45B8-AA0C-889B1E73E72B}"/>
          </ac:picMkLst>
        </pc:picChg>
        <pc:picChg chg="add mod">
          <ac:chgData name="YUAN Huaxing" userId="680cda70-8f8f-41b8-bd50-03497d97776e" providerId="ADAL" clId="{A2A0405A-6B1F-4AFE-ADF4-06FBC564D530}" dt="2022-12-02T13:47:22.893" v="21102" actId="1076"/>
          <ac:picMkLst>
            <pc:docMk/>
            <pc:sldMk cId="1963164929" sldId="2147470894"/>
            <ac:picMk id="77" creationId="{36FE2542-23C1-49FB-B5BD-A3133BDE3E86}"/>
          </ac:picMkLst>
        </pc:picChg>
        <pc:picChg chg="add del mod">
          <ac:chgData name="YUAN Huaxing" userId="680cda70-8f8f-41b8-bd50-03497d97776e" providerId="ADAL" clId="{A2A0405A-6B1F-4AFE-ADF4-06FBC564D530}" dt="2022-11-28T17:26:40.832" v="11650"/>
          <ac:picMkLst>
            <pc:docMk/>
            <pc:sldMk cId="1963164929" sldId="2147470894"/>
            <ac:picMk id="80" creationId="{192B01EA-19AA-4B2B-811B-E99BD7D89859}"/>
          </ac:picMkLst>
        </pc:picChg>
        <pc:picChg chg="add del mod">
          <ac:chgData name="YUAN Huaxing" userId="680cda70-8f8f-41b8-bd50-03497d97776e" providerId="ADAL" clId="{A2A0405A-6B1F-4AFE-ADF4-06FBC564D530}" dt="2022-11-28T17:26:40.832" v="11650"/>
          <ac:picMkLst>
            <pc:docMk/>
            <pc:sldMk cId="1963164929" sldId="2147470894"/>
            <ac:picMk id="81" creationId="{CDA00D57-EBDC-40FB-AE10-72390DB0A2C9}"/>
          </ac:picMkLst>
        </pc:picChg>
        <pc:picChg chg="add del mod">
          <ac:chgData name="YUAN Huaxing" userId="680cda70-8f8f-41b8-bd50-03497d97776e" providerId="ADAL" clId="{A2A0405A-6B1F-4AFE-ADF4-06FBC564D530}" dt="2022-11-28T17:26:40.832" v="11650"/>
          <ac:picMkLst>
            <pc:docMk/>
            <pc:sldMk cId="1963164929" sldId="2147470894"/>
            <ac:picMk id="82" creationId="{20F64C6C-00D4-4878-BA51-2EB594FCDEA8}"/>
          </ac:picMkLst>
        </pc:picChg>
        <pc:picChg chg="add mod">
          <ac:chgData name="YUAN Huaxing" userId="680cda70-8f8f-41b8-bd50-03497d97776e" providerId="ADAL" clId="{A2A0405A-6B1F-4AFE-ADF4-06FBC564D530}" dt="2022-12-02T13:47:22.893" v="21102" actId="1076"/>
          <ac:picMkLst>
            <pc:docMk/>
            <pc:sldMk cId="1963164929" sldId="2147470894"/>
            <ac:picMk id="82" creationId="{D942E0FF-4EBF-42D2-B1E6-1952E0E76D1F}"/>
          </ac:picMkLst>
        </pc:picChg>
        <pc:picChg chg="add mod">
          <ac:chgData name="YUAN Huaxing" userId="680cda70-8f8f-41b8-bd50-03497d97776e" providerId="ADAL" clId="{A2A0405A-6B1F-4AFE-ADF4-06FBC564D530}" dt="2022-12-02T13:47:22.893" v="21102" actId="1076"/>
          <ac:picMkLst>
            <pc:docMk/>
            <pc:sldMk cId="1963164929" sldId="2147470894"/>
            <ac:picMk id="90" creationId="{A4FF5838-0B33-42CD-AA2C-41EA907FB64F}"/>
          </ac:picMkLst>
        </pc:picChg>
        <pc:picChg chg="add del mod">
          <ac:chgData name="YUAN Huaxing" userId="680cda70-8f8f-41b8-bd50-03497d97776e" providerId="ADAL" clId="{A2A0405A-6B1F-4AFE-ADF4-06FBC564D530}" dt="2022-11-28T17:16:59.692" v="11442" actId="478"/>
          <ac:picMkLst>
            <pc:docMk/>
            <pc:sldMk cId="1963164929" sldId="2147470894"/>
            <ac:picMk id="1026" creationId="{BE437B91-F987-46DF-8320-D604CFC43668}"/>
          </ac:picMkLst>
        </pc:picChg>
        <pc:picChg chg="add del mod">
          <ac:chgData name="YUAN Huaxing" userId="680cda70-8f8f-41b8-bd50-03497d97776e" providerId="ADAL" clId="{A2A0405A-6B1F-4AFE-ADF4-06FBC564D530}" dt="2022-11-28T17:16:59.692" v="11442" actId="478"/>
          <ac:picMkLst>
            <pc:docMk/>
            <pc:sldMk cId="1963164929" sldId="2147470894"/>
            <ac:picMk id="1028" creationId="{0BAFE659-4903-4802-B864-70AAF3B40AD9}"/>
          </ac:picMkLst>
        </pc:picChg>
        <pc:picChg chg="add del mod">
          <ac:chgData name="YUAN Huaxing" userId="680cda70-8f8f-41b8-bd50-03497d97776e" providerId="ADAL" clId="{A2A0405A-6B1F-4AFE-ADF4-06FBC564D530}" dt="2022-11-28T17:07:17.435" v="11323" actId="478"/>
          <ac:picMkLst>
            <pc:docMk/>
            <pc:sldMk cId="1963164929" sldId="2147470894"/>
            <ac:picMk id="1030" creationId="{AE785A80-58DB-410B-91BC-BEEF8687F012}"/>
          </ac:picMkLst>
        </pc:picChg>
        <pc:picChg chg="add mod">
          <ac:chgData name="YUAN Huaxing" userId="680cda70-8f8f-41b8-bd50-03497d97776e" providerId="ADAL" clId="{A2A0405A-6B1F-4AFE-ADF4-06FBC564D530}" dt="2022-12-02T13:47:22.893" v="21102" actId="1076"/>
          <ac:picMkLst>
            <pc:docMk/>
            <pc:sldMk cId="1963164929" sldId="2147470894"/>
            <ac:picMk id="1030" creationId="{EE270A3A-1045-4CDF-86B6-64E864CF9BFC}"/>
          </ac:picMkLst>
        </pc:picChg>
        <pc:picChg chg="add del">
          <ac:chgData name="YUAN Huaxing" userId="680cda70-8f8f-41b8-bd50-03497d97776e" providerId="ADAL" clId="{A2A0405A-6B1F-4AFE-ADF4-06FBC564D530}" dt="2022-11-28T17:07:26.476" v="11325" actId="478"/>
          <ac:picMkLst>
            <pc:docMk/>
            <pc:sldMk cId="1963164929" sldId="2147470894"/>
            <ac:picMk id="1032" creationId="{08090917-27B4-457B-8B3E-5A9DF8CEBBCD}"/>
          </ac:picMkLst>
        </pc:picChg>
        <pc:picChg chg="add del mod">
          <ac:chgData name="YUAN Huaxing" userId="680cda70-8f8f-41b8-bd50-03497d97776e" providerId="ADAL" clId="{A2A0405A-6B1F-4AFE-ADF4-06FBC564D530}" dt="2022-11-28T17:16:59.692" v="11442" actId="478"/>
          <ac:picMkLst>
            <pc:docMk/>
            <pc:sldMk cId="1963164929" sldId="2147470894"/>
            <ac:picMk id="1036" creationId="{0016F8EE-21A3-4627-939C-6CA1BAE755FE}"/>
          </ac:picMkLst>
        </pc:picChg>
        <pc:picChg chg="add del mod">
          <ac:chgData name="YUAN Huaxing" userId="680cda70-8f8f-41b8-bd50-03497d97776e" providerId="ADAL" clId="{A2A0405A-6B1F-4AFE-ADF4-06FBC564D530}" dt="2022-11-28T17:17:04.932" v="11445" actId="478"/>
          <ac:picMkLst>
            <pc:docMk/>
            <pc:sldMk cId="1963164929" sldId="2147470894"/>
            <ac:picMk id="1038" creationId="{6D8B70DC-3DE9-441B-B764-B6287498ED65}"/>
          </ac:picMkLst>
        </pc:picChg>
        <pc:cxnChg chg="add del mod">
          <ac:chgData name="YUAN Huaxing" userId="680cda70-8f8f-41b8-bd50-03497d97776e" providerId="ADAL" clId="{A2A0405A-6B1F-4AFE-ADF4-06FBC564D530}" dt="2022-11-28T17:29:51.731" v="11726" actId="478"/>
          <ac:cxnSpMkLst>
            <pc:docMk/>
            <pc:sldMk cId="1963164929" sldId="2147470894"/>
            <ac:cxnSpMk id="17" creationId="{8BE9658A-9B99-472D-816B-7C647C79E59D}"/>
          </ac:cxnSpMkLst>
        </pc:cxnChg>
        <pc:cxnChg chg="add del mod">
          <ac:chgData name="YUAN Huaxing" userId="680cda70-8f8f-41b8-bd50-03497d97776e" providerId="ADAL" clId="{A2A0405A-6B1F-4AFE-ADF4-06FBC564D530}" dt="2022-11-28T17:26:40.832" v="11650"/>
          <ac:cxnSpMkLst>
            <pc:docMk/>
            <pc:sldMk cId="1963164929" sldId="2147470894"/>
            <ac:cxnSpMk id="60" creationId="{839F16EB-1DCE-40B1-8E49-DC7521A73B10}"/>
          </ac:cxnSpMkLst>
        </pc:cxnChg>
        <pc:cxnChg chg="add del mod">
          <ac:chgData name="YUAN Huaxing" userId="680cda70-8f8f-41b8-bd50-03497d97776e" providerId="ADAL" clId="{A2A0405A-6B1F-4AFE-ADF4-06FBC564D530}" dt="2022-11-28T17:26:40.832" v="11650"/>
          <ac:cxnSpMkLst>
            <pc:docMk/>
            <pc:sldMk cId="1963164929" sldId="2147470894"/>
            <ac:cxnSpMk id="62" creationId="{4B3764EC-6E3C-44CE-A06B-D216A4C5318C}"/>
          </ac:cxnSpMkLst>
        </pc:cxnChg>
        <pc:cxnChg chg="add del mod">
          <ac:chgData name="YUAN Huaxing" userId="680cda70-8f8f-41b8-bd50-03497d97776e" providerId="ADAL" clId="{A2A0405A-6B1F-4AFE-ADF4-06FBC564D530}" dt="2022-11-28T17:26:40.832" v="11650"/>
          <ac:cxnSpMkLst>
            <pc:docMk/>
            <pc:sldMk cId="1963164929" sldId="2147470894"/>
            <ac:cxnSpMk id="75" creationId="{BC687F0D-2BC0-4802-9247-94393E0F8314}"/>
          </ac:cxnSpMkLst>
        </pc:cxnChg>
        <pc:cxnChg chg="add del mod">
          <ac:chgData name="YUAN Huaxing" userId="680cda70-8f8f-41b8-bd50-03497d97776e" providerId="ADAL" clId="{A2A0405A-6B1F-4AFE-ADF4-06FBC564D530}" dt="2022-11-28T17:26:40.832" v="11650"/>
          <ac:cxnSpMkLst>
            <pc:docMk/>
            <pc:sldMk cId="1963164929" sldId="2147470894"/>
            <ac:cxnSpMk id="78" creationId="{E3FC609C-BC57-40C6-8CAE-7C5D53AC0388}"/>
          </ac:cxnSpMkLst>
        </pc:cxnChg>
      </pc:sldChg>
      <pc:sldChg chg="addSp modSp new mod setBg chgLayout">
        <pc:chgData name="YUAN Huaxing" userId="680cda70-8f8f-41b8-bd50-03497d97776e" providerId="ADAL" clId="{A2A0405A-6B1F-4AFE-ADF4-06FBC564D530}" dt="2022-12-01T11:02:34.622" v="16005" actId="404"/>
        <pc:sldMkLst>
          <pc:docMk/>
          <pc:sldMk cId="255253220" sldId="2147470895"/>
        </pc:sldMkLst>
        <pc:spChg chg="mod ord">
          <ac:chgData name="YUAN Huaxing" userId="680cda70-8f8f-41b8-bd50-03497d97776e" providerId="ADAL" clId="{A2A0405A-6B1F-4AFE-ADF4-06FBC564D530}" dt="2022-11-29T11:06:24.114" v="12890" actId="700"/>
          <ac:spMkLst>
            <pc:docMk/>
            <pc:sldMk cId="255253220" sldId="2147470895"/>
            <ac:spMk id="2" creationId="{C7B5BFBF-D724-476A-86A7-14455D9E49C7}"/>
          </ac:spMkLst>
        </pc:spChg>
        <pc:spChg chg="mod ord">
          <ac:chgData name="YUAN Huaxing" userId="680cda70-8f8f-41b8-bd50-03497d97776e" providerId="ADAL" clId="{A2A0405A-6B1F-4AFE-ADF4-06FBC564D530}" dt="2022-11-29T11:06:24.114" v="12890" actId="700"/>
          <ac:spMkLst>
            <pc:docMk/>
            <pc:sldMk cId="255253220" sldId="2147470895"/>
            <ac:spMk id="3" creationId="{76B27C50-5128-46C1-BBE4-2B2D20F6D056}"/>
          </ac:spMkLst>
        </pc:spChg>
        <pc:spChg chg="mod ord">
          <ac:chgData name="YUAN Huaxing" userId="680cda70-8f8f-41b8-bd50-03497d97776e" providerId="ADAL" clId="{A2A0405A-6B1F-4AFE-ADF4-06FBC564D530}" dt="2022-11-29T11:06:24.114" v="12890" actId="700"/>
          <ac:spMkLst>
            <pc:docMk/>
            <pc:sldMk cId="255253220" sldId="2147470895"/>
            <ac:spMk id="4" creationId="{4AC82F85-112B-4453-B5FB-1AF080A64FA0}"/>
          </ac:spMkLst>
        </pc:spChg>
        <pc:spChg chg="add mod ord">
          <ac:chgData name="YUAN Huaxing" userId="680cda70-8f8f-41b8-bd50-03497d97776e" providerId="ADAL" clId="{A2A0405A-6B1F-4AFE-ADF4-06FBC564D530}" dt="2022-11-29T11:06:24.114" v="12890" actId="700"/>
          <ac:spMkLst>
            <pc:docMk/>
            <pc:sldMk cId="255253220" sldId="2147470895"/>
            <ac:spMk id="5" creationId="{71055E83-19BC-40EA-A758-9292BCF059A6}"/>
          </ac:spMkLst>
        </pc:spChg>
        <pc:spChg chg="add mod ord">
          <ac:chgData name="YUAN Huaxing" userId="680cda70-8f8f-41b8-bd50-03497d97776e" providerId="ADAL" clId="{A2A0405A-6B1F-4AFE-ADF4-06FBC564D530}" dt="2022-12-01T11:02:34.622" v="16005" actId="404"/>
          <ac:spMkLst>
            <pc:docMk/>
            <pc:sldMk cId="255253220" sldId="2147470895"/>
            <ac:spMk id="6" creationId="{0B4E6087-6C78-4F86-9509-A6A29E0621DA}"/>
          </ac:spMkLst>
        </pc:spChg>
        <pc:graphicFrameChg chg="add mod modGraphic">
          <ac:chgData name="YUAN Huaxing" userId="680cda70-8f8f-41b8-bd50-03497d97776e" providerId="ADAL" clId="{A2A0405A-6B1F-4AFE-ADF4-06FBC564D530}" dt="2022-11-29T16:14:33.625" v="14532"/>
          <ac:graphicFrameMkLst>
            <pc:docMk/>
            <pc:sldMk cId="255253220" sldId="2147470895"/>
            <ac:graphicFrameMk id="8" creationId="{586D484D-AA25-4A8E-93FA-CCB2A4F22A64}"/>
          </ac:graphicFrameMkLst>
        </pc:graphicFrameChg>
      </pc:sldChg>
      <pc:sldChg chg="addSp delSp modSp new mod setBg">
        <pc:chgData name="YUAN Huaxing" userId="680cda70-8f8f-41b8-bd50-03497d97776e" providerId="ADAL" clId="{A2A0405A-6B1F-4AFE-ADF4-06FBC564D530}" dt="2022-12-01T15:14:38.743" v="17596" actId="14734"/>
        <pc:sldMkLst>
          <pc:docMk/>
          <pc:sldMk cId="2005648879" sldId="2147470896"/>
        </pc:sldMkLst>
        <pc:spChg chg="mod">
          <ac:chgData name="YUAN Huaxing" userId="680cda70-8f8f-41b8-bd50-03497d97776e" providerId="ADAL" clId="{A2A0405A-6B1F-4AFE-ADF4-06FBC564D530}" dt="2022-11-29T15:54:42.740" v="14223" actId="790"/>
          <ac:spMkLst>
            <pc:docMk/>
            <pc:sldMk cId="2005648879" sldId="2147470896"/>
            <ac:spMk id="2" creationId="{8C3D9152-F586-4FEB-A401-A739EE09618A}"/>
          </ac:spMkLst>
        </pc:spChg>
        <pc:spChg chg="mod">
          <ac:chgData name="YUAN Huaxing" userId="680cda70-8f8f-41b8-bd50-03497d97776e" providerId="ADAL" clId="{A2A0405A-6B1F-4AFE-ADF4-06FBC564D530}" dt="2022-11-29T15:55:21.246" v="14241" actId="20577"/>
          <ac:spMkLst>
            <pc:docMk/>
            <pc:sldMk cId="2005648879" sldId="2147470896"/>
            <ac:spMk id="3" creationId="{11B18076-36D6-4AFF-BA30-7246DC78F1F8}"/>
          </ac:spMkLst>
        </pc:spChg>
        <pc:spChg chg="del">
          <ac:chgData name="YUAN Huaxing" userId="680cda70-8f8f-41b8-bd50-03497d97776e" providerId="ADAL" clId="{A2A0405A-6B1F-4AFE-ADF4-06FBC564D530}" dt="2022-11-29T15:46:20.698" v="13883" actId="3680"/>
          <ac:spMkLst>
            <pc:docMk/>
            <pc:sldMk cId="2005648879" sldId="2147470896"/>
            <ac:spMk id="4" creationId="{44D11E55-E264-4445-B8D9-841A2C4A6686}"/>
          </ac:spMkLst>
        </pc:spChg>
        <pc:spChg chg="mod">
          <ac:chgData name="YUAN Huaxing" userId="680cda70-8f8f-41b8-bd50-03497d97776e" providerId="ADAL" clId="{A2A0405A-6B1F-4AFE-ADF4-06FBC564D530}" dt="2022-11-29T15:54:42.740" v="14223" actId="790"/>
          <ac:spMkLst>
            <pc:docMk/>
            <pc:sldMk cId="2005648879" sldId="2147470896"/>
            <ac:spMk id="5" creationId="{1495A04D-F2A0-48D7-8FBD-25275B09DF61}"/>
          </ac:spMkLst>
        </pc:spChg>
        <pc:spChg chg="mod">
          <ac:chgData name="YUAN Huaxing" userId="680cda70-8f8f-41b8-bd50-03497d97776e" providerId="ADAL" clId="{A2A0405A-6B1F-4AFE-ADF4-06FBC564D530}" dt="2022-11-29T15:54:42.740" v="14223" actId="790"/>
          <ac:spMkLst>
            <pc:docMk/>
            <pc:sldMk cId="2005648879" sldId="2147470896"/>
            <ac:spMk id="6" creationId="{68A860ED-DF56-45BD-B4E1-313168C65400}"/>
          </ac:spMkLst>
        </pc:spChg>
        <pc:graphicFrameChg chg="add mod ord modGraphic">
          <ac:chgData name="YUAN Huaxing" userId="680cda70-8f8f-41b8-bd50-03497d97776e" providerId="ADAL" clId="{A2A0405A-6B1F-4AFE-ADF4-06FBC564D530}" dt="2022-12-01T15:14:38.743" v="17596" actId="14734"/>
          <ac:graphicFrameMkLst>
            <pc:docMk/>
            <pc:sldMk cId="2005648879" sldId="2147470896"/>
            <ac:graphicFrameMk id="7" creationId="{A75B5804-2BDF-4114-B21D-F67E9B226A38}"/>
          </ac:graphicFrameMkLst>
        </pc:graphicFrameChg>
      </pc:sldChg>
      <pc:sldChg chg="addSp delSp modSp new mod ord">
        <pc:chgData name="YUAN Huaxing" userId="680cda70-8f8f-41b8-bd50-03497d97776e" providerId="ADAL" clId="{A2A0405A-6B1F-4AFE-ADF4-06FBC564D530}" dt="2022-12-06T11:34:38.850" v="21143"/>
        <pc:sldMkLst>
          <pc:docMk/>
          <pc:sldMk cId="480180273" sldId="2147470897"/>
        </pc:sldMkLst>
        <pc:spChg chg="mod">
          <ac:chgData name="YUAN Huaxing" userId="680cda70-8f8f-41b8-bd50-03497d97776e" providerId="ADAL" clId="{A2A0405A-6B1F-4AFE-ADF4-06FBC564D530}" dt="2022-12-01T15:56:57.196" v="17718" actId="20577"/>
          <ac:spMkLst>
            <pc:docMk/>
            <pc:sldMk cId="480180273" sldId="2147470897"/>
            <ac:spMk id="2" creationId="{7D764384-8DFC-41BF-BE36-A563A431AE5E}"/>
          </ac:spMkLst>
        </pc:spChg>
        <pc:spChg chg="del mod">
          <ac:chgData name="YUAN Huaxing" userId="680cda70-8f8f-41b8-bd50-03497d97776e" providerId="ADAL" clId="{A2A0405A-6B1F-4AFE-ADF4-06FBC564D530}" dt="2022-12-01T15:57:00.320" v="17719" actId="478"/>
          <ac:spMkLst>
            <pc:docMk/>
            <pc:sldMk cId="480180273" sldId="2147470897"/>
            <ac:spMk id="3" creationId="{7C659AEF-1820-4791-A8EC-258D082FE634}"/>
          </ac:spMkLst>
        </pc:spChg>
        <pc:spChg chg="mod">
          <ac:chgData name="YUAN Huaxing" userId="680cda70-8f8f-41b8-bd50-03497d97776e" providerId="ADAL" clId="{A2A0405A-6B1F-4AFE-ADF4-06FBC564D530}" dt="2022-12-02T10:24:21.253" v="20201" actId="20577"/>
          <ac:spMkLst>
            <pc:docMk/>
            <pc:sldMk cId="480180273" sldId="2147470897"/>
            <ac:spMk id="4" creationId="{C18DFA26-10F8-4880-803A-29697DD48185}"/>
          </ac:spMkLst>
        </pc:spChg>
        <pc:spChg chg="mod">
          <ac:chgData name="YUAN Huaxing" userId="680cda70-8f8f-41b8-bd50-03497d97776e" providerId="ADAL" clId="{A2A0405A-6B1F-4AFE-ADF4-06FBC564D530}" dt="2022-12-01T14:29:27.719" v="17184" actId="790"/>
          <ac:spMkLst>
            <pc:docMk/>
            <pc:sldMk cId="480180273" sldId="2147470897"/>
            <ac:spMk id="5" creationId="{48B05078-8661-433A-B759-9A06F1463655}"/>
          </ac:spMkLst>
        </pc:spChg>
        <pc:spChg chg="mod">
          <ac:chgData name="YUAN Huaxing" userId="680cda70-8f8f-41b8-bd50-03497d97776e" providerId="ADAL" clId="{A2A0405A-6B1F-4AFE-ADF4-06FBC564D530}" dt="2022-12-01T14:29:27.719" v="17184" actId="790"/>
          <ac:spMkLst>
            <pc:docMk/>
            <pc:sldMk cId="480180273" sldId="2147470897"/>
            <ac:spMk id="6" creationId="{18270996-ED12-4C88-835F-354F3B530F78}"/>
          </ac:spMkLst>
        </pc:spChg>
        <pc:spChg chg="add mod">
          <ac:chgData name="YUAN Huaxing" userId="680cda70-8f8f-41b8-bd50-03497d97776e" providerId="ADAL" clId="{A2A0405A-6B1F-4AFE-ADF4-06FBC564D530}" dt="2022-12-01T15:57:00.320" v="17719" actId="478"/>
          <ac:spMkLst>
            <pc:docMk/>
            <pc:sldMk cId="480180273" sldId="2147470897"/>
            <ac:spMk id="8" creationId="{ABF0B081-2A74-4537-B175-D2267B80896B}"/>
          </ac:spMkLst>
        </pc:spChg>
        <pc:inkChg chg="add">
          <ac:chgData name="YUAN Huaxing" userId="680cda70-8f8f-41b8-bd50-03497d97776e" providerId="ADAL" clId="{A2A0405A-6B1F-4AFE-ADF4-06FBC564D530}" dt="2022-12-06T11:34:38.850" v="21143"/>
          <ac:inkMkLst>
            <pc:docMk/>
            <pc:sldMk cId="480180273" sldId="2147470897"/>
            <ac:inkMk id="3" creationId="{143FDAA3-21E8-404A-A6F1-8EFA1277CDA8}"/>
          </ac:inkMkLst>
        </pc:inkChg>
        <pc:inkChg chg="add">
          <ac:chgData name="YUAN Huaxing" userId="680cda70-8f8f-41b8-bd50-03497d97776e" providerId="ADAL" clId="{A2A0405A-6B1F-4AFE-ADF4-06FBC564D530}" dt="2022-12-06T11:34:38.850" v="21143"/>
          <ac:inkMkLst>
            <pc:docMk/>
            <pc:sldMk cId="480180273" sldId="2147470897"/>
            <ac:inkMk id="7" creationId="{5687C433-167D-4274-A390-6C3BA1213853}"/>
          </ac:inkMkLst>
        </pc:inkChg>
      </pc:sldChg>
      <pc:sldChg chg="addSp delSp modSp new mod">
        <pc:chgData name="YUAN Huaxing" userId="680cda70-8f8f-41b8-bd50-03497d97776e" providerId="ADAL" clId="{A2A0405A-6B1F-4AFE-ADF4-06FBC564D530}" dt="2022-12-02T13:09:50.709" v="20475" actId="120"/>
        <pc:sldMkLst>
          <pc:docMk/>
          <pc:sldMk cId="2263875010" sldId="2147470898"/>
        </pc:sldMkLst>
        <pc:spChg chg="del">
          <ac:chgData name="YUAN Huaxing" userId="680cda70-8f8f-41b8-bd50-03497d97776e" providerId="ADAL" clId="{A2A0405A-6B1F-4AFE-ADF4-06FBC564D530}" dt="2022-12-02T13:08:46.266" v="20408" actId="478"/>
          <ac:spMkLst>
            <pc:docMk/>
            <pc:sldMk cId="2263875010" sldId="2147470898"/>
            <ac:spMk id="2" creationId="{A8345810-45D1-425A-8D96-9A939E39F1E6}"/>
          </ac:spMkLst>
        </pc:spChg>
        <pc:spChg chg="del">
          <ac:chgData name="YUAN Huaxing" userId="680cda70-8f8f-41b8-bd50-03497d97776e" providerId="ADAL" clId="{A2A0405A-6B1F-4AFE-ADF4-06FBC564D530}" dt="2022-12-02T13:08:46.266" v="20408" actId="478"/>
          <ac:spMkLst>
            <pc:docMk/>
            <pc:sldMk cId="2263875010" sldId="2147470898"/>
            <ac:spMk id="3" creationId="{C12C8FBD-A9C5-4E4C-9CE0-29BDB7A40E0D}"/>
          </ac:spMkLst>
        </pc:spChg>
        <pc:spChg chg="del">
          <ac:chgData name="YUAN Huaxing" userId="680cda70-8f8f-41b8-bd50-03497d97776e" providerId="ADAL" clId="{A2A0405A-6B1F-4AFE-ADF4-06FBC564D530}" dt="2022-12-02T13:08:48.696" v="20409" actId="478"/>
          <ac:spMkLst>
            <pc:docMk/>
            <pc:sldMk cId="2263875010" sldId="2147470898"/>
            <ac:spMk id="4" creationId="{59EA05F5-4A5F-4540-BD68-FA5508D722E6}"/>
          </ac:spMkLst>
        </pc:spChg>
        <pc:spChg chg="mod">
          <ac:chgData name="YUAN Huaxing" userId="680cda70-8f8f-41b8-bd50-03497d97776e" providerId="ADAL" clId="{A2A0405A-6B1F-4AFE-ADF4-06FBC564D530}" dt="2022-12-02T13:08:55.545" v="20411" actId="1076"/>
          <ac:spMkLst>
            <pc:docMk/>
            <pc:sldMk cId="2263875010" sldId="2147470898"/>
            <ac:spMk id="6" creationId="{620E5E12-EB6E-48DB-8E73-38EAEC4A4144}"/>
          </ac:spMkLst>
        </pc:spChg>
        <pc:spChg chg="mod">
          <ac:chgData name="YUAN Huaxing" userId="680cda70-8f8f-41b8-bd50-03497d97776e" providerId="ADAL" clId="{A2A0405A-6B1F-4AFE-ADF4-06FBC564D530}" dt="2022-12-02T13:08:55.545" v="20411" actId="1076"/>
          <ac:spMkLst>
            <pc:docMk/>
            <pc:sldMk cId="2263875010" sldId="2147470898"/>
            <ac:spMk id="8" creationId="{00A504AB-557F-4E34-A33D-559D604B0508}"/>
          </ac:spMkLst>
        </pc:spChg>
        <pc:spChg chg="mod">
          <ac:chgData name="YUAN Huaxing" userId="680cda70-8f8f-41b8-bd50-03497d97776e" providerId="ADAL" clId="{A2A0405A-6B1F-4AFE-ADF4-06FBC564D530}" dt="2022-12-02T13:08:55.545" v="20411" actId="1076"/>
          <ac:spMkLst>
            <pc:docMk/>
            <pc:sldMk cId="2263875010" sldId="2147470898"/>
            <ac:spMk id="9" creationId="{2661B4D0-E996-4AB4-B3BB-D3A7F4A9D382}"/>
          </ac:spMkLst>
        </pc:spChg>
        <pc:spChg chg="mod">
          <ac:chgData name="YUAN Huaxing" userId="680cda70-8f8f-41b8-bd50-03497d97776e" providerId="ADAL" clId="{A2A0405A-6B1F-4AFE-ADF4-06FBC564D530}" dt="2022-12-02T13:08:55.545" v="20411" actId="1076"/>
          <ac:spMkLst>
            <pc:docMk/>
            <pc:sldMk cId="2263875010" sldId="2147470898"/>
            <ac:spMk id="14" creationId="{99FF1875-81D1-4571-9F9B-FCE5544DE9A3}"/>
          </ac:spMkLst>
        </pc:spChg>
        <pc:spChg chg="mod">
          <ac:chgData name="YUAN Huaxing" userId="680cda70-8f8f-41b8-bd50-03497d97776e" providerId="ADAL" clId="{A2A0405A-6B1F-4AFE-ADF4-06FBC564D530}" dt="2022-12-02T13:08:55.545" v="20411" actId="1076"/>
          <ac:spMkLst>
            <pc:docMk/>
            <pc:sldMk cId="2263875010" sldId="2147470898"/>
            <ac:spMk id="15" creationId="{87BDF9C2-72B4-4B71-A570-7D1A9110DCCE}"/>
          </ac:spMkLst>
        </pc:spChg>
        <pc:spChg chg="mod">
          <ac:chgData name="YUAN Huaxing" userId="680cda70-8f8f-41b8-bd50-03497d97776e" providerId="ADAL" clId="{A2A0405A-6B1F-4AFE-ADF4-06FBC564D530}" dt="2022-12-02T13:08:55.545" v="20411" actId="1076"/>
          <ac:spMkLst>
            <pc:docMk/>
            <pc:sldMk cId="2263875010" sldId="2147470898"/>
            <ac:spMk id="16" creationId="{6FB322AD-24DC-42FA-A546-1293B70DCF73}"/>
          </ac:spMkLst>
        </pc:spChg>
        <pc:spChg chg="mod">
          <ac:chgData name="YUAN Huaxing" userId="680cda70-8f8f-41b8-bd50-03497d97776e" providerId="ADAL" clId="{A2A0405A-6B1F-4AFE-ADF4-06FBC564D530}" dt="2022-12-02T13:08:55.545" v="20411" actId="1076"/>
          <ac:spMkLst>
            <pc:docMk/>
            <pc:sldMk cId="2263875010" sldId="2147470898"/>
            <ac:spMk id="17" creationId="{EC39B18C-0BCB-410F-A609-2E1882511077}"/>
          </ac:spMkLst>
        </pc:spChg>
        <pc:spChg chg="mod">
          <ac:chgData name="YUAN Huaxing" userId="680cda70-8f8f-41b8-bd50-03497d97776e" providerId="ADAL" clId="{A2A0405A-6B1F-4AFE-ADF4-06FBC564D530}" dt="2022-12-02T13:08:55.545" v="20411" actId="1076"/>
          <ac:spMkLst>
            <pc:docMk/>
            <pc:sldMk cId="2263875010" sldId="2147470898"/>
            <ac:spMk id="28" creationId="{835407BC-64E2-48F7-9E2B-5CDE9BB2A7EA}"/>
          </ac:spMkLst>
        </pc:spChg>
        <pc:spChg chg="mod">
          <ac:chgData name="YUAN Huaxing" userId="680cda70-8f8f-41b8-bd50-03497d97776e" providerId="ADAL" clId="{A2A0405A-6B1F-4AFE-ADF4-06FBC564D530}" dt="2022-12-02T13:08:55.545" v="20411" actId="1076"/>
          <ac:spMkLst>
            <pc:docMk/>
            <pc:sldMk cId="2263875010" sldId="2147470898"/>
            <ac:spMk id="30" creationId="{5E070AF9-B1D5-4591-9D29-B37D2988C421}"/>
          </ac:spMkLst>
        </pc:spChg>
        <pc:spChg chg="mod">
          <ac:chgData name="YUAN Huaxing" userId="680cda70-8f8f-41b8-bd50-03497d97776e" providerId="ADAL" clId="{A2A0405A-6B1F-4AFE-ADF4-06FBC564D530}" dt="2022-12-02T13:08:55.545" v="20411" actId="1076"/>
          <ac:spMkLst>
            <pc:docMk/>
            <pc:sldMk cId="2263875010" sldId="2147470898"/>
            <ac:spMk id="39" creationId="{8006EA99-1AB4-4EB8-BB8E-E8D2A4956B30}"/>
          </ac:spMkLst>
        </pc:spChg>
        <pc:spChg chg="mod">
          <ac:chgData name="YUAN Huaxing" userId="680cda70-8f8f-41b8-bd50-03497d97776e" providerId="ADAL" clId="{A2A0405A-6B1F-4AFE-ADF4-06FBC564D530}" dt="2022-12-02T13:08:55.545" v="20411" actId="1076"/>
          <ac:spMkLst>
            <pc:docMk/>
            <pc:sldMk cId="2263875010" sldId="2147470898"/>
            <ac:spMk id="43" creationId="{AA6C38F5-3731-4C4A-8413-65C2B1E7AE5A}"/>
          </ac:spMkLst>
        </pc:spChg>
        <pc:spChg chg="mod">
          <ac:chgData name="YUAN Huaxing" userId="680cda70-8f8f-41b8-bd50-03497d97776e" providerId="ADAL" clId="{A2A0405A-6B1F-4AFE-ADF4-06FBC564D530}" dt="2022-12-02T13:08:55.545" v="20411" actId="1076"/>
          <ac:spMkLst>
            <pc:docMk/>
            <pc:sldMk cId="2263875010" sldId="2147470898"/>
            <ac:spMk id="44" creationId="{97E14D3A-F6D4-4A81-AAB6-6EC33AF7D1A2}"/>
          </ac:spMkLst>
        </pc:spChg>
        <pc:spChg chg="mod">
          <ac:chgData name="YUAN Huaxing" userId="680cda70-8f8f-41b8-bd50-03497d97776e" providerId="ADAL" clId="{A2A0405A-6B1F-4AFE-ADF4-06FBC564D530}" dt="2022-12-02T13:08:55.545" v="20411" actId="1076"/>
          <ac:spMkLst>
            <pc:docMk/>
            <pc:sldMk cId="2263875010" sldId="2147470898"/>
            <ac:spMk id="45" creationId="{CB73A1E1-9512-4E0F-ACEE-8ADD5303AAA1}"/>
          </ac:spMkLst>
        </pc:spChg>
        <pc:spChg chg="mod">
          <ac:chgData name="YUAN Huaxing" userId="680cda70-8f8f-41b8-bd50-03497d97776e" providerId="ADAL" clId="{A2A0405A-6B1F-4AFE-ADF4-06FBC564D530}" dt="2022-12-02T13:08:55.545" v="20411" actId="1076"/>
          <ac:spMkLst>
            <pc:docMk/>
            <pc:sldMk cId="2263875010" sldId="2147470898"/>
            <ac:spMk id="46" creationId="{0A691CFB-1BC2-430B-BC7E-7475ADBF8182}"/>
          </ac:spMkLst>
        </pc:spChg>
        <pc:spChg chg="mod">
          <ac:chgData name="YUAN Huaxing" userId="680cda70-8f8f-41b8-bd50-03497d97776e" providerId="ADAL" clId="{A2A0405A-6B1F-4AFE-ADF4-06FBC564D530}" dt="2022-12-02T13:09:44.573" v="20474" actId="20577"/>
          <ac:spMkLst>
            <pc:docMk/>
            <pc:sldMk cId="2263875010" sldId="2147470898"/>
            <ac:spMk id="47" creationId="{ECE5F3C3-EFC2-4869-A688-C5A29A12097E}"/>
          </ac:spMkLst>
        </pc:spChg>
        <pc:spChg chg="mod">
          <ac:chgData name="YUAN Huaxing" userId="680cda70-8f8f-41b8-bd50-03497d97776e" providerId="ADAL" clId="{A2A0405A-6B1F-4AFE-ADF4-06FBC564D530}" dt="2022-12-02T13:08:55.545" v="20411" actId="1076"/>
          <ac:spMkLst>
            <pc:docMk/>
            <pc:sldMk cId="2263875010" sldId="2147470898"/>
            <ac:spMk id="61" creationId="{E35D7CF2-3878-4EFF-8EF2-29BEAD33EDFF}"/>
          </ac:spMkLst>
        </pc:spChg>
        <pc:spChg chg="mod">
          <ac:chgData name="YUAN Huaxing" userId="680cda70-8f8f-41b8-bd50-03497d97776e" providerId="ADAL" clId="{A2A0405A-6B1F-4AFE-ADF4-06FBC564D530}" dt="2022-12-02T13:08:55.545" v="20411" actId="1076"/>
          <ac:spMkLst>
            <pc:docMk/>
            <pc:sldMk cId="2263875010" sldId="2147470898"/>
            <ac:spMk id="62" creationId="{C18BA10D-A3A1-49D0-8C24-603EE3035392}"/>
          </ac:spMkLst>
        </pc:spChg>
        <pc:spChg chg="mod">
          <ac:chgData name="YUAN Huaxing" userId="680cda70-8f8f-41b8-bd50-03497d97776e" providerId="ADAL" clId="{A2A0405A-6B1F-4AFE-ADF4-06FBC564D530}" dt="2022-12-02T13:09:50.709" v="20475" actId="120"/>
          <ac:spMkLst>
            <pc:docMk/>
            <pc:sldMk cId="2263875010" sldId="2147470898"/>
            <ac:spMk id="64" creationId="{A949D912-06BB-47EE-89F1-B4E8F4094BEB}"/>
          </ac:spMkLst>
        </pc:spChg>
        <pc:spChg chg="mod">
          <ac:chgData name="YUAN Huaxing" userId="680cda70-8f8f-41b8-bd50-03497d97776e" providerId="ADAL" clId="{A2A0405A-6B1F-4AFE-ADF4-06FBC564D530}" dt="2022-12-02T13:08:55.545" v="20411" actId="1076"/>
          <ac:spMkLst>
            <pc:docMk/>
            <pc:sldMk cId="2263875010" sldId="2147470898"/>
            <ac:spMk id="65" creationId="{4A9F4D4B-3928-407F-A5B4-CFDC7AEAF97E}"/>
          </ac:spMkLst>
        </pc:spChg>
        <pc:spChg chg="mod">
          <ac:chgData name="YUAN Huaxing" userId="680cda70-8f8f-41b8-bd50-03497d97776e" providerId="ADAL" clId="{A2A0405A-6B1F-4AFE-ADF4-06FBC564D530}" dt="2022-12-02T13:08:55.545" v="20411" actId="1076"/>
          <ac:spMkLst>
            <pc:docMk/>
            <pc:sldMk cId="2263875010" sldId="2147470898"/>
            <ac:spMk id="73" creationId="{85B16951-8426-4F21-983E-6BAB0392067B}"/>
          </ac:spMkLst>
        </pc:spChg>
        <pc:spChg chg="mod">
          <ac:chgData name="YUAN Huaxing" userId="680cda70-8f8f-41b8-bd50-03497d97776e" providerId="ADAL" clId="{A2A0405A-6B1F-4AFE-ADF4-06FBC564D530}" dt="2022-12-02T13:08:55.545" v="20411" actId="1076"/>
          <ac:spMkLst>
            <pc:docMk/>
            <pc:sldMk cId="2263875010" sldId="2147470898"/>
            <ac:spMk id="76" creationId="{DEAAE9FC-A479-4648-96FA-7A84CCB284E9}"/>
          </ac:spMkLst>
        </pc:spChg>
        <pc:spChg chg="mod">
          <ac:chgData name="YUAN Huaxing" userId="680cda70-8f8f-41b8-bd50-03497d97776e" providerId="ADAL" clId="{A2A0405A-6B1F-4AFE-ADF4-06FBC564D530}" dt="2022-12-02T13:08:55.545" v="20411" actId="1076"/>
          <ac:spMkLst>
            <pc:docMk/>
            <pc:sldMk cId="2263875010" sldId="2147470898"/>
            <ac:spMk id="79" creationId="{70200EDF-D0B8-4264-A301-25BBA17305B8}"/>
          </ac:spMkLst>
        </pc:spChg>
        <pc:spChg chg="mod">
          <ac:chgData name="YUAN Huaxing" userId="680cda70-8f8f-41b8-bd50-03497d97776e" providerId="ADAL" clId="{A2A0405A-6B1F-4AFE-ADF4-06FBC564D530}" dt="2022-12-02T13:08:55.545" v="20411" actId="1076"/>
          <ac:spMkLst>
            <pc:docMk/>
            <pc:sldMk cId="2263875010" sldId="2147470898"/>
            <ac:spMk id="82" creationId="{6D801217-B523-4BB4-AF60-0AD9FFCB5FAA}"/>
          </ac:spMkLst>
        </pc:spChg>
        <pc:spChg chg="mod">
          <ac:chgData name="YUAN Huaxing" userId="680cda70-8f8f-41b8-bd50-03497d97776e" providerId="ADAL" clId="{A2A0405A-6B1F-4AFE-ADF4-06FBC564D530}" dt="2022-12-02T13:08:55.545" v="20411" actId="1076"/>
          <ac:spMkLst>
            <pc:docMk/>
            <pc:sldMk cId="2263875010" sldId="2147470898"/>
            <ac:spMk id="85" creationId="{ED78A9D3-2B9F-49BD-977E-AE188C15C0E5}"/>
          </ac:spMkLst>
        </pc:spChg>
        <pc:spChg chg="mod">
          <ac:chgData name="YUAN Huaxing" userId="680cda70-8f8f-41b8-bd50-03497d97776e" providerId="ADAL" clId="{A2A0405A-6B1F-4AFE-ADF4-06FBC564D530}" dt="2022-12-02T13:08:55.545" v="20411" actId="1076"/>
          <ac:spMkLst>
            <pc:docMk/>
            <pc:sldMk cId="2263875010" sldId="2147470898"/>
            <ac:spMk id="88" creationId="{355BDFF1-85EF-4A23-878C-33B2AF90B333}"/>
          </ac:spMkLst>
        </pc:spChg>
        <pc:spChg chg="mod">
          <ac:chgData name="YUAN Huaxing" userId="680cda70-8f8f-41b8-bd50-03497d97776e" providerId="ADAL" clId="{A2A0405A-6B1F-4AFE-ADF4-06FBC564D530}" dt="2022-12-02T13:08:55.545" v="20411" actId="1076"/>
          <ac:spMkLst>
            <pc:docMk/>
            <pc:sldMk cId="2263875010" sldId="2147470898"/>
            <ac:spMk id="91" creationId="{F6477754-8466-4BC6-AAA4-1A6C31B704B9}"/>
          </ac:spMkLst>
        </pc:spChg>
        <pc:spChg chg="mod">
          <ac:chgData name="YUAN Huaxing" userId="680cda70-8f8f-41b8-bd50-03497d97776e" providerId="ADAL" clId="{A2A0405A-6B1F-4AFE-ADF4-06FBC564D530}" dt="2022-12-02T13:08:55.545" v="20411" actId="1076"/>
          <ac:spMkLst>
            <pc:docMk/>
            <pc:sldMk cId="2263875010" sldId="2147470898"/>
            <ac:spMk id="94" creationId="{99CD75B1-B510-4CCB-8492-E12E5116AEBF}"/>
          </ac:spMkLst>
        </pc:spChg>
        <pc:spChg chg="mod">
          <ac:chgData name="YUAN Huaxing" userId="680cda70-8f8f-41b8-bd50-03497d97776e" providerId="ADAL" clId="{A2A0405A-6B1F-4AFE-ADF4-06FBC564D530}" dt="2022-12-02T13:08:55.545" v="20411" actId="1076"/>
          <ac:spMkLst>
            <pc:docMk/>
            <pc:sldMk cId="2263875010" sldId="2147470898"/>
            <ac:spMk id="97" creationId="{A63CE639-8C12-423E-94A6-C594520622AD}"/>
          </ac:spMkLst>
        </pc:spChg>
        <pc:spChg chg="mod">
          <ac:chgData name="YUAN Huaxing" userId="680cda70-8f8f-41b8-bd50-03497d97776e" providerId="ADAL" clId="{A2A0405A-6B1F-4AFE-ADF4-06FBC564D530}" dt="2022-12-02T13:08:55.545" v="20411" actId="1076"/>
          <ac:spMkLst>
            <pc:docMk/>
            <pc:sldMk cId="2263875010" sldId="2147470898"/>
            <ac:spMk id="100" creationId="{73306DB8-294C-4C56-8501-1276FBBCFA94}"/>
          </ac:spMkLst>
        </pc:spChg>
        <pc:spChg chg="mod">
          <ac:chgData name="YUAN Huaxing" userId="680cda70-8f8f-41b8-bd50-03497d97776e" providerId="ADAL" clId="{A2A0405A-6B1F-4AFE-ADF4-06FBC564D530}" dt="2022-12-02T13:08:55.545" v="20411" actId="1076"/>
          <ac:spMkLst>
            <pc:docMk/>
            <pc:sldMk cId="2263875010" sldId="2147470898"/>
            <ac:spMk id="106" creationId="{B3DCB650-2C2D-4109-B0C8-FDCF8F98F6E3}"/>
          </ac:spMkLst>
        </pc:spChg>
        <pc:spChg chg="mod">
          <ac:chgData name="YUAN Huaxing" userId="680cda70-8f8f-41b8-bd50-03497d97776e" providerId="ADAL" clId="{A2A0405A-6B1F-4AFE-ADF4-06FBC564D530}" dt="2022-12-02T13:08:55.545" v="20411" actId="1076"/>
          <ac:spMkLst>
            <pc:docMk/>
            <pc:sldMk cId="2263875010" sldId="2147470898"/>
            <ac:spMk id="107" creationId="{D723B1EA-04F9-4A30-B51A-86B9CB89B154}"/>
          </ac:spMkLst>
        </pc:spChg>
        <pc:spChg chg="mod">
          <ac:chgData name="YUAN Huaxing" userId="680cda70-8f8f-41b8-bd50-03497d97776e" providerId="ADAL" clId="{A2A0405A-6B1F-4AFE-ADF4-06FBC564D530}" dt="2022-12-02T13:08:55.545" v="20411" actId="1076"/>
          <ac:spMkLst>
            <pc:docMk/>
            <pc:sldMk cId="2263875010" sldId="2147470898"/>
            <ac:spMk id="108" creationId="{3944476E-0547-4516-A0AF-CE12D3191498}"/>
          </ac:spMkLst>
        </pc:spChg>
        <pc:spChg chg="mod">
          <ac:chgData name="YUAN Huaxing" userId="680cda70-8f8f-41b8-bd50-03497d97776e" providerId="ADAL" clId="{A2A0405A-6B1F-4AFE-ADF4-06FBC564D530}" dt="2022-12-02T13:08:55.545" v="20411" actId="1076"/>
          <ac:spMkLst>
            <pc:docMk/>
            <pc:sldMk cId="2263875010" sldId="2147470898"/>
            <ac:spMk id="109" creationId="{5AA4293A-A80B-45C8-BC26-2223FD8046E8}"/>
          </ac:spMkLst>
        </pc:spChg>
        <pc:spChg chg="mod">
          <ac:chgData name="YUAN Huaxing" userId="680cda70-8f8f-41b8-bd50-03497d97776e" providerId="ADAL" clId="{A2A0405A-6B1F-4AFE-ADF4-06FBC564D530}" dt="2022-12-02T13:08:55.545" v="20411" actId="1076"/>
          <ac:spMkLst>
            <pc:docMk/>
            <pc:sldMk cId="2263875010" sldId="2147470898"/>
            <ac:spMk id="110" creationId="{106DAEA6-55C5-47E2-AAA6-05E87866454C}"/>
          </ac:spMkLst>
        </pc:spChg>
        <pc:spChg chg="mod">
          <ac:chgData name="YUAN Huaxing" userId="680cda70-8f8f-41b8-bd50-03497d97776e" providerId="ADAL" clId="{A2A0405A-6B1F-4AFE-ADF4-06FBC564D530}" dt="2022-12-02T13:08:55.545" v="20411" actId="1076"/>
          <ac:spMkLst>
            <pc:docMk/>
            <pc:sldMk cId="2263875010" sldId="2147470898"/>
            <ac:spMk id="111" creationId="{17ECAC69-2510-4F5A-9487-8C133FC373FC}"/>
          </ac:spMkLst>
        </pc:spChg>
        <pc:spChg chg="mod">
          <ac:chgData name="YUAN Huaxing" userId="680cda70-8f8f-41b8-bd50-03497d97776e" providerId="ADAL" clId="{A2A0405A-6B1F-4AFE-ADF4-06FBC564D530}" dt="2022-12-02T13:08:55.545" v="20411" actId="1076"/>
          <ac:spMkLst>
            <pc:docMk/>
            <pc:sldMk cId="2263875010" sldId="2147470898"/>
            <ac:spMk id="113" creationId="{ABA46643-7262-44F2-820B-8D2CE9608C3A}"/>
          </ac:spMkLst>
        </pc:spChg>
        <pc:spChg chg="mod">
          <ac:chgData name="YUAN Huaxing" userId="680cda70-8f8f-41b8-bd50-03497d97776e" providerId="ADAL" clId="{A2A0405A-6B1F-4AFE-ADF4-06FBC564D530}" dt="2022-12-02T13:08:55.545" v="20411" actId="1076"/>
          <ac:spMkLst>
            <pc:docMk/>
            <pc:sldMk cId="2263875010" sldId="2147470898"/>
            <ac:spMk id="115" creationId="{091482B5-F06F-44F5-91C3-FDFDF99601F2}"/>
          </ac:spMkLst>
        </pc:spChg>
        <pc:grpChg chg="add mod">
          <ac:chgData name="YUAN Huaxing" userId="680cda70-8f8f-41b8-bd50-03497d97776e" providerId="ADAL" clId="{A2A0405A-6B1F-4AFE-ADF4-06FBC564D530}" dt="2022-12-02T13:08:55.545" v="20411" actId="1076"/>
          <ac:grpSpMkLst>
            <pc:docMk/>
            <pc:sldMk cId="2263875010" sldId="2147470898"/>
            <ac:grpSpMk id="5" creationId="{A062A59D-0A7D-4F1D-A65A-743722050436}"/>
          </ac:grpSpMkLst>
        </pc:grpChg>
        <pc:grpChg chg="mod">
          <ac:chgData name="YUAN Huaxing" userId="680cda70-8f8f-41b8-bd50-03497d97776e" providerId="ADAL" clId="{A2A0405A-6B1F-4AFE-ADF4-06FBC564D530}" dt="2022-12-02T13:08:55.545" v="20411" actId="1076"/>
          <ac:grpSpMkLst>
            <pc:docMk/>
            <pc:sldMk cId="2263875010" sldId="2147470898"/>
            <ac:grpSpMk id="7" creationId="{FA94F00E-D005-4F7A-81A5-E1D3B0A61341}"/>
          </ac:grpSpMkLst>
        </pc:grpChg>
        <pc:grpChg chg="mod">
          <ac:chgData name="YUAN Huaxing" userId="680cda70-8f8f-41b8-bd50-03497d97776e" providerId="ADAL" clId="{A2A0405A-6B1F-4AFE-ADF4-06FBC564D530}" dt="2022-12-02T13:08:55.545" v="20411" actId="1076"/>
          <ac:grpSpMkLst>
            <pc:docMk/>
            <pc:sldMk cId="2263875010" sldId="2147470898"/>
            <ac:grpSpMk id="18" creationId="{C4E8498D-E446-40F6-B58F-B5238AB2E32C}"/>
          </ac:grpSpMkLst>
        </pc:grpChg>
        <pc:grpChg chg="mod">
          <ac:chgData name="YUAN Huaxing" userId="680cda70-8f8f-41b8-bd50-03497d97776e" providerId="ADAL" clId="{A2A0405A-6B1F-4AFE-ADF4-06FBC564D530}" dt="2022-12-02T13:08:55.545" v="20411" actId="1076"/>
          <ac:grpSpMkLst>
            <pc:docMk/>
            <pc:sldMk cId="2263875010" sldId="2147470898"/>
            <ac:grpSpMk id="19" creationId="{876BBFC1-68FA-47EA-909F-48E746923E97}"/>
          </ac:grpSpMkLst>
        </pc:grpChg>
        <pc:grpChg chg="mod">
          <ac:chgData name="YUAN Huaxing" userId="680cda70-8f8f-41b8-bd50-03497d97776e" providerId="ADAL" clId="{A2A0405A-6B1F-4AFE-ADF4-06FBC564D530}" dt="2022-12-02T13:08:55.545" v="20411" actId="1076"/>
          <ac:grpSpMkLst>
            <pc:docMk/>
            <pc:sldMk cId="2263875010" sldId="2147470898"/>
            <ac:grpSpMk id="20" creationId="{82857D75-91BE-4A9B-A03D-9C7A2F85EEFA}"/>
          </ac:grpSpMkLst>
        </pc:grpChg>
        <pc:grpChg chg="mod">
          <ac:chgData name="YUAN Huaxing" userId="680cda70-8f8f-41b8-bd50-03497d97776e" providerId="ADAL" clId="{A2A0405A-6B1F-4AFE-ADF4-06FBC564D530}" dt="2022-12-02T13:08:55.545" v="20411" actId="1076"/>
          <ac:grpSpMkLst>
            <pc:docMk/>
            <pc:sldMk cId="2263875010" sldId="2147470898"/>
            <ac:grpSpMk id="22" creationId="{D2183C07-54CD-45A0-A5D8-2807A73908A4}"/>
          </ac:grpSpMkLst>
        </pc:grpChg>
        <pc:grpChg chg="mod">
          <ac:chgData name="YUAN Huaxing" userId="680cda70-8f8f-41b8-bd50-03497d97776e" providerId="ADAL" clId="{A2A0405A-6B1F-4AFE-ADF4-06FBC564D530}" dt="2022-12-02T13:08:55.545" v="20411" actId="1076"/>
          <ac:grpSpMkLst>
            <pc:docMk/>
            <pc:sldMk cId="2263875010" sldId="2147470898"/>
            <ac:grpSpMk id="23" creationId="{CA7B3781-11C3-4A69-ABA7-B160AD5B5268}"/>
          </ac:grpSpMkLst>
        </pc:grpChg>
        <pc:grpChg chg="mod">
          <ac:chgData name="YUAN Huaxing" userId="680cda70-8f8f-41b8-bd50-03497d97776e" providerId="ADAL" clId="{A2A0405A-6B1F-4AFE-ADF4-06FBC564D530}" dt="2022-12-02T13:08:55.545" v="20411" actId="1076"/>
          <ac:grpSpMkLst>
            <pc:docMk/>
            <pc:sldMk cId="2263875010" sldId="2147470898"/>
            <ac:grpSpMk id="31" creationId="{B38719F9-73E1-47A1-A5B5-3C73F09B0571}"/>
          </ac:grpSpMkLst>
        </pc:grpChg>
        <pc:grpChg chg="mod">
          <ac:chgData name="YUAN Huaxing" userId="680cda70-8f8f-41b8-bd50-03497d97776e" providerId="ADAL" clId="{A2A0405A-6B1F-4AFE-ADF4-06FBC564D530}" dt="2022-12-02T13:08:55.545" v="20411" actId="1076"/>
          <ac:grpSpMkLst>
            <pc:docMk/>
            <pc:sldMk cId="2263875010" sldId="2147470898"/>
            <ac:grpSpMk id="34" creationId="{36EBC747-7268-4C54-9E30-C6DDAC992792}"/>
          </ac:grpSpMkLst>
        </pc:grpChg>
        <pc:grpChg chg="mod">
          <ac:chgData name="YUAN Huaxing" userId="680cda70-8f8f-41b8-bd50-03497d97776e" providerId="ADAL" clId="{A2A0405A-6B1F-4AFE-ADF4-06FBC564D530}" dt="2022-12-02T13:08:55.545" v="20411" actId="1076"/>
          <ac:grpSpMkLst>
            <pc:docMk/>
            <pc:sldMk cId="2263875010" sldId="2147470898"/>
            <ac:grpSpMk id="41" creationId="{F903D21D-E219-44E4-A508-0A50753275DD}"/>
          </ac:grpSpMkLst>
        </pc:grpChg>
        <pc:grpChg chg="mod">
          <ac:chgData name="YUAN Huaxing" userId="680cda70-8f8f-41b8-bd50-03497d97776e" providerId="ADAL" clId="{A2A0405A-6B1F-4AFE-ADF4-06FBC564D530}" dt="2022-12-02T13:08:55.545" v="20411" actId="1076"/>
          <ac:grpSpMkLst>
            <pc:docMk/>
            <pc:sldMk cId="2263875010" sldId="2147470898"/>
            <ac:grpSpMk id="42" creationId="{FA05F65D-1E63-4016-A691-63A1396CC8E4}"/>
          </ac:grpSpMkLst>
        </pc:grpChg>
        <pc:grpChg chg="mod">
          <ac:chgData name="YUAN Huaxing" userId="680cda70-8f8f-41b8-bd50-03497d97776e" providerId="ADAL" clId="{A2A0405A-6B1F-4AFE-ADF4-06FBC564D530}" dt="2022-12-02T13:08:55.545" v="20411" actId="1076"/>
          <ac:grpSpMkLst>
            <pc:docMk/>
            <pc:sldMk cId="2263875010" sldId="2147470898"/>
            <ac:grpSpMk id="48" creationId="{27CDB0A6-8ED3-4745-8D27-B4097D88566D}"/>
          </ac:grpSpMkLst>
        </pc:grpChg>
        <pc:grpChg chg="mod">
          <ac:chgData name="YUAN Huaxing" userId="680cda70-8f8f-41b8-bd50-03497d97776e" providerId="ADAL" clId="{A2A0405A-6B1F-4AFE-ADF4-06FBC564D530}" dt="2022-12-02T13:08:55.545" v="20411" actId="1076"/>
          <ac:grpSpMkLst>
            <pc:docMk/>
            <pc:sldMk cId="2263875010" sldId="2147470898"/>
            <ac:grpSpMk id="49" creationId="{ECAE7420-AA73-4156-9381-0272CA24B906}"/>
          </ac:grpSpMkLst>
        </pc:grpChg>
        <pc:grpChg chg="mod">
          <ac:chgData name="YUAN Huaxing" userId="680cda70-8f8f-41b8-bd50-03497d97776e" providerId="ADAL" clId="{A2A0405A-6B1F-4AFE-ADF4-06FBC564D530}" dt="2022-12-02T13:08:55.545" v="20411" actId="1076"/>
          <ac:grpSpMkLst>
            <pc:docMk/>
            <pc:sldMk cId="2263875010" sldId="2147470898"/>
            <ac:grpSpMk id="50" creationId="{8BD7B276-96E9-4C0A-93C1-74BA4083C260}"/>
          </ac:grpSpMkLst>
        </pc:grpChg>
        <pc:grpChg chg="mod">
          <ac:chgData name="YUAN Huaxing" userId="680cda70-8f8f-41b8-bd50-03497d97776e" providerId="ADAL" clId="{A2A0405A-6B1F-4AFE-ADF4-06FBC564D530}" dt="2022-12-02T13:08:55.545" v="20411" actId="1076"/>
          <ac:grpSpMkLst>
            <pc:docMk/>
            <pc:sldMk cId="2263875010" sldId="2147470898"/>
            <ac:grpSpMk id="51" creationId="{4A209F61-256A-454E-A719-AB4B72F296B1}"/>
          </ac:grpSpMkLst>
        </pc:grpChg>
        <pc:grpChg chg="mod">
          <ac:chgData name="YUAN Huaxing" userId="680cda70-8f8f-41b8-bd50-03497d97776e" providerId="ADAL" clId="{A2A0405A-6B1F-4AFE-ADF4-06FBC564D530}" dt="2022-12-02T13:08:55.545" v="20411" actId="1076"/>
          <ac:grpSpMkLst>
            <pc:docMk/>
            <pc:sldMk cId="2263875010" sldId="2147470898"/>
            <ac:grpSpMk id="58" creationId="{51AC55CC-9379-483A-835D-F84DF2DA7B3B}"/>
          </ac:grpSpMkLst>
        </pc:grpChg>
        <pc:grpChg chg="mod">
          <ac:chgData name="YUAN Huaxing" userId="680cda70-8f8f-41b8-bd50-03497d97776e" providerId="ADAL" clId="{A2A0405A-6B1F-4AFE-ADF4-06FBC564D530}" dt="2022-12-02T13:08:55.545" v="20411" actId="1076"/>
          <ac:grpSpMkLst>
            <pc:docMk/>
            <pc:sldMk cId="2263875010" sldId="2147470898"/>
            <ac:grpSpMk id="66" creationId="{312FC212-9F5C-4992-B741-0D093DC2B37A}"/>
          </ac:grpSpMkLst>
        </pc:grpChg>
        <pc:grpChg chg="mod">
          <ac:chgData name="YUAN Huaxing" userId="680cda70-8f8f-41b8-bd50-03497d97776e" providerId="ADAL" clId="{A2A0405A-6B1F-4AFE-ADF4-06FBC564D530}" dt="2022-12-02T13:08:55.545" v="20411" actId="1076"/>
          <ac:grpSpMkLst>
            <pc:docMk/>
            <pc:sldMk cId="2263875010" sldId="2147470898"/>
            <ac:grpSpMk id="67" creationId="{E44B7B91-0882-41D1-B673-9D2EBBE45923}"/>
          </ac:grpSpMkLst>
        </pc:grpChg>
        <pc:grpChg chg="mod">
          <ac:chgData name="YUAN Huaxing" userId="680cda70-8f8f-41b8-bd50-03497d97776e" providerId="ADAL" clId="{A2A0405A-6B1F-4AFE-ADF4-06FBC564D530}" dt="2022-12-02T13:08:55.545" v="20411" actId="1076"/>
          <ac:grpSpMkLst>
            <pc:docMk/>
            <pc:sldMk cId="2263875010" sldId="2147470898"/>
            <ac:grpSpMk id="68" creationId="{8A6BC82E-E244-4DE4-89A6-A38E347907D6}"/>
          </ac:grpSpMkLst>
        </pc:grpChg>
        <pc:grpChg chg="mod">
          <ac:chgData name="YUAN Huaxing" userId="680cda70-8f8f-41b8-bd50-03497d97776e" providerId="ADAL" clId="{A2A0405A-6B1F-4AFE-ADF4-06FBC564D530}" dt="2022-12-02T13:08:55.545" v="20411" actId="1076"/>
          <ac:grpSpMkLst>
            <pc:docMk/>
            <pc:sldMk cId="2263875010" sldId="2147470898"/>
            <ac:grpSpMk id="69" creationId="{91AFA45E-D485-4A1E-92B0-F904214FBF4C}"/>
          </ac:grpSpMkLst>
        </pc:grpChg>
        <pc:grpChg chg="mod">
          <ac:chgData name="YUAN Huaxing" userId="680cda70-8f8f-41b8-bd50-03497d97776e" providerId="ADAL" clId="{A2A0405A-6B1F-4AFE-ADF4-06FBC564D530}" dt="2022-12-02T13:08:55.545" v="20411" actId="1076"/>
          <ac:grpSpMkLst>
            <pc:docMk/>
            <pc:sldMk cId="2263875010" sldId="2147470898"/>
            <ac:grpSpMk id="70" creationId="{6863DAA8-4C2E-4714-861C-CF8564DF4CBE}"/>
          </ac:grpSpMkLst>
        </pc:grpChg>
        <pc:grpChg chg="mod">
          <ac:chgData name="YUAN Huaxing" userId="680cda70-8f8f-41b8-bd50-03497d97776e" providerId="ADAL" clId="{A2A0405A-6B1F-4AFE-ADF4-06FBC564D530}" dt="2022-12-02T13:08:55.545" v="20411" actId="1076"/>
          <ac:grpSpMkLst>
            <pc:docMk/>
            <pc:sldMk cId="2263875010" sldId="2147470898"/>
            <ac:grpSpMk id="71" creationId="{E719AA70-8759-446D-ABDA-58499E9CA17A}"/>
          </ac:grpSpMkLst>
        </pc:grpChg>
        <pc:grpChg chg="mod">
          <ac:chgData name="YUAN Huaxing" userId="680cda70-8f8f-41b8-bd50-03497d97776e" providerId="ADAL" clId="{A2A0405A-6B1F-4AFE-ADF4-06FBC564D530}" dt="2022-12-02T13:08:55.545" v="20411" actId="1076"/>
          <ac:grpSpMkLst>
            <pc:docMk/>
            <pc:sldMk cId="2263875010" sldId="2147470898"/>
            <ac:grpSpMk id="72" creationId="{21E0EEBA-4623-4357-B4E8-3C74551FCBAD}"/>
          </ac:grpSpMkLst>
        </pc:grpChg>
        <pc:grpChg chg="mod">
          <ac:chgData name="YUAN Huaxing" userId="680cda70-8f8f-41b8-bd50-03497d97776e" providerId="ADAL" clId="{A2A0405A-6B1F-4AFE-ADF4-06FBC564D530}" dt="2022-12-02T13:08:55.545" v="20411" actId="1076"/>
          <ac:grpSpMkLst>
            <pc:docMk/>
            <pc:sldMk cId="2263875010" sldId="2147470898"/>
            <ac:grpSpMk id="77" creationId="{DBB4F7C4-320B-487C-8FE0-3E8F18B51218}"/>
          </ac:grpSpMkLst>
        </pc:grpChg>
        <pc:grpChg chg="mod">
          <ac:chgData name="YUAN Huaxing" userId="680cda70-8f8f-41b8-bd50-03497d97776e" providerId="ADAL" clId="{A2A0405A-6B1F-4AFE-ADF4-06FBC564D530}" dt="2022-12-02T13:08:55.545" v="20411" actId="1076"/>
          <ac:grpSpMkLst>
            <pc:docMk/>
            <pc:sldMk cId="2263875010" sldId="2147470898"/>
            <ac:grpSpMk id="78" creationId="{2CC04753-9D5A-4AF1-8581-6A989F6320A7}"/>
          </ac:grpSpMkLst>
        </pc:grpChg>
        <pc:grpChg chg="mod">
          <ac:chgData name="YUAN Huaxing" userId="680cda70-8f8f-41b8-bd50-03497d97776e" providerId="ADAL" clId="{A2A0405A-6B1F-4AFE-ADF4-06FBC564D530}" dt="2022-12-02T13:08:55.545" v="20411" actId="1076"/>
          <ac:grpSpMkLst>
            <pc:docMk/>
            <pc:sldMk cId="2263875010" sldId="2147470898"/>
            <ac:grpSpMk id="83" creationId="{6342A84A-31D3-465B-B5AC-33C1378A15E2}"/>
          </ac:grpSpMkLst>
        </pc:grpChg>
        <pc:grpChg chg="mod">
          <ac:chgData name="YUAN Huaxing" userId="680cda70-8f8f-41b8-bd50-03497d97776e" providerId="ADAL" clId="{A2A0405A-6B1F-4AFE-ADF4-06FBC564D530}" dt="2022-12-02T13:08:55.545" v="20411" actId="1076"/>
          <ac:grpSpMkLst>
            <pc:docMk/>
            <pc:sldMk cId="2263875010" sldId="2147470898"/>
            <ac:grpSpMk id="84" creationId="{CA135788-371B-483E-B211-1A0CE62BE80D}"/>
          </ac:grpSpMkLst>
        </pc:grpChg>
        <pc:grpChg chg="mod">
          <ac:chgData name="YUAN Huaxing" userId="680cda70-8f8f-41b8-bd50-03497d97776e" providerId="ADAL" clId="{A2A0405A-6B1F-4AFE-ADF4-06FBC564D530}" dt="2022-12-02T13:08:55.545" v="20411" actId="1076"/>
          <ac:grpSpMkLst>
            <pc:docMk/>
            <pc:sldMk cId="2263875010" sldId="2147470898"/>
            <ac:grpSpMk id="89" creationId="{51E7FBE3-28DF-4CDB-9C5A-5390966BF4B5}"/>
          </ac:grpSpMkLst>
        </pc:grpChg>
        <pc:grpChg chg="mod">
          <ac:chgData name="YUAN Huaxing" userId="680cda70-8f8f-41b8-bd50-03497d97776e" providerId="ADAL" clId="{A2A0405A-6B1F-4AFE-ADF4-06FBC564D530}" dt="2022-12-02T13:08:55.545" v="20411" actId="1076"/>
          <ac:grpSpMkLst>
            <pc:docMk/>
            <pc:sldMk cId="2263875010" sldId="2147470898"/>
            <ac:grpSpMk id="90" creationId="{6AD8B3AB-D0EB-4AAC-8372-48BFCD52B8E9}"/>
          </ac:grpSpMkLst>
        </pc:grpChg>
        <pc:grpChg chg="mod">
          <ac:chgData name="YUAN Huaxing" userId="680cda70-8f8f-41b8-bd50-03497d97776e" providerId="ADAL" clId="{A2A0405A-6B1F-4AFE-ADF4-06FBC564D530}" dt="2022-12-02T13:08:55.545" v="20411" actId="1076"/>
          <ac:grpSpMkLst>
            <pc:docMk/>
            <pc:sldMk cId="2263875010" sldId="2147470898"/>
            <ac:grpSpMk id="95" creationId="{FA1225D9-12A6-4CA3-94F7-C0B53801589D}"/>
          </ac:grpSpMkLst>
        </pc:grpChg>
        <pc:grpChg chg="mod">
          <ac:chgData name="YUAN Huaxing" userId="680cda70-8f8f-41b8-bd50-03497d97776e" providerId="ADAL" clId="{A2A0405A-6B1F-4AFE-ADF4-06FBC564D530}" dt="2022-12-02T13:08:55.545" v="20411" actId="1076"/>
          <ac:grpSpMkLst>
            <pc:docMk/>
            <pc:sldMk cId="2263875010" sldId="2147470898"/>
            <ac:grpSpMk id="96" creationId="{9C1FE829-13C0-4FDB-BDCE-BDE32EDC60EC}"/>
          </ac:grpSpMkLst>
        </pc:grpChg>
        <pc:grpChg chg="mod">
          <ac:chgData name="YUAN Huaxing" userId="680cda70-8f8f-41b8-bd50-03497d97776e" providerId="ADAL" clId="{A2A0405A-6B1F-4AFE-ADF4-06FBC564D530}" dt="2022-12-02T13:08:55.545" v="20411" actId="1076"/>
          <ac:grpSpMkLst>
            <pc:docMk/>
            <pc:sldMk cId="2263875010" sldId="2147470898"/>
            <ac:grpSpMk id="101" creationId="{FD59C956-0060-49F6-9467-6AD645F7714F}"/>
          </ac:grpSpMkLst>
        </pc:grpChg>
        <pc:picChg chg="mod">
          <ac:chgData name="YUAN Huaxing" userId="680cda70-8f8f-41b8-bd50-03497d97776e" providerId="ADAL" clId="{A2A0405A-6B1F-4AFE-ADF4-06FBC564D530}" dt="2022-12-02T13:08:55.545" v="20411" actId="1076"/>
          <ac:picMkLst>
            <pc:docMk/>
            <pc:sldMk cId="2263875010" sldId="2147470898"/>
            <ac:picMk id="10" creationId="{14D96B5B-1AC1-416B-A6E1-FBCDB67021BC}"/>
          </ac:picMkLst>
        </pc:picChg>
        <pc:picChg chg="mod">
          <ac:chgData name="YUAN Huaxing" userId="680cda70-8f8f-41b8-bd50-03497d97776e" providerId="ADAL" clId="{A2A0405A-6B1F-4AFE-ADF4-06FBC564D530}" dt="2022-12-02T13:08:55.545" v="20411" actId="1076"/>
          <ac:picMkLst>
            <pc:docMk/>
            <pc:sldMk cId="2263875010" sldId="2147470898"/>
            <ac:picMk id="11" creationId="{FAE61BE7-FEB3-4E6F-B64B-1DE3C6125EC0}"/>
          </ac:picMkLst>
        </pc:picChg>
        <pc:picChg chg="mod">
          <ac:chgData name="YUAN Huaxing" userId="680cda70-8f8f-41b8-bd50-03497d97776e" providerId="ADAL" clId="{A2A0405A-6B1F-4AFE-ADF4-06FBC564D530}" dt="2022-12-02T13:08:55.545" v="20411" actId="1076"/>
          <ac:picMkLst>
            <pc:docMk/>
            <pc:sldMk cId="2263875010" sldId="2147470898"/>
            <ac:picMk id="12" creationId="{EB7F6003-DFED-4179-8845-775B53C72E8D}"/>
          </ac:picMkLst>
        </pc:picChg>
        <pc:picChg chg="mod">
          <ac:chgData name="YUAN Huaxing" userId="680cda70-8f8f-41b8-bd50-03497d97776e" providerId="ADAL" clId="{A2A0405A-6B1F-4AFE-ADF4-06FBC564D530}" dt="2022-12-02T13:08:55.545" v="20411" actId="1076"/>
          <ac:picMkLst>
            <pc:docMk/>
            <pc:sldMk cId="2263875010" sldId="2147470898"/>
            <ac:picMk id="13" creationId="{92B173E7-D43B-4FD5-A6B5-980A810AFABD}"/>
          </ac:picMkLst>
        </pc:picChg>
        <pc:picChg chg="mod">
          <ac:chgData name="YUAN Huaxing" userId="680cda70-8f8f-41b8-bd50-03497d97776e" providerId="ADAL" clId="{A2A0405A-6B1F-4AFE-ADF4-06FBC564D530}" dt="2022-12-02T13:08:55.545" v="20411" actId="1076"/>
          <ac:picMkLst>
            <pc:docMk/>
            <pc:sldMk cId="2263875010" sldId="2147470898"/>
            <ac:picMk id="27" creationId="{5D7BAED6-1B47-45AE-BAF5-311FE1AC615B}"/>
          </ac:picMkLst>
        </pc:picChg>
        <pc:picChg chg="mod">
          <ac:chgData name="YUAN Huaxing" userId="680cda70-8f8f-41b8-bd50-03497d97776e" providerId="ADAL" clId="{A2A0405A-6B1F-4AFE-ADF4-06FBC564D530}" dt="2022-12-02T13:08:55.545" v="20411" actId="1076"/>
          <ac:picMkLst>
            <pc:docMk/>
            <pc:sldMk cId="2263875010" sldId="2147470898"/>
            <ac:picMk id="29" creationId="{8290F608-3CBB-458C-8C60-1B3150C978A3}"/>
          </ac:picMkLst>
        </pc:picChg>
        <pc:picChg chg="mod">
          <ac:chgData name="YUAN Huaxing" userId="680cda70-8f8f-41b8-bd50-03497d97776e" providerId="ADAL" clId="{A2A0405A-6B1F-4AFE-ADF4-06FBC564D530}" dt="2022-12-02T13:08:55.545" v="20411" actId="1076"/>
          <ac:picMkLst>
            <pc:docMk/>
            <pc:sldMk cId="2263875010" sldId="2147470898"/>
            <ac:picMk id="32" creationId="{EAEF5CC1-9788-498C-AAC3-1EE8FF7BFCE7}"/>
          </ac:picMkLst>
        </pc:picChg>
        <pc:picChg chg="mod">
          <ac:chgData name="YUAN Huaxing" userId="680cda70-8f8f-41b8-bd50-03497d97776e" providerId="ADAL" clId="{A2A0405A-6B1F-4AFE-ADF4-06FBC564D530}" dt="2022-12-02T13:08:55.545" v="20411" actId="1076"/>
          <ac:picMkLst>
            <pc:docMk/>
            <pc:sldMk cId="2263875010" sldId="2147470898"/>
            <ac:picMk id="40" creationId="{EABC2C85-2F76-4B8E-8F6C-49428BC3C285}"/>
          </ac:picMkLst>
        </pc:picChg>
        <pc:picChg chg="mod">
          <ac:chgData name="YUAN Huaxing" userId="680cda70-8f8f-41b8-bd50-03497d97776e" providerId="ADAL" clId="{A2A0405A-6B1F-4AFE-ADF4-06FBC564D530}" dt="2022-12-02T13:08:55.545" v="20411" actId="1076"/>
          <ac:picMkLst>
            <pc:docMk/>
            <pc:sldMk cId="2263875010" sldId="2147470898"/>
            <ac:picMk id="52" creationId="{C851A4A9-96F1-4909-BDFF-C0EDB1D2ECE8}"/>
          </ac:picMkLst>
        </pc:picChg>
        <pc:picChg chg="mod">
          <ac:chgData name="YUAN Huaxing" userId="680cda70-8f8f-41b8-bd50-03497d97776e" providerId="ADAL" clId="{A2A0405A-6B1F-4AFE-ADF4-06FBC564D530}" dt="2022-12-02T13:08:55.545" v="20411" actId="1076"/>
          <ac:picMkLst>
            <pc:docMk/>
            <pc:sldMk cId="2263875010" sldId="2147470898"/>
            <ac:picMk id="53" creationId="{61D48228-FB3B-4D42-999B-8F5D415AF372}"/>
          </ac:picMkLst>
        </pc:picChg>
        <pc:picChg chg="mod">
          <ac:chgData name="YUAN Huaxing" userId="680cda70-8f8f-41b8-bd50-03497d97776e" providerId="ADAL" clId="{A2A0405A-6B1F-4AFE-ADF4-06FBC564D530}" dt="2022-12-02T13:08:55.545" v="20411" actId="1076"/>
          <ac:picMkLst>
            <pc:docMk/>
            <pc:sldMk cId="2263875010" sldId="2147470898"/>
            <ac:picMk id="54" creationId="{91ED5D0A-E765-497B-93FB-29621195F7EE}"/>
          </ac:picMkLst>
        </pc:picChg>
        <pc:picChg chg="mod">
          <ac:chgData name="YUAN Huaxing" userId="680cda70-8f8f-41b8-bd50-03497d97776e" providerId="ADAL" clId="{A2A0405A-6B1F-4AFE-ADF4-06FBC564D530}" dt="2022-12-02T13:08:55.545" v="20411" actId="1076"/>
          <ac:picMkLst>
            <pc:docMk/>
            <pc:sldMk cId="2263875010" sldId="2147470898"/>
            <ac:picMk id="55" creationId="{EF961BD4-46B5-4EA8-A16D-B402E739A658}"/>
          </ac:picMkLst>
        </pc:picChg>
        <pc:picChg chg="mod">
          <ac:chgData name="YUAN Huaxing" userId="680cda70-8f8f-41b8-bd50-03497d97776e" providerId="ADAL" clId="{A2A0405A-6B1F-4AFE-ADF4-06FBC564D530}" dt="2022-12-02T13:08:55.545" v="20411" actId="1076"/>
          <ac:picMkLst>
            <pc:docMk/>
            <pc:sldMk cId="2263875010" sldId="2147470898"/>
            <ac:picMk id="56" creationId="{059B356A-5BC1-4CFE-9F69-62913C692F2B}"/>
          </ac:picMkLst>
        </pc:picChg>
        <pc:picChg chg="mod">
          <ac:chgData name="YUAN Huaxing" userId="680cda70-8f8f-41b8-bd50-03497d97776e" providerId="ADAL" clId="{A2A0405A-6B1F-4AFE-ADF4-06FBC564D530}" dt="2022-12-02T13:08:55.545" v="20411" actId="1076"/>
          <ac:picMkLst>
            <pc:docMk/>
            <pc:sldMk cId="2263875010" sldId="2147470898"/>
            <ac:picMk id="57" creationId="{15258A11-F534-407C-BE5C-6F1297E7AC86}"/>
          </ac:picMkLst>
        </pc:picChg>
        <pc:picChg chg="mod">
          <ac:chgData name="YUAN Huaxing" userId="680cda70-8f8f-41b8-bd50-03497d97776e" providerId="ADAL" clId="{A2A0405A-6B1F-4AFE-ADF4-06FBC564D530}" dt="2022-12-02T13:08:55.545" v="20411" actId="1076"/>
          <ac:picMkLst>
            <pc:docMk/>
            <pc:sldMk cId="2263875010" sldId="2147470898"/>
            <ac:picMk id="59" creationId="{C219FDEC-4B5D-48D1-B221-02FD4DE8AAC0}"/>
          </ac:picMkLst>
        </pc:picChg>
        <pc:picChg chg="mod">
          <ac:chgData name="YUAN Huaxing" userId="680cda70-8f8f-41b8-bd50-03497d97776e" providerId="ADAL" clId="{A2A0405A-6B1F-4AFE-ADF4-06FBC564D530}" dt="2022-12-02T13:08:55.545" v="20411" actId="1076"/>
          <ac:picMkLst>
            <pc:docMk/>
            <pc:sldMk cId="2263875010" sldId="2147470898"/>
            <ac:picMk id="60" creationId="{D5CD863F-A650-4F76-90DC-77462368E561}"/>
          </ac:picMkLst>
        </pc:picChg>
        <pc:picChg chg="mod">
          <ac:chgData name="YUAN Huaxing" userId="680cda70-8f8f-41b8-bd50-03497d97776e" providerId="ADAL" clId="{A2A0405A-6B1F-4AFE-ADF4-06FBC564D530}" dt="2022-12-02T13:08:55.545" v="20411" actId="1076"/>
          <ac:picMkLst>
            <pc:docMk/>
            <pc:sldMk cId="2263875010" sldId="2147470898"/>
            <ac:picMk id="63" creationId="{10008383-6EA4-4AB5-A67B-216B930D9390}"/>
          </ac:picMkLst>
        </pc:picChg>
        <pc:picChg chg="mod">
          <ac:chgData name="YUAN Huaxing" userId="680cda70-8f8f-41b8-bd50-03497d97776e" providerId="ADAL" clId="{A2A0405A-6B1F-4AFE-ADF4-06FBC564D530}" dt="2022-12-02T13:08:55.545" v="20411" actId="1076"/>
          <ac:picMkLst>
            <pc:docMk/>
            <pc:sldMk cId="2263875010" sldId="2147470898"/>
            <ac:picMk id="74" creationId="{BC7765A4-5F65-4526-9EA9-9EAF1EAEBBB4}"/>
          </ac:picMkLst>
        </pc:picChg>
        <pc:picChg chg="mod">
          <ac:chgData name="YUAN Huaxing" userId="680cda70-8f8f-41b8-bd50-03497d97776e" providerId="ADAL" clId="{A2A0405A-6B1F-4AFE-ADF4-06FBC564D530}" dt="2022-12-02T13:08:55.545" v="20411" actId="1076"/>
          <ac:picMkLst>
            <pc:docMk/>
            <pc:sldMk cId="2263875010" sldId="2147470898"/>
            <ac:picMk id="75" creationId="{E46651D4-E96E-4C41-B40C-3952A182BF73}"/>
          </ac:picMkLst>
        </pc:picChg>
        <pc:picChg chg="mod">
          <ac:chgData name="YUAN Huaxing" userId="680cda70-8f8f-41b8-bd50-03497d97776e" providerId="ADAL" clId="{A2A0405A-6B1F-4AFE-ADF4-06FBC564D530}" dt="2022-12-02T13:08:55.545" v="20411" actId="1076"/>
          <ac:picMkLst>
            <pc:docMk/>
            <pc:sldMk cId="2263875010" sldId="2147470898"/>
            <ac:picMk id="80" creationId="{BB8CA62C-AA65-43D9-AADD-35AFEC103CC2}"/>
          </ac:picMkLst>
        </pc:picChg>
        <pc:picChg chg="mod">
          <ac:chgData name="YUAN Huaxing" userId="680cda70-8f8f-41b8-bd50-03497d97776e" providerId="ADAL" clId="{A2A0405A-6B1F-4AFE-ADF4-06FBC564D530}" dt="2022-12-02T13:08:55.545" v="20411" actId="1076"/>
          <ac:picMkLst>
            <pc:docMk/>
            <pc:sldMk cId="2263875010" sldId="2147470898"/>
            <ac:picMk id="81" creationId="{03D665D6-807C-48E9-A148-9DA10571C364}"/>
          </ac:picMkLst>
        </pc:picChg>
        <pc:picChg chg="mod">
          <ac:chgData name="YUAN Huaxing" userId="680cda70-8f8f-41b8-bd50-03497d97776e" providerId="ADAL" clId="{A2A0405A-6B1F-4AFE-ADF4-06FBC564D530}" dt="2022-12-02T13:08:55.545" v="20411" actId="1076"/>
          <ac:picMkLst>
            <pc:docMk/>
            <pc:sldMk cId="2263875010" sldId="2147470898"/>
            <ac:picMk id="86" creationId="{47F5161C-4E96-43F2-9895-AF6D6A0A653F}"/>
          </ac:picMkLst>
        </pc:picChg>
        <pc:picChg chg="mod">
          <ac:chgData name="YUAN Huaxing" userId="680cda70-8f8f-41b8-bd50-03497d97776e" providerId="ADAL" clId="{A2A0405A-6B1F-4AFE-ADF4-06FBC564D530}" dt="2022-12-02T13:08:55.545" v="20411" actId="1076"/>
          <ac:picMkLst>
            <pc:docMk/>
            <pc:sldMk cId="2263875010" sldId="2147470898"/>
            <ac:picMk id="87" creationId="{90EDD812-953F-436B-BB29-409A7C5A0643}"/>
          </ac:picMkLst>
        </pc:picChg>
        <pc:picChg chg="mod">
          <ac:chgData name="YUAN Huaxing" userId="680cda70-8f8f-41b8-bd50-03497d97776e" providerId="ADAL" clId="{A2A0405A-6B1F-4AFE-ADF4-06FBC564D530}" dt="2022-12-02T13:08:55.545" v="20411" actId="1076"/>
          <ac:picMkLst>
            <pc:docMk/>
            <pc:sldMk cId="2263875010" sldId="2147470898"/>
            <ac:picMk id="92" creationId="{08A5EA7A-E415-4878-8FF7-3CB972E9F69A}"/>
          </ac:picMkLst>
        </pc:picChg>
        <pc:picChg chg="mod">
          <ac:chgData name="YUAN Huaxing" userId="680cda70-8f8f-41b8-bd50-03497d97776e" providerId="ADAL" clId="{A2A0405A-6B1F-4AFE-ADF4-06FBC564D530}" dt="2022-12-02T13:08:55.545" v="20411" actId="1076"/>
          <ac:picMkLst>
            <pc:docMk/>
            <pc:sldMk cId="2263875010" sldId="2147470898"/>
            <ac:picMk id="93" creationId="{4C8CBD21-4DEE-45A0-98CB-5E4A0278ED1B}"/>
          </ac:picMkLst>
        </pc:picChg>
        <pc:picChg chg="mod">
          <ac:chgData name="YUAN Huaxing" userId="680cda70-8f8f-41b8-bd50-03497d97776e" providerId="ADAL" clId="{A2A0405A-6B1F-4AFE-ADF4-06FBC564D530}" dt="2022-12-02T13:08:55.545" v="20411" actId="1076"/>
          <ac:picMkLst>
            <pc:docMk/>
            <pc:sldMk cId="2263875010" sldId="2147470898"/>
            <ac:picMk id="98" creationId="{34D639B1-C459-44B8-9355-47CBD79DF5D9}"/>
          </ac:picMkLst>
        </pc:picChg>
        <pc:picChg chg="mod">
          <ac:chgData name="YUAN Huaxing" userId="680cda70-8f8f-41b8-bd50-03497d97776e" providerId="ADAL" clId="{A2A0405A-6B1F-4AFE-ADF4-06FBC564D530}" dt="2022-12-02T13:08:55.545" v="20411" actId="1076"/>
          <ac:picMkLst>
            <pc:docMk/>
            <pc:sldMk cId="2263875010" sldId="2147470898"/>
            <ac:picMk id="99" creationId="{D03BFB90-BFA7-4CFD-A255-B551958A8AA4}"/>
          </ac:picMkLst>
        </pc:picChg>
        <pc:picChg chg="mod">
          <ac:chgData name="YUAN Huaxing" userId="680cda70-8f8f-41b8-bd50-03497d97776e" providerId="ADAL" clId="{A2A0405A-6B1F-4AFE-ADF4-06FBC564D530}" dt="2022-12-02T13:08:55.545" v="20411" actId="1076"/>
          <ac:picMkLst>
            <pc:docMk/>
            <pc:sldMk cId="2263875010" sldId="2147470898"/>
            <ac:picMk id="112" creationId="{DD3EC157-0188-4D4C-8D73-23FAEBB8F900}"/>
          </ac:picMkLst>
        </pc:picChg>
        <pc:picChg chg="mod">
          <ac:chgData name="YUAN Huaxing" userId="680cda70-8f8f-41b8-bd50-03497d97776e" providerId="ADAL" clId="{A2A0405A-6B1F-4AFE-ADF4-06FBC564D530}" dt="2022-12-02T13:08:55.545" v="20411" actId="1076"/>
          <ac:picMkLst>
            <pc:docMk/>
            <pc:sldMk cId="2263875010" sldId="2147470898"/>
            <ac:picMk id="114" creationId="{F49243B6-7394-45AB-9230-C1CEC3763D77}"/>
          </ac:picMkLst>
        </pc:picChg>
        <pc:cxnChg chg="mod">
          <ac:chgData name="YUAN Huaxing" userId="680cda70-8f8f-41b8-bd50-03497d97776e" providerId="ADAL" clId="{A2A0405A-6B1F-4AFE-ADF4-06FBC564D530}" dt="2022-12-02T13:09:14.689" v="20412" actId="14100"/>
          <ac:cxnSpMkLst>
            <pc:docMk/>
            <pc:sldMk cId="2263875010" sldId="2147470898"/>
            <ac:cxnSpMk id="21" creationId="{E4A94295-3FD0-4A35-93CB-24CA9FA5BA57}"/>
          </ac:cxnSpMkLst>
        </pc:cxnChg>
        <pc:cxnChg chg="mod">
          <ac:chgData name="YUAN Huaxing" userId="680cda70-8f8f-41b8-bd50-03497d97776e" providerId="ADAL" clId="{A2A0405A-6B1F-4AFE-ADF4-06FBC564D530}" dt="2022-12-02T13:08:55.545" v="20411" actId="1076"/>
          <ac:cxnSpMkLst>
            <pc:docMk/>
            <pc:sldMk cId="2263875010" sldId="2147470898"/>
            <ac:cxnSpMk id="24" creationId="{5CCF296D-E473-41C8-A411-F5844FB8753F}"/>
          </ac:cxnSpMkLst>
        </pc:cxnChg>
        <pc:cxnChg chg="mod">
          <ac:chgData name="YUAN Huaxing" userId="680cda70-8f8f-41b8-bd50-03497d97776e" providerId="ADAL" clId="{A2A0405A-6B1F-4AFE-ADF4-06FBC564D530}" dt="2022-12-02T13:08:55.545" v="20411" actId="1076"/>
          <ac:cxnSpMkLst>
            <pc:docMk/>
            <pc:sldMk cId="2263875010" sldId="2147470898"/>
            <ac:cxnSpMk id="25" creationId="{B4250D08-F56C-485D-B600-3268629E7710}"/>
          </ac:cxnSpMkLst>
        </pc:cxnChg>
        <pc:cxnChg chg="mod">
          <ac:chgData name="YUAN Huaxing" userId="680cda70-8f8f-41b8-bd50-03497d97776e" providerId="ADAL" clId="{A2A0405A-6B1F-4AFE-ADF4-06FBC564D530}" dt="2022-12-02T13:09:14.689" v="20412" actId="14100"/>
          <ac:cxnSpMkLst>
            <pc:docMk/>
            <pc:sldMk cId="2263875010" sldId="2147470898"/>
            <ac:cxnSpMk id="26" creationId="{A729799C-F909-4770-B534-97ADC8EA7B38}"/>
          </ac:cxnSpMkLst>
        </pc:cxnChg>
        <pc:cxnChg chg="mod">
          <ac:chgData name="YUAN Huaxing" userId="680cda70-8f8f-41b8-bd50-03497d97776e" providerId="ADAL" clId="{A2A0405A-6B1F-4AFE-ADF4-06FBC564D530}" dt="2022-12-02T13:09:39.489" v="20457" actId="14100"/>
          <ac:cxnSpMkLst>
            <pc:docMk/>
            <pc:sldMk cId="2263875010" sldId="2147470898"/>
            <ac:cxnSpMk id="33" creationId="{4EFC1034-D7AC-4D4D-A422-E29BEE3DDE0D}"/>
          </ac:cxnSpMkLst>
        </pc:cxnChg>
        <pc:cxnChg chg="mod">
          <ac:chgData name="YUAN Huaxing" userId="680cda70-8f8f-41b8-bd50-03497d97776e" providerId="ADAL" clId="{A2A0405A-6B1F-4AFE-ADF4-06FBC564D530}" dt="2022-12-02T13:09:14.689" v="20412" actId="14100"/>
          <ac:cxnSpMkLst>
            <pc:docMk/>
            <pc:sldMk cId="2263875010" sldId="2147470898"/>
            <ac:cxnSpMk id="35" creationId="{1FC3F842-AB5E-4734-8DF2-4511B3E7455B}"/>
          </ac:cxnSpMkLst>
        </pc:cxnChg>
        <pc:cxnChg chg="mod">
          <ac:chgData name="YUAN Huaxing" userId="680cda70-8f8f-41b8-bd50-03497d97776e" providerId="ADAL" clId="{A2A0405A-6B1F-4AFE-ADF4-06FBC564D530}" dt="2022-12-02T13:09:14.689" v="20412" actId="14100"/>
          <ac:cxnSpMkLst>
            <pc:docMk/>
            <pc:sldMk cId="2263875010" sldId="2147470898"/>
            <ac:cxnSpMk id="36" creationId="{413D5538-B75B-4470-B265-1FDE9FFC8653}"/>
          </ac:cxnSpMkLst>
        </pc:cxnChg>
        <pc:cxnChg chg="mod">
          <ac:chgData name="YUAN Huaxing" userId="680cda70-8f8f-41b8-bd50-03497d97776e" providerId="ADAL" clId="{A2A0405A-6B1F-4AFE-ADF4-06FBC564D530}" dt="2022-12-02T13:08:55.545" v="20411" actId="1076"/>
          <ac:cxnSpMkLst>
            <pc:docMk/>
            <pc:sldMk cId="2263875010" sldId="2147470898"/>
            <ac:cxnSpMk id="37" creationId="{F72F21A0-29C9-472D-A636-A8AAEC5BA662}"/>
          </ac:cxnSpMkLst>
        </pc:cxnChg>
        <pc:cxnChg chg="mod">
          <ac:chgData name="YUAN Huaxing" userId="680cda70-8f8f-41b8-bd50-03497d97776e" providerId="ADAL" clId="{A2A0405A-6B1F-4AFE-ADF4-06FBC564D530}" dt="2022-12-02T13:08:55.545" v="20411" actId="1076"/>
          <ac:cxnSpMkLst>
            <pc:docMk/>
            <pc:sldMk cId="2263875010" sldId="2147470898"/>
            <ac:cxnSpMk id="38" creationId="{E695D9B7-0A93-410E-8824-3EDC157E90BD}"/>
          </ac:cxnSpMkLst>
        </pc:cxnChg>
        <pc:cxnChg chg="mod">
          <ac:chgData name="YUAN Huaxing" userId="680cda70-8f8f-41b8-bd50-03497d97776e" providerId="ADAL" clId="{A2A0405A-6B1F-4AFE-ADF4-06FBC564D530}" dt="2022-12-02T13:08:55.545" v="20411" actId="1076"/>
          <ac:cxnSpMkLst>
            <pc:docMk/>
            <pc:sldMk cId="2263875010" sldId="2147470898"/>
            <ac:cxnSpMk id="102" creationId="{864AC42C-411F-4D6D-A1DF-79F321D606E4}"/>
          </ac:cxnSpMkLst>
        </pc:cxnChg>
        <pc:cxnChg chg="mod">
          <ac:chgData name="YUAN Huaxing" userId="680cda70-8f8f-41b8-bd50-03497d97776e" providerId="ADAL" clId="{A2A0405A-6B1F-4AFE-ADF4-06FBC564D530}" dt="2022-12-02T13:08:55.545" v="20411" actId="1076"/>
          <ac:cxnSpMkLst>
            <pc:docMk/>
            <pc:sldMk cId="2263875010" sldId="2147470898"/>
            <ac:cxnSpMk id="103" creationId="{F8742C57-7725-4BF1-B680-E3D5412A5FCD}"/>
          </ac:cxnSpMkLst>
        </pc:cxnChg>
        <pc:cxnChg chg="mod">
          <ac:chgData name="YUAN Huaxing" userId="680cda70-8f8f-41b8-bd50-03497d97776e" providerId="ADAL" clId="{A2A0405A-6B1F-4AFE-ADF4-06FBC564D530}" dt="2022-12-02T13:08:55.545" v="20411" actId="1076"/>
          <ac:cxnSpMkLst>
            <pc:docMk/>
            <pc:sldMk cId="2263875010" sldId="2147470898"/>
            <ac:cxnSpMk id="104" creationId="{24FF4DA9-BF23-4E09-969A-836F1132F224}"/>
          </ac:cxnSpMkLst>
        </pc:cxnChg>
        <pc:cxnChg chg="mod">
          <ac:chgData name="YUAN Huaxing" userId="680cda70-8f8f-41b8-bd50-03497d97776e" providerId="ADAL" clId="{A2A0405A-6B1F-4AFE-ADF4-06FBC564D530}" dt="2022-12-02T13:08:55.545" v="20411" actId="1076"/>
          <ac:cxnSpMkLst>
            <pc:docMk/>
            <pc:sldMk cId="2263875010" sldId="2147470898"/>
            <ac:cxnSpMk id="105" creationId="{65F44837-5D9F-4F28-B60A-A27AAE63C8B1}"/>
          </ac:cxnSpMkLst>
        </pc:cxnChg>
      </pc:sldChg>
      <pc:sldMasterChg chg="setBg delSldLayout modSldLayout">
        <pc:chgData name="YUAN Huaxing" userId="680cda70-8f8f-41b8-bd50-03497d97776e" providerId="ADAL" clId="{A2A0405A-6B1F-4AFE-ADF4-06FBC564D530}" dt="2022-11-29T11:04:19.507" v="12839"/>
        <pc:sldMasterMkLst>
          <pc:docMk/>
          <pc:sldMasterMk cId="0" sldId="2147483648"/>
        </pc:sldMasterMkLst>
        <pc:sldLayoutChg chg="setBg">
          <pc:chgData name="YUAN Huaxing" userId="680cda70-8f8f-41b8-bd50-03497d97776e" providerId="ADAL" clId="{A2A0405A-6B1F-4AFE-ADF4-06FBC564D530}" dt="2022-11-29T11:04:19.507" v="12839"/>
          <pc:sldLayoutMkLst>
            <pc:docMk/>
            <pc:sldMasterMk cId="0" sldId="2147483648"/>
            <pc:sldLayoutMk cId="0" sldId="2147483885"/>
          </pc:sldLayoutMkLst>
        </pc:sldLayoutChg>
        <pc:sldLayoutChg chg="setBg">
          <pc:chgData name="YUAN Huaxing" userId="680cda70-8f8f-41b8-bd50-03497d97776e" providerId="ADAL" clId="{A2A0405A-6B1F-4AFE-ADF4-06FBC564D530}" dt="2022-11-29T11:04:19.507" v="12839"/>
          <pc:sldLayoutMkLst>
            <pc:docMk/>
            <pc:sldMasterMk cId="0" sldId="2147483648"/>
            <pc:sldLayoutMk cId="0" sldId="2147483886"/>
          </pc:sldLayoutMkLst>
        </pc:sldLayoutChg>
        <pc:sldLayoutChg chg="setBg">
          <pc:chgData name="YUAN Huaxing" userId="680cda70-8f8f-41b8-bd50-03497d97776e" providerId="ADAL" clId="{A2A0405A-6B1F-4AFE-ADF4-06FBC564D530}" dt="2022-11-29T11:04:19.507" v="12839"/>
          <pc:sldLayoutMkLst>
            <pc:docMk/>
            <pc:sldMasterMk cId="0" sldId="2147483648"/>
            <pc:sldLayoutMk cId="0" sldId="2147483887"/>
          </pc:sldLayoutMkLst>
        </pc:sldLayoutChg>
        <pc:sldLayoutChg chg="setBg">
          <pc:chgData name="YUAN Huaxing" userId="680cda70-8f8f-41b8-bd50-03497d97776e" providerId="ADAL" clId="{A2A0405A-6B1F-4AFE-ADF4-06FBC564D530}" dt="2022-11-29T11:04:19.507" v="12839"/>
          <pc:sldLayoutMkLst>
            <pc:docMk/>
            <pc:sldMasterMk cId="0" sldId="2147483648"/>
            <pc:sldLayoutMk cId="0" sldId="2147483888"/>
          </pc:sldLayoutMkLst>
        </pc:sldLayoutChg>
        <pc:sldLayoutChg chg="setBg">
          <pc:chgData name="YUAN Huaxing" userId="680cda70-8f8f-41b8-bd50-03497d97776e" providerId="ADAL" clId="{A2A0405A-6B1F-4AFE-ADF4-06FBC564D530}" dt="2022-11-29T11:04:19.507" v="12839"/>
          <pc:sldLayoutMkLst>
            <pc:docMk/>
            <pc:sldMasterMk cId="0" sldId="2147483648"/>
            <pc:sldLayoutMk cId="0" sldId="2147483889"/>
          </pc:sldLayoutMkLst>
        </pc:sldLayoutChg>
        <pc:sldLayoutChg chg="setBg">
          <pc:chgData name="YUAN Huaxing" userId="680cda70-8f8f-41b8-bd50-03497d97776e" providerId="ADAL" clId="{A2A0405A-6B1F-4AFE-ADF4-06FBC564D530}" dt="2022-11-29T11:04:19.507" v="12839"/>
          <pc:sldLayoutMkLst>
            <pc:docMk/>
            <pc:sldMasterMk cId="0" sldId="2147483648"/>
            <pc:sldLayoutMk cId="0" sldId="2147483890"/>
          </pc:sldLayoutMkLst>
        </pc:sldLayoutChg>
        <pc:sldLayoutChg chg="setBg">
          <pc:chgData name="YUAN Huaxing" userId="680cda70-8f8f-41b8-bd50-03497d97776e" providerId="ADAL" clId="{A2A0405A-6B1F-4AFE-ADF4-06FBC564D530}" dt="2022-11-29T11:04:19.507" v="12839"/>
          <pc:sldLayoutMkLst>
            <pc:docMk/>
            <pc:sldMasterMk cId="0" sldId="2147483648"/>
            <pc:sldLayoutMk cId="0" sldId="2147483891"/>
          </pc:sldLayoutMkLst>
        </pc:sldLayoutChg>
        <pc:sldLayoutChg chg="setBg">
          <pc:chgData name="YUAN Huaxing" userId="680cda70-8f8f-41b8-bd50-03497d97776e" providerId="ADAL" clId="{A2A0405A-6B1F-4AFE-ADF4-06FBC564D530}" dt="2022-11-29T11:04:19.507" v="12839"/>
          <pc:sldLayoutMkLst>
            <pc:docMk/>
            <pc:sldMasterMk cId="0" sldId="2147483648"/>
            <pc:sldLayoutMk cId="0" sldId="2147483892"/>
          </pc:sldLayoutMkLst>
        </pc:sldLayoutChg>
        <pc:sldLayoutChg chg="setBg">
          <pc:chgData name="YUAN Huaxing" userId="680cda70-8f8f-41b8-bd50-03497d97776e" providerId="ADAL" clId="{A2A0405A-6B1F-4AFE-ADF4-06FBC564D530}" dt="2022-11-29T11:04:19.507" v="12839"/>
          <pc:sldLayoutMkLst>
            <pc:docMk/>
            <pc:sldMasterMk cId="0" sldId="2147483648"/>
            <pc:sldLayoutMk cId="952283563" sldId="2147483893"/>
          </pc:sldLayoutMkLst>
        </pc:sldLayoutChg>
        <pc:sldLayoutChg chg="setBg">
          <pc:chgData name="YUAN Huaxing" userId="680cda70-8f8f-41b8-bd50-03497d97776e" providerId="ADAL" clId="{A2A0405A-6B1F-4AFE-ADF4-06FBC564D530}" dt="2022-11-29T11:04:19.507" v="12839"/>
          <pc:sldLayoutMkLst>
            <pc:docMk/>
            <pc:sldMasterMk cId="0" sldId="2147483648"/>
            <pc:sldLayoutMk cId="1308765378" sldId="2147483900"/>
          </pc:sldLayoutMkLst>
        </pc:sldLayoutChg>
        <pc:sldLayoutChg chg="setBg">
          <pc:chgData name="YUAN Huaxing" userId="680cda70-8f8f-41b8-bd50-03497d97776e" providerId="ADAL" clId="{A2A0405A-6B1F-4AFE-ADF4-06FBC564D530}" dt="2022-11-29T11:04:19.507" v="12839"/>
          <pc:sldLayoutMkLst>
            <pc:docMk/>
            <pc:sldMasterMk cId="0" sldId="2147483648"/>
            <pc:sldLayoutMk cId="291483220" sldId="2147483901"/>
          </pc:sldLayoutMkLst>
        </pc:sldLayoutChg>
        <pc:sldLayoutChg chg="setBg">
          <pc:chgData name="YUAN Huaxing" userId="680cda70-8f8f-41b8-bd50-03497d97776e" providerId="ADAL" clId="{A2A0405A-6B1F-4AFE-ADF4-06FBC564D530}" dt="2022-11-29T11:04:19.507" v="12839"/>
          <pc:sldLayoutMkLst>
            <pc:docMk/>
            <pc:sldMasterMk cId="0" sldId="2147483648"/>
            <pc:sldLayoutMk cId="4205864577" sldId="2147483902"/>
          </pc:sldLayoutMkLst>
        </pc:sldLayoutChg>
        <pc:sldLayoutChg chg="setBg">
          <pc:chgData name="YUAN Huaxing" userId="680cda70-8f8f-41b8-bd50-03497d97776e" providerId="ADAL" clId="{A2A0405A-6B1F-4AFE-ADF4-06FBC564D530}" dt="2022-11-29T11:04:19.507" v="12839"/>
          <pc:sldLayoutMkLst>
            <pc:docMk/>
            <pc:sldMasterMk cId="0" sldId="2147483648"/>
            <pc:sldLayoutMk cId="1273170913" sldId="2147483903"/>
          </pc:sldLayoutMkLst>
        </pc:sldLayoutChg>
        <pc:sldLayoutChg chg="setBg">
          <pc:chgData name="YUAN Huaxing" userId="680cda70-8f8f-41b8-bd50-03497d97776e" providerId="ADAL" clId="{A2A0405A-6B1F-4AFE-ADF4-06FBC564D530}" dt="2022-11-29T11:04:19.507" v="12839"/>
          <pc:sldLayoutMkLst>
            <pc:docMk/>
            <pc:sldMasterMk cId="0" sldId="2147483648"/>
            <pc:sldLayoutMk cId="2544836375" sldId="2147483915"/>
          </pc:sldLayoutMkLst>
        </pc:sldLayoutChg>
        <pc:sldLayoutChg chg="setBg">
          <pc:chgData name="YUAN Huaxing" userId="680cda70-8f8f-41b8-bd50-03497d97776e" providerId="ADAL" clId="{A2A0405A-6B1F-4AFE-ADF4-06FBC564D530}" dt="2022-11-29T11:04:19.507" v="12839"/>
          <pc:sldLayoutMkLst>
            <pc:docMk/>
            <pc:sldMasterMk cId="0" sldId="2147483648"/>
            <pc:sldLayoutMk cId="3898726210" sldId="2147483916"/>
          </pc:sldLayoutMkLst>
        </pc:sldLayoutChg>
        <pc:sldLayoutChg chg="setBg">
          <pc:chgData name="YUAN Huaxing" userId="680cda70-8f8f-41b8-bd50-03497d97776e" providerId="ADAL" clId="{A2A0405A-6B1F-4AFE-ADF4-06FBC564D530}" dt="2022-11-29T11:04:19.507" v="12839"/>
          <pc:sldLayoutMkLst>
            <pc:docMk/>
            <pc:sldMasterMk cId="0" sldId="2147483648"/>
            <pc:sldLayoutMk cId="1110922223" sldId="2147483917"/>
          </pc:sldLayoutMkLst>
        </pc:sldLayoutChg>
        <pc:sldLayoutChg chg="setBg">
          <pc:chgData name="YUAN Huaxing" userId="680cda70-8f8f-41b8-bd50-03497d97776e" providerId="ADAL" clId="{A2A0405A-6B1F-4AFE-ADF4-06FBC564D530}" dt="2022-11-29T11:04:19.507" v="12839"/>
          <pc:sldLayoutMkLst>
            <pc:docMk/>
            <pc:sldMasterMk cId="0" sldId="2147483648"/>
            <pc:sldLayoutMk cId="1616276487" sldId="2147483918"/>
          </pc:sldLayoutMkLst>
        </pc:sldLayoutChg>
        <pc:sldLayoutChg chg="setBg">
          <pc:chgData name="YUAN Huaxing" userId="680cda70-8f8f-41b8-bd50-03497d97776e" providerId="ADAL" clId="{A2A0405A-6B1F-4AFE-ADF4-06FBC564D530}" dt="2022-11-29T11:04:19.507" v="12839"/>
          <pc:sldLayoutMkLst>
            <pc:docMk/>
            <pc:sldMasterMk cId="0" sldId="2147483648"/>
            <pc:sldLayoutMk cId="3599648623" sldId="2147483919"/>
          </pc:sldLayoutMkLst>
        </pc:sldLayoutChg>
        <pc:sldLayoutChg chg="setBg">
          <pc:chgData name="YUAN Huaxing" userId="680cda70-8f8f-41b8-bd50-03497d97776e" providerId="ADAL" clId="{A2A0405A-6B1F-4AFE-ADF4-06FBC564D530}" dt="2022-11-29T11:04:19.507" v="12839"/>
          <pc:sldLayoutMkLst>
            <pc:docMk/>
            <pc:sldMasterMk cId="0" sldId="2147483648"/>
            <pc:sldLayoutMk cId="602751691" sldId="2147483920"/>
          </pc:sldLayoutMkLst>
        </pc:sldLayoutChg>
        <pc:sldLayoutChg chg="setBg">
          <pc:chgData name="YUAN Huaxing" userId="680cda70-8f8f-41b8-bd50-03497d97776e" providerId="ADAL" clId="{A2A0405A-6B1F-4AFE-ADF4-06FBC564D530}" dt="2022-11-29T11:04:19.507" v="12839"/>
          <pc:sldLayoutMkLst>
            <pc:docMk/>
            <pc:sldMasterMk cId="0" sldId="2147483648"/>
            <pc:sldLayoutMk cId="3647834989" sldId="2147483930"/>
          </pc:sldLayoutMkLst>
        </pc:sldLayoutChg>
        <pc:sldLayoutChg chg="setBg">
          <pc:chgData name="YUAN Huaxing" userId="680cda70-8f8f-41b8-bd50-03497d97776e" providerId="ADAL" clId="{A2A0405A-6B1F-4AFE-ADF4-06FBC564D530}" dt="2022-11-29T11:04:19.507" v="12839"/>
          <pc:sldLayoutMkLst>
            <pc:docMk/>
            <pc:sldMasterMk cId="0" sldId="2147483648"/>
            <pc:sldLayoutMk cId="3821702076" sldId="2147483958"/>
          </pc:sldLayoutMkLst>
        </pc:sldLayoutChg>
        <pc:sldLayoutChg chg="setBg">
          <pc:chgData name="YUAN Huaxing" userId="680cda70-8f8f-41b8-bd50-03497d97776e" providerId="ADAL" clId="{A2A0405A-6B1F-4AFE-ADF4-06FBC564D530}" dt="2022-11-29T11:04:19.507" v="12839"/>
          <pc:sldLayoutMkLst>
            <pc:docMk/>
            <pc:sldMasterMk cId="0" sldId="2147483648"/>
            <pc:sldLayoutMk cId="1317877348" sldId="2147483959"/>
          </pc:sldLayoutMkLst>
        </pc:sldLayoutChg>
        <pc:sldLayoutChg chg="setBg">
          <pc:chgData name="YUAN Huaxing" userId="680cda70-8f8f-41b8-bd50-03497d97776e" providerId="ADAL" clId="{A2A0405A-6B1F-4AFE-ADF4-06FBC564D530}" dt="2022-11-29T11:04:19.507" v="12839"/>
          <pc:sldLayoutMkLst>
            <pc:docMk/>
            <pc:sldMasterMk cId="0" sldId="2147483648"/>
            <pc:sldLayoutMk cId="1488163847" sldId="2147483960"/>
          </pc:sldLayoutMkLst>
        </pc:sldLayoutChg>
        <pc:sldLayoutChg chg="setBg">
          <pc:chgData name="YUAN Huaxing" userId="680cda70-8f8f-41b8-bd50-03497d97776e" providerId="ADAL" clId="{A2A0405A-6B1F-4AFE-ADF4-06FBC564D530}" dt="2022-11-29T11:04:19.507" v="12839"/>
          <pc:sldLayoutMkLst>
            <pc:docMk/>
            <pc:sldMasterMk cId="0" sldId="2147483648"/>
            <pc:sldLayoutMk cId="3804260375" sldId="2147483961"/>
          </pc:sldLayoutMkLst>
        </pc:sldLayoutChg>
        <pc:sldLayoutChg chg="setBg">
          <pc:chgData name="YUAN Huaxing" userId="680cda70-8f8f-41b8-bd50-03497d97776e" providerId="ADAL" clId="{A2A0405A-6B1F-4AFE-ADF4-06FBC564D530}" dt="2022-11-29T11:04:19.507" v="12839"/>
          <pc:sldLayoutMkLst>
            <pc:docMk/>
            <pc:sldMasterMk cId="0" sldId="2147483648"/>
            <pc:sldLayoutMk cId="2912943845" sldId="2147483963"/>
          </pc:sldLayoutMkLst>
        </pc:sldLayoutChg>
        <pc:sldLayoutChg chg="setBg">
          <pc:chgData name="YUAN Huaxing" userId="680cda70-8f8f-41b8-bd50-03497d97776e" providerId="ADAL" clId="{A2A0405A-6B1F-4AFE-ADF4-06FBC564D530}" dt="2022-11-29T11:04:19.507" v="12839"/>
          <pc:sldLayoutMkLst>
            <pc:docMk/>
            <pc:sldMasterMk cId="0" sldId="2147483648"/>
            <pc:sldLayoutMk cId="1171593331" sldId="2147483964"/>
          </pc:sldLayoutMkLst>
        </pc:sldLayoutChg>
        <pc:sldLayoutChg chg="setBg">
          <pc:chgData name="YUAN Huaxing" userId="680cda70-8f8f-41b8-bd50-03497d97776e" providerId="ADAL" clId="{A2A0405A-6B1F-4AFE-ADF4-06FBC564D530}" dt="2022-11-29T11:04:19.507" v="12839"/>
          <pc:sldLayoutMkLst>
            <pc:docMk/>
            <pc:sldMasterMk cId="0" sldId="2147483648"/>
            <pc:sldLayoutMk cId="3563422501" sldId="2147483967"/>
          </pc:sldLayoutMkLst>
        </pc:sldLayoutChg>
        <pc:sldLayoutChg chg="setBg">
          <pc:chgData name="YUAN Huaxing" userId="680cda70-8f8f-41b8-bd50-03497d97776e" providerId="ADAL" clId="{A2A0405A-6B1F-4AFE-ADF4-06FBC564D530}" dt="2022-11-29T11:04:19.507" v="12839"/>
          <pc:sldLayoutMkLst>
            <pc:docMk/>
            <pc:sldMasterMk cId="0" sldId="2147483648"/>
            <pc:sldLayoutMk cId="188991271" sldId="2147483968"/>
          </pc:sldLayoutMkLst>
        </pc:sldLayoutChg>
        <pc:sldLayoutChg chg="setBg">
          <pc:chgData name="YUAN Huaxing" userId="680cda70-8f8f-41b8-bd50-03497d97776e" providerId="ADAL" clId="{A2A0405A-6B1F-4AFE-ADF4-06FBC564D530}" dt="2022-11-29T11:04:19.507" v="12839"/>
          <pc:sldLayoutMkLst>
            <pc:docMk/>
            <pc:sldMasterMk cId="0" sldId="2147483648"/>
            <pc:sldLayoutMk cId="2325020394" sldId="2147483969"/>
          </pc:sldLayoutMkLst>
        </pc:sldLayoutChg>
        <pc:sldLayoutChg chg="setBg">
          <pc:chgData name="YUAN Huaxing" userId="680cda70-8f8f-41b8-bd50-03497d97776e" providerId="ADAL" clId="{A2A0405A-6B1F-4AFE-ADF4-06FBC564D530}" dt="2022-11-29T11:04:19.507" v="12839"/>
          <pc:sldLayoutMkLst>
            <pc:docMk/>
            <pc:sldMasterMk cId="0" sldId="2147483648"/>
            <pc:sldLayoutMk cId="3650547487" sldId="2147483970"/>
          </pc:sldLayoutMkLst>
        </pc:sldLayoutChg>
        <pc:sldLayoutChg chg="setBg">
          <pc:chgData name="YUAN Huaxing" userId="680cda70-8f8f-41b8-bd50-03497d97776e" providerId="ADAL" clId="{A2A0405A-6B1F-4AFE-ADF4-06FBC564D530}" dt="2022-11-29T11:04:19.507" v="12839"/>
          <pc:sldLayoutMkLst>
            <pc:docMk/>
            <pc:sldMasterMk cId="0" sldId="2147483648"/>
            <pc:sldLayoutMk cId="1312707847" sldId="2147483971"/>
          </pc:sldLayoutMkLst>
        </pc:sldLayoutChg>
        <pc:sldLayoutChg chg="setBg">
          <pc:chgData name="YUAN Huaxing" userId="680cda70-8f8f-41b8-bd50-03497d97776e" providerId="ADAL" clId="{A2A0405A-6B1F-4AFE-ADF4-06FBC564D530}" dt="2022-11-29T11:04:19.507" v="12839"/>
          <pc:sldLayoutMkLst>
            <pc:docMk/>
            <pc:sldMasterMk cId="0" sldId="2147483648"/>
            <pc:sldLayoutMk cId="2887211006" sldId="2147483972"/>
          </pc:sldLayoutMkLst>
        </pc:sldLayoutChg>
        <pc:sldLayoutChg chg="del">
          <pc:chgData name="YUAN Huaxing" userId="680cda70-8f8f-41b8-bd50-03497d97776e" providerId="ADAL" clId="{A2A0405A-6B1F-4AFE-ADF4-06FBC564D530}" dt="2022-11-25T16:15:20.424" v="9363" actId="47"/>
          <pc:sldLayoutMkLst>
            <pc:docMk/>
            <pc:sldMasterMk cId="0" sldId="2147483648"/>
            <pc:sldLayoutMk cId="3541412380" sldId="2147483985"/>
          </pc:sldLayoutMkLst>
        </pc:sldLayoutChg>
        <pc:sldLayoutChg chg="del">
          <pc:chgData name="YUAN Huaxing" userId="680cda70-8f8f-41b8-bd50-03497d97776e" providerId="ADAL" clId="{A2A0405A-6B1F-4AFE-ADF4-06FBC564D530}" dt="2022-11-25T16:15:33.093" v="9365" actId="47"/>
          <pc:sldLayoutMkLst>
            <pc:docMk/>
            <pc:sldMasterMk cId="0" sldId="2147483648"/>
            <pc:sldLayoutMk cId="30131159" sldId="2147483986"/>
          </pc:sldLayoutMkLst>
        </pc:sldLayoutChg>
        <pc:sldLayoutChg chg="setBg">
          <pc:chgData name="YUAN Huaxing" userId="680cda70-8f8f-41b8-bd50-03497d97776e" providerId="ADAL" clId="{A2A0405A-6B1F-4AFE-ADF4-06FBC564D530}" dt="2022-11-29T11:04:19.507" v="12839"/>
          <pc:sldLayoutMkLst>
            <pc:docMk/>
            <pc:sldMasterMk cId="0" sldId="2147483648"/>
            <pc:sldLayoutMk cId="2004321345" sldId="2147483987"/>
          </pc:sldLayoutMkLst>
        </pc:sldLayoutChg>
        <pc:sldLayoutChg chg="setBg">
          <pc:chgData name="YUAN Huaxing" userId="680cda70-8f8f-41b8-bd50-03497d97776e" providerId="ADAL" clId="{A2A0405A-6B1F-4AFE-ADF4-06FBC564D530}" dt="2022-11-29T11:04:19.507" v="12839"/>
          <pc:sldLayoutMkLst>
            <pc:docMk/>
            <pc:sldMasterMk cId="0" sldId="2147483648"/>
            <pc:sldLayoutMk cId="1135906845" sldId="2147483988"/>
          </pc:sldLayoutMkLst>
        </pc:sldLayoutChg>
      </pc:sldMasterChg>
      <pc:sldMasterChg chg="setBg modSldLayout">
        <pc:chgData name="YUAN Huaxing" userId="680cda70-8f8f-41b8-bd50-03497d97776e" providerId="ADAL" clId="{A2A0405A-6B1F-4AFE-ADF4-06FBC564D530}" dt="2022-11-29T11:04:19.507" v="12839"/>
        <pc:sldMasterMkLst>
          <pc:docMk/>
          <pc:sldMasterMk cId="322057491" sldId="2147483973"/>
        </pc:sldMasterMkLst>
        <pc:sldLayoutChg chg="setBg">
          <pc:chgData name="YUAN Huaxing" userId="680cda70-8f8f-41b8-bd50-03497d97776e" providerId="ADAL" clId="{A2A0405A-6B1F-4AFE-ADF4-06FBC564D530}" dt="2022-11-29T11:04:19.507" v="12839"/>
          <pc:sldLayoutMkLst>
            <pc:docMk/>
            <pc:sldMasterMk cId="322057491" sldId="2147483973"/>
            <pc:sldLayoutMk cId="1960103032" sldId="2147483974"/>
          </pc:sldLayoutMkLst>
        </pc:sldLayoutChg>
        <pc:sldLayoutChg chg="setBg">
          <pc:chgData name="YUAN Huaxing" userId="680cda70-8f8f-41b8-bd50-03497d97776e" providerId="ADAL" clId="{A2A0405A-6B1F-4AFE-ADF4-06FBC564D530}" dt="2022-11-29T11:04:19.507" v="12839"/>
          <pc:sldLayoutMkLst>
            <pc:docMk/>
            <pc:sldMasterMk cId="322057491" sldId="2147483973"/>
            <pc:sldLayoutMk cId="2659054712" sldId="2147483975"/>
          </pc:sldLayoutMkLst>
        </pc:sldLayoutChg>
        <pc:sldLayoutChg chg="setBg">
          <pc:chgData name="YUAN Huaxing" userId="680cda70-8f8f-41b8-bd50-03497d97776e" providerId="ADAL" clId="{A2A0405A-6B1F-4AFE-ADF4-06FBC564D530}" dt="2022-11-29T11:04:19.507" v="12839"/>
          <pc:sldLayoutMkLst>
            <pc:docMk/>
            <pc:sldMasterMk cId="322057491" sldId="2147483973"/>
            <pc:sldLayoutMk cId="2396832110" sldId="2147483976"/>
          </pc:sldLayoutMkLst>
        </pc:sldLayoutChg>
        <pc:sldLayoutChg chg="setBg">
          <pc:chgData name="YUAN Huaxing" userId="680cda70-8f8f-41b8-bd50-03497d97776e" providerId="ADAL" clId="{A2A0405A-6B1F-4AFE-ADF4-06FBC564D530}" dt="2022-11-29T11:04:19.507" v="12839"/>
          <pc:sldLayoutMkLst>
            <pc:docMk/>
            <pc:sldMasterMk cId="322057491" sldId="2147483973"/>
            <pc:sldLayoutMk cId="3176302243" sldId="2147483977"/>
          </pc:sldLayoutMkLst>
        </pc:sldLayoutChg>
        <pc:sldLayoutChg chg="setBg">
          <pc:chgData name="YUAN Huaxing" userId="680cda70-8f8f-41b8-bd50-03497d97776e" providerId="ADAL" clId="{A2A0405A-6B1F-4AFE-ADF4-06FBC564D530}" dt="2022-11-29T11:04:19.507" v="12839"/>
          <pc:sldLayoutMkLst>
            <pc:docMk/>
            <pc:sldMasterMk cId="322057491" sldId="2147483973"/>
            <pc:sldLayoutMk cId="713599809" sldId="2147483978"/>
          </pc:sldLayoutMkLst>
        </pc:sldLayoutChg>
        <pc:sldLayoutChg chg="setBg">
          <pc:chgData name="YUAN Huaxing" userId="680cda70-8f8f-41b8-bd50-03497d97776e" providerId="ADAL" clId="{A2A0405A-6B1F-4AFE-ADF4-06FBC564D530}" dt="2022-11-29T11:04:19.507" v="12839"/>
          <pc:sldLayoutMkLst>
            <pc:docMk/>
            <pc:sldMasterMk cId="322057491" sldId="2147483973"/>
            <pc:sldLayoutMk cId="2269254553" sldId="2147483979"/>
          </pc:sldLayoutMkLst>
        </pc:sldLayoutChg>
        <pc:sldLayoutChg chg="setBg">
          <pc:chgData name="YUAN Huaxing" userId="680cda70-8f8f-41b8-bd50-03497d97776e" providerId="ADAL" clId="{A2A0405A-6B1F-4AFE-ADF4-06FBC564D530}" dt="2022-11-29T11:04:19.507" v="12839"/>
          <pc:sldLayoutMkLst>
            <pc:docMk/>
            <pc:sldMasterMk cId="322057491" sldId="2147483973"/>
            <pc:sldLayoutMk cId="2035817551" sldId="2147483980"/>
          </pc:sldLayoutMkLst>
        </pc:sldLayoutChg>
        <pc:sldLayoutChg chg="setBg">
          <pc:chgData name="YUAN Huaxing" userId="680cda70-8f8f-41b8-bd50-03497d97776e" providerId="ADAL" clId="{A2A0405A-6B1F-4AFE-ADF4-06FBC564D530}" dt="2022-11-29T11:04:19.507" v="12839"/>
          <pc:sldLayoutMkLst>
            <pc:docMk/>
            <pc:sldMasterMk cId="322057491" sldId="2147483973"/>
            <pc:sldLayoutMk cId="29508886" sldId="2147483981"/>
          </pc:sldLayoutMkLst>
        </pc:sldLayoutChg>
        <pc:sldLayoutChg chg="setBg">
          <pc:chgData name="YUAN Huaxing" userId="680cda70-8f8f-41b8-bd50-03497d97776e" providerId="ADAL" clId="{A2A0405A-6B1F-4AFE-ADF4-06FBC564D530}" dt="2022-11-29T11:04:19.507" v="12839"/>
          <pc:sldLayoutMkLst>
            <pc:docMk/>
            <pc:sldMasterMk cId="322057491" sldId="2147483973"/>
            <pc:sldLayoutMk cId="2214859614" sldId="2147483982"/>
          </pc:sldLayoutMkLst>
        </pc:sldLayoutChg>
        <pc:sldLayoutChg chg="setBg">
          <pc:chgData name="YUAN Huaxing" userId="680cda70-8f8f-41b8-bd50-03497d97776e" providerId="ADAL" clId="{A2A0405A-6B1F-4AFE-ADF4-06FBC564D530}" dt="2022-11-29T11:04:19.507" v="12839"/>
          <pc:sldLayoutMkLst>
            <pc:docMk/>
            <pc:sldMasterMk cId="322057491" sldId="2147483973"/>
            <pc:sldLayoutMk cId="349192303" sldId="2147483983"/>
          </pc:sldLayoutMkLst>
        </pc:sldLayoutChg>
        <pc:sldLayoutChg chg="setBg">
          <pc:chgData name="YUAN Huaxing" userId="680cda70-8f8f-41b8-bd50-03497d97776e" providerId="ADAL" clId="{A2A0405A-6B1F-4AFE-ADF4-06FBC564D530}" dt="2022-11-29T11:04:19.507" v="12839"/>
          <pc:sldLayoutMkLst>
            <pc:docMk/>
            <pc:sldMasterMk cId="322057491" sldId="2147483973"/>
            <pc:sldLayoutMk cId="4064903934" sldId="2147483984"/>
          </pc:sldLayoutMkLst>
        </pc:sldLayoutChg>
      </pc:sldMasterChg>
    </pc:docChg>
  </pc:docChgLst>
  <pc:docChgLst>
    <pc:chgData name="Jean-Prince DOTOU-SEGLA" userId="ef61a327-935a-41df-8140-b55c5fbbd926" providerId="ADAL" clId="{3134F09E-0C3B-3B43-A6CB-6310FCFAFA66}"/>
    <pc:docChg chg="undo custSel modSld">
      <pc:chgData name="Jean-Prince DOTOU-SEGLA" userId="ef61a327-935a-41df-8140-b55c5fbbd926" providerId="ADAL" clId="{3134F09E-0C3B-3B43-A6CB-6310FCFAFA66}" dt="2023-02-09T07:17:05.706" v="168" actId="20577"/>
      <pc:docMkLst>
        <pc:docMk/>
      </pc:docMkLst>
      <pc:sldChg chg="addSp delSp modSp">
        <pc:chgData name="Jean-Prince DOTOU-SEGLA" userId="ef61a327-935a-41df-8140-b55c5fbbd926" providerId="ADAL" clId="{3134F09E-0C3B-3B43-A6CB-6310FCFAFA66}" dt="2023-02-09T07:15:12.362" v="82" actId="478"/>
        <pc:sldMkLst>
          <pc:docMk/>
          <pc:sldMk cId="762953631" sldId="279"/>
        </pc:sldMkLst>
        <pc:spChg chg="add del mod">
          <ac:chgData name="Jean-Prince DOTOU-SEGLA" userId="ef61a327-935a-41df-8140-b55c5fbbd926" providerId="ADAL" clId="{3134F09E-0C3B-3B43-A6CB-6310FCFAFA66}" dt="2023-02-09T07:15:12.362" v="82" actId="478"/>
          <ac:spMkLst>
            <pc:docMk/>
            <pc:sldMk cId="762953631" sldId="279"/>
            <ac:spMk id="4" creationId="{034478C9-1382-4E79-4B07-DF14A6F1D8D2}"/>
          </ac:spMkLst>
        </pc:spChg>
        <pc:picChg chg="mod">
          <ac:chgData name="Jean-Prince DOTOU-SEGLA" userId="ef61a327-935a-41df-8140-b55c5fbbd926" providerId="ADAL" clId="{3134F09E-0C3B-3B43-A6CB-6310FCFAFA66}" dt="2023-02-09T07:14:37.988" v="65" actId="1076"/>
          <ac:picMkLst>
            <pc:docMk/>
            <pc:sldMk cId="762953631" sldId="279"/>
            <ac:picMk id="8" creationId="{9FCF072D-D8C6-46A4-8FBB-653822E58BBA}"/>
          </ac:picMkLst>
        </pc:picChg>
      </pc:sldChg>
      <pc:sldChg chg="modSp">
        <pc:chgData name="Jean-Prince DOTOU-SEGLA" userId="ef61a327-935a-41df-8140-b55c5fbbd926" providerId="ADAL" clId="{3134F09E-0C3B-3B43-A6CB-6310FCFAFA66}" dt="2023-02-09T07:17:05.706" v="168" actId="20577"/>
        <pc:sldMkLst>
          <pc:docMk/>
          <pc:sldMk cId="2084846352" sldId="2147470893"/>
        </pc:sldMkLst>
        <pc:graphicFrameChg chg="modGraphic">
          <ac:chgData name="Jean-Prince DOTOU-SEGLA" userId="ef61a327-935a-41df-8140-b55c5fbbd926" providerId="ADAL" clId="{3134F09E-0C3B-3B43-A6CB-6310FCFAFA66}" dt="2023-02-09T07:17:05.706" v="168" actId="20577"/>
          <ac:graphicFrameMkLst>
            <pc:docMk/>
            <pc:sldMk cId="2084846352" sldId="2147470893"/>
            <ac:graphicFrameMk id="7" creationId="{4ECCEC33-3996-458E-AA0F-54A813E68776}"/>
          </ac:graphicFrameMkLst>
        </pc:graphicFrameChg>
      </pc:sldChg>
    </pc:docChg>
  </pc:docChgLst>
</pc:chgInfo>
</file>

<file path=ppt/comments/modernComment_7FFFCE1E_A8CADD34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09A75E20-1DC8-435D-ADC2-339482970A0F}" authorId="{E1E55698-CA01-4E90-886A-58F98D270FF8}" created="2023-02-09T09:22:31.842">
    <pc:sldMkLst xmlns:pc="http://schemas.microsoft.com/office/powerpoint/2013/main/command">
      <pc:docMk/>
      <pc:sldMk cId="2831867188" sldId="2147470878"/>
    </pc:sldMkLst>
    <p188:replyLst>
      <p188:reply id="{D9991DFD-4A63-44BA-8094-41FDAAAD53AE}" authorId="{F08212C4-0A83-0832-1E8F-EBFA78A8EC1E}" created="2023-02-09T10:12:24.195">
        <p188:txBody>
          <a:bodyPr/>
          <a:lstStyle/>
          <a:p>
            <a:r>
              <a:rPr lang="fr-FR"/>
              <a:t>On a restructuré du coup</a:t>
            </a:r>
          </a:p>
        </p188:txBody>
      </p188:reply>
      <p188:reply id="{29106479-2E5A-4514-AFC4-37E5485DFA1F}" authorId="{E1E55698-CA01-4E90-886A-58F98D270FF8}" created="2023-02-09T10:27:44.914">
        <p188:txBody>
          <a:bodyPr/>
          <a:lstStyle/>
          <a:p>
            <a:r>
              <a:rPr lang="en-US"/>
              <a:t>OK, là je comprends tout
j'ai fait quelques corrections
par exemple les "." en fin de phrases n'apportent rien et polluent la lecture</a:t>
            </a:r>
          </a:p>
        </p188:txBody>
      </p188:reply>
      <p188:reply id="{5CAA76D3-508A-4B04-9E0C-666319510305}" authorId="{F08212C4-0A83-0832-1E8F-EBFA78A8EC1E}" created="2023-02-09T10:33:57.727">
        <p188:txBody>
          <a:bodyPr/>
          <a:lstStyle/>
          <a:p>
            <a:r>
              <a:rPr lang="fr-FR"/>
              <a:t>👍</a:t>
            </a:r>
          </a:p>
        </p188:txBody>
      </p188:reply>
      <p188:reply id="{F1FB3A7D-E267-4FB5-9BDC-4BDE186F9A75}" authorId="{E1E55698-CA01-4E90-886A-58F98D270FF8}" created="2023-02-09T10:35:22.454">
        <p188:txBody>
          <a:bodyPr/>
          <a:lstStyle/>
          <a:p>
            <a:r>
              <a:rPr lang="en-US"/>
              <a:t>sympa et efficace ce mode de conversation pour travailler en mode collaboratif sur un document😊</a:t>
            </a:r>
          </a:p>
        </p188:txBody>
      </p188:reply>
    </p188:replyLst>
    <p188:txBody>
      <a:bodyPr/>
      <a:lstStyle/>
      <a:p>
        <a:r>
          <a:rPr lang="fr-FR"/>
          <a:t>Que voulez-vous dire dans le dernier point surligné en jaune ?
La formulation n'est pas compréhensible</a:t>
        </a:r>
      </a:p>
    </p188:txBody>
  </p188:cm>
</p188:cmLst>
</file>

<file path=ppt/comments/modernComment_7FFFCE2D_7C443B10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C6365195-2F16-4371-A2B0-9A482C198252}" authorId="{7D8AECF4-81E8-78CA-52C3-6143C61B84FD}" created="2023-02-07T15:45:27.784">
    <pc:sldMkLst xmlns:pc="http://schemas.microsoft.com/office/powerpoint/2013/main/command">
      <pc:docMk/>
      <pc:sldMk cId="2084846352" sldId="2147470893"/>
    </pc:sldMkLst>
    <p188:txBody>
      <a:bodyPr/>
      <a:lstStyle/>
      <a:p>
        <a:r>
          <a:rPr lang="fr-FR"/>
          <a:t>@DOTOU-SEGLA Jean-Prince @ARUL Joseph Sur cette slide, faudra emporter les résultat de notre point sur KPI/Reporting </a:t>
        </a:r>
      </a:p>
    </p188:txBody>
  </p188:cm>
</p188:cmLst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3">
  <dgm:title val=""/>
  <dgm:desc val=""/>
  <dgm:catLst>
    <dgm:cat type="accent1" pri="11300"/>
  </dgm:catLst>
  <dgm:styleLbl name="node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1">
        <a:shade val="80000"/>
      </a:schemeClr>
      <a:schemeClr val="accent1">
        <a:tint val="7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/>
    <dgm:txEffectClrLst/>
  </dgm:styleLbl>
  <dgm:styleLbl name="node1">
    <dgm:fillClrLst>
      <a:schemeClr val="accent1">
        <a:shade val="80000"/>
      </a:schemeClr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lnNode1">
    <dgm:fillClrLst>
      <a:schemeClr val="accent1">
        <a:shade val="80000"/>
      </a:schemeClr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1">
        <a:shade val="80000"/>
        <a:alpha val="50000"/>
      </a:schemeClr>
      <a:schemeClr val="accent1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/>
    <dgm:txEffectClrLst/>
  </dgm:styleLbl>
  <dgm:styleLbl name="fg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9000"/>
      </a:schemeClr>
    </dgm:fillClrLst>
    <dgm:linClrLst meth="repeat">
      <a:schemeClr val="accent1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80000"/>
      </a:schemeClr>
    </dgm:fillClrLst>
    <dgm:linClrLst meth="repeat">
      <a:schemeClr val="accent1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0.xml><?xml version="1.0" encoding="utf-8"?>
<dgm:colorsDef xmlns:dgm="http://schemas.openxmlformats.org/drawingml/2006/diagram" xmlns:a="http://schemas.openxmlformats.org/drawingml/2006/main" uniqueId="urn:microsoft.com/office/officeart/2005/8/colors/accent1_3">
  <dgm:title val=""/>
  <dgm:desc val=""/>
  <dgm:catLst>
    <dgm:cat type="accent1" pri="11300"/>
  </dgm:catLst>
  <dgm:styleLbl name="node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1">
        <a:shade val="80000"/>
      </a:schemeClr>
      <a:schemeClr val="accent1">
        <a:tint val="7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/>
    <dgm:txEffectClrLst/>
  </dgm:styleLbl>
  <dgm:styleLbl name="node1">
    <dgm:fillClrLst>
      <a:schemeClr val="accent1">
        <a:shade val="80000"/>
      </a:schemeClr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lnNode1">
    <dgm:fillClrLst>
      <a:schemeClr val="accent1">
        <a:shade val="80000"/>
      </a:schemeClr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1">
        <a:shade val="80000"/>
        <a:alpha val="50000"/>
      </a:schemeClr>
      <a:schemeClr val="accent1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/>
    <dgm:txEffectClrLst/>
  </dgm:styleLbl>
  <dgm:styleLbl name="fg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9000"/>
      </a:schemeClr>
    </dgm:fillClrLst>
    <dgm:linClrLst meth="repeat">
      <a:schemeClr val="accent1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80000"/>
      </a:schemeClr>
    </dgm:fillClrLst>
    <dgm:linClrLst meth="repeat">
      <a:schemeClr val="accent1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colorful4">
  <dgm:title val=""/>
  <dgm:desc val=""/>
  <dgm:catLst>
    <dgm:cat type="colorful" pri="104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/>
      <a:schemeClr val="accent5"/>
    </dgm:fillClrLst>
    <dgm:linClrLst>
      <a:schemeClr val="accent4"/>
      <a:schemeClr val="accent5"/>
    </dgm:linClrLst>
    <dgm:effectClrLst/>
    <dgm:txLinClrLst/>
    <dgm:txFillClrLst/>
    <dgm:txEffectClrLst/>
  </dgm:styleLbl>
  <dgm:styleLbl name="ln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alpha val="5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</a:schemeClr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4"/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0.xml><?xml version="1.0" encoding="utf-8"?>
<dgm:colorsDef xmlns:dgm="http://schemas.openxmlformats.org/drawingml/2006/diagram" xmlns:a="http://schemas.openxmlformats.org/drawingml/2006/main" uniqueId="urn:microsoft.com/office/officeart/2005/8/colors/colorful4">
  <dgm:title val=""/>
  <dgm:desc val=""/>
  <dgm:catLst>
    <dgm:cat type="colorful" pri="104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/>
      <a:schemeClr val="accent5"/>
    </dgm:fillClrLst>
    <dgm:linClrLst>
      <a:schemeClr val="accent4"/>
      <a:schemeClr val="accent5"/>
    </dgm:linClrLst>
    <dgm:effectClrLst/>
    <dgm:txLinClrLst/>
    <dgm:txFillClrLst/>
    <dgm:txEffectClrLst/>
  </dgm:styleLbl>
  <dgm:styleLbl name="ln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alpha val="5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</a:schemeClr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4"/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colorful4">
  <dgm:title val=""/>
  <dgm:desc val=""/>
  <dgm:catLst>
    <dgm:cat type="colorful" pri="104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/>
      <a:schemeClr val="accent5"/>
    </dgm:fillClrLst>
    <dgm:linClrLst>
      <a:schemeClr val="accent4"/>
      <a:schemeClr val="accent5"/>
    </dgm:linClrLst>
    <dgm:effectClrLst/>
    <dgm:txLinClrLst/>
    <dgm:txFillClrLst/>
    <dgm:txEffectClrLst/>
  </dgm:styleLbl>
  <dgm:styleLbl name="ln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alpha val="5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</a:schemeClr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4"/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0.xml><?xml version="1.0" encoding="utf-8"?>
<dgm:colorsDef xmlns:dgm="http://schemas.openxmlformats.org/drawingml/2006/diagram" xmlns:a="http://schemas.openxmlformats.org/drawingml/2006/main" uniqueId="urn:microsoft.com/office/officeart/2005/8/colors/colorful4">
  <dgm:title val=""/>
  <dgm:desc val=""/>
  <dgm:catLst>
    <dgm:cat type="colorful" pri="104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/>
      <a:schemeClr val="accent5"/>
    </dgm:fillClrLst>
    <dgm:linClrLst>
      <a:schemeClr val="accent4"/>
      <a:schemeClr val="accent5"/>
    </dgm:linClrLst>
    <dgm:effectClrLst/>
    <dgm:txLinClrLst/>
    <dgm:txFillClrLst/>
    <dgm:txEffectClrLst/>
  </dgm:styleLbl>
  <dgm:styleLbl name="ln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alpha val="5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</a:schemeClr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4"/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0A29F0CB-6FCF-438C-9775-C0179C84A036}" type="doc">
      <dgm:prSet loTypeId="urn:microsoft.com/office/officeart/2005/8/layout/hList1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fr-FR"/>
        </a:p>
      </dgm:t>
    </dgm:pt>
    <dgm:pt modelId="{822A9A07-10AE-4250-BEE3-F71C5AC87A07}">
      <dgm:prSet phldrT="[Text]" custT="1"/>
      <dgm:spPr/>
      <dgm:t>
        <a:bodyPr/>
        <a:lstStyle/>
        <a:p>
          <a:r>
            <a:rPr lang="fr-FR" sz="1400" b="1" noProof="0">
              <a:solidFill>
                <a:srgbClr val="CCFFFF"/>
              </a:solidFill>
            </a:rPr>
            <a:t>Niveau Composant</a:t>
          </a:r>
          <a:br>
            <a:rPr lang="fr-FR" sz="1100" noProof="0"/>
          </a:br>
          <a:r>
            <a:rPr lang="fr-FR" sz="1100" noProof="0"/>
            <a:t>Tests </a:t>
          </a:r>
          <a:r>
            <a:rPr lang="fr-FR" sz="1100" noProof="0" err="1"/>
            <a:t>WebService</a:t>
          </a:r>
          <a:endParaRPr lang="fr-FR" sz="1100" noProof="0"/>
        </a:p>
      </dgm:t>
    </dgm:pt>
    <dgm:pt modelId="{945D45AC-AA27-46BC-AFAE-2E8EECABBB9A}" type="parTrans" cxnId="{0C1B010B-700B-459F-BE0E-60F70427635F}">
      <dgm:prSet/>
      <dgm:spPr/>
      <dgm:t>
        <a:bodyPr/>
        <a:lstStyle/>
        <a:p>
          <a:endParaRPr lang="fr-FR"/>
        </a:p>
      </dgm:t>
    </dgm:pt>
    <dgm:pt modelId="{3C7A4A44-1AE2-4FF7-9B64-556DEC63D3FE}" type="sibTrans" cxnId="{0C1B010B-700B-459F-BE0E-60F70427635F}">
      <dgm:prSet/>
      <dgm:spPr/>
      <dgm:t>
        <a:bodyPr/>
        <a:lstStyle/>
        <a:p>
          <a:endParaRPr lang="fr-FR"/>
        </a:p>
      </dgm:t>
    </dgm:pt>
    <dgm:pt modelId="{E3416A37-BF4C-496D-9C5D-013CD0D8D141}">
      <dgm:prSet/>
      <dgm:spPr/>
      <dgm:t>
        <a:bodyPr/>
        <a:lstStyle/>
        <a:p>
          <a:pPr>
            <a:buFont typeface="Segoe UI Symbol" panose="020B0502040204020203" pitchFamily="34" charset="0"/>
            <a:buChar char=""/>
          </a:pPr>
          <a:r>
            <a:rPr lang="fr-FR" noProof="0">
              <a:solidFill>
                <a:schemeClr val="accent1"/>
              </a:solidFill>
            </a:rPr>
            <a:t>Quoi : </a:t>
          </a:r>
          <a:r>
            <a:rPr lang="fr-FR" noProof="0"/>
            <a:t>Tester les WebService développés par la Squad.</a:t>
          </a:r>
        </a:p>
      </dgm:t>
    </dgm:pt>
    <dgm:pt modelId="{BAF8C0B6-16A1-415C-B895-7A09B9E16CB6}" type="parTrans" cxnId="{E40896A0-D42A-4B5D-A1D1-4FDEF8C55526}">
      <dgm:prSet/>
      <dgm:spPr/>
      <dgm:t>
        <a:bodyPr/>
        <a:lstStyle/>
        <a:p>
          <a:endParaRPr lang="fr-FR"/>
        </a:p>
      </dgm:t>
    </dgm:pt>
    <dgm:pt modelId="{D517A68E-888F-4A07-B9DC-9CA065542BBA}" type="sibTrans" cxnId="{E40896A0-D42A-4B5D-A1D1-4FDEF8C55526}">
      <dgm:prSet/>
      <dgm:spPr/>
      <dgm:t>
        <a:bodyPr/>
        <a:lstStyle/>
        <a:p>
          <a:endParaRPr lang="fr-FR"/>
        </a:p>
      </dgm:t>
    </dgm:pt>
    <dgm:pt modelId="{3E17FAF6-486C-4C7C-B506-98D3D35A08BF}">
      <dgm:prSet/>
      <dgm:spPr/>
      <dgm:t>
        <a:bodyPr/>
        <a:lstStyle/>
        <a:p>
          <a:pPr>
            <a:buFont typeface="Segoe UI Symbol" panose="020B0502040204020203" pitchFamily="34" charset="0"/>
            <a:buChar char=""/>
          </a:pPr>
          <a:r>
            <a:rPr lang="fr-FR" noProof="0">
              <a:solidFill>
                <a:schemeClr val="accent1"/>
              </a:solidFill>
            </a:rPr>
            <a:t>Quand : </a:t>
          </a:r>
          <a:r>
            <a:rPr lang="fr-FR" noProof="0"/>
            <a:t>Dès que la fonctionnalité est testable et que les développements sont terminés.</a:t>
          </a:r>
        </a:p>
      </dgm:t>
    </dgm:pt>
    <dgm:pt modelId="{1F3FB95F-FCB9-42F4-B0E2-5B6A942EB8CA}" type="parTrans" cxnId="{59E384AC-930F-4394-A0F5-F08331E7D798}">
      <dgm:prSet/>
      <dgm:spPr/>
      <dgm:t>
        <a:bodyPr/>
        <a:lstStyle/>
        <a:p>
          <a:endParaRPr lang="fr-FR"/>
        </a:p>
      </dgm:t>
    </dgm:pt>
    <dgm:pt modelId="{C7704724-7444-405F-8524-A8F4D630D609}" type="sibTrans" cxnId="{59E384AC-930F-4394-A0F5-F08331E7D798}">
      <dgm:prSet/>
      <dgm:spPr/>
      <dgm:t>
        <a:bodyPr/>
        <a:lstStyle/>
        <a:p>
          <a:endParaRPr lang="fr-FR"/>
        </a:p>
      </dgm:t>
    </dgm:pt>
    <dgm:pt modelId="{3608C5B2-AD08-49CE-A4F3-C2CCE4508ED6}">
      <dgm:prSet/>
      <dgm:spPr/>
      <dgm:t>
        <a:bodyPr/>
        <a:lstStyle/>
        <a:p>
          <a:pPr>
            <a:buFont typeface="Segoe UI Symbol" panose="020B0502040204020203" pitchFamily="34" charset="0"/>
            <a:buChar char=""/>
          </a:pPr>
          <a:r>
            <a:rPr lang="fr-FR" noProof="0">
              <a:solidFill>
                <a:schemeClr val="accent1"/>
              </a:solidFill>
            </a:rPr>
            <a:t>Qui : </a:t>
          </a:r>
          <a:r>
            <a:rPr lang="fr-FR" noProof="0"/>
            <a:t>Testeur ou Automaticiens</a:t>
          </a:r>
        </a:p>
      </dgm:t>
    </dgm:pt>
    <dgm:pt modelId="{04B8E607-AA2E-4112-AC77-462ADC417789}" type="parTrans" cxnId="{26F929A2-2958-4BF4-9D39-2DAB331A3680}">
      <dgm:prSet/>
      <dgm:spPr/>
      <dgm:t>
        <a:bodyPr/>
        <a:lstStyle/>
        <a:p>
          <a:endParaRPr lang="fr-FR"/>
        </a:p>
      </dgm:t>
    </dgm:pt>
    <dgm:pt modelId="{80A0A7CC-777C-439A-8FDD-B334D7473EA8}" type="sibTrans" cxnId="{26F929A2-2958-4BF4-9D39-2DAB331A3680}">
      <dgm:prSet/>
      <dgm:spPr/>
      <dgm:t>
        <a:bodyPr/>
        <a:lstStyle/>
        <a:p>
          <a:endParaRPr lang="fr-FR"/>
        </a:p>
      </dgm:t>
    </dgm:pt>
    <dgm:pt modelId="{13F30851-A305-48D6-B1BF-6F5CF1CB17E4}">
      <dgm:prSet custT="1"/>
      <dgm:spPr/>
      <dgm:t>
        <a:bodyPr/>
        <a:lstStyle/>
        <a:p>
          <a:r>
            <a:rPr lang="fr-FR" sz="1400" b="1" noProof="0">
              <a:solidFill>
                <a:srgbClr val="CCFFFF"/>
              </a:solidFill>
            </a:rPr>
            <a:t>Niveau US</a:t>
          </a:r>
          <a:br>
            <a:rPr lang="fr-FR" sz="1100" noProof="0"/>
          </a:br>
          <a:r>
            <a:rPr lang="fr-FR" sz="1100" noProof="0"/>
            <a:t>Scenarios d’acceptation</a:t>
          </a:r>
        </a:p>
      </dgm:t>
    </dgm:pt>
    <dgm:pt modelId="{25F2B2DB-E8C3-4DA4-8AEC-169EB1928F98}" type="parTrans" cxnId="{7985E8C9-9DBE-4DF8-93FD-E4F0CFB264BB}">
      <dgm:prSet/>
      <dgm:spPr/>
      <dgm:t>
        <a:bodyPr/>
        <a:lstStyle/>
        <a:p>
          <a:endParaRPr lang="fr-FR"/>
        </a:p>
      </dgm:t>
    </dgm:pt>
    <dgm:pt modelId="{CC760705-C376-441F-BC0B-F8A766FFC4E6}" type="sibTrans" cxnId="{7985E8C9-9DBE-4DF8-93FD-E4F0CFB264BB}">
      <dgm:prSet/>
      <dgm:spPr/>
      <dgm:t>
        <a:bodyPr/>
        <a:lstStyle/>
        <a:p>
          <a:endParaRPr lang="fr-FR"/>
        </a:p>
      </dgm:t>
    </dgm:pt>
    <dgm:pt modelId="{436E1E06-3067-46AD-92F7-C22B644A4D4E}">
      <dgm:prSet/>
      <dgm:spPr/>
      <dgm:t>
        <a:bodyPr/>
        <a:lstStyle/>
        <a:p>
          <a:pPr>
            <a:buFont typeface="Segoe UI Symbol" panose="020B0502040204020203" pitchFamily="34" charset="0"/>
            <a:buChar char=""/>
          </a:pPr>
          <a:r>
            <a:rPr lang="fr-FR" noProof="0">
              <a:solidFill>
                <a:schemeClr val="accent1"/>
              </a:solidFill>
            </a:rPr>
            <a:t>Quoi : </a:t>
          </a:r>
          <a:r>
            <a:rPr lang="fr-FR" noProof="0"/>
            <a:t>Automatiser les scenarios d’acceptations. </a:t>
          </a:r>
        </a:p>
      </dgm:t>
    </dgm:pt>
    <dgm:pt modelId="{0DFB6DB8-DF34-420F-AAC8-A945390F1B9C}" type="parTrans" cxnId="{8731B24A-185D-4FED-9055-806E805D2F5C}">
      <dgm:prSet/>
      <dgm:spPr/>
      <dgm:t>
        <a:bodyPr/>
        <a:lstStyle/>
        <a:p>
          <a:endParaRPr lang="fr-FR"/>
        </a:p>
      </dgm:t>
    </dgm:pt>
    <dgm:pt modelId="{82DA6755-31D6-4AFA-AD05-4512C7DAE75B}" type="sibTrans" cxnId="{8731B24A-185D-4FED-9055-806E805D2F5C}">
      <dgm:prSet/>
      <dgm:spPr/>
      <dgm:t>
        <a:bodyPr/>
        <a:lstStyle/>
        <a:p>
          <a:endParaRPr lang="fr-FR"/>
        </a:p>
      </dgm:t>
    </dgm:pt>
    <dgm:pt modelId="{7C15B0A2-C320-45A3-B83B-0AF6B3CA509A}">
      <dgm:prSet/>
      <dgm:spPr/>
      <dgm:t>
        <a:bodyPr/>
        <a:lstStyle/>
        <a:p>
          <a:pPr>
            <a:buFont typeface="Segoe UI Symbol" panose="020B0502040204020203" pitchFamily="34" charset="0"/>
            <a:buChar char=""/>
          </a:pPr>
          <a:r>
            <a:rPr lang="fr-FR" noProof="0">
              <a:solidFill>
                <a:schemeClr val="accent1"/>
              </a:solidFill>
            </a:rPr>
            <a:t>Qui : </a:t>
          </a:r>
          <a:r>
            <a:rPr lang="fr-FR" noProof="0"/>
            <a:t>Développeur Front</a:t>
          </a:r>
        </a:p>
      </dgm:t>
    </dgm:pt>
    <dgm:pt modelId="{96E96F86-2C4B-4C07-A135-88193619501F}" type="parTrans" cxnId="{83C01A6B-2D16-405F-801C-9342F58FF831}">
      <dgm:prSet/>
      <dgm:spPr/>
      <dgm:t>
        <a:bodyPr/>
        <a:lstStyle/>
        <a:p>
          <a:endParaRPr lang="fr-FR"/>
        </a:p>
      </dgm:t>
    </dgm:pt>
    <dgm:pt modelId="{8295E77B-3DF2-4B9B-92CA-451CDCE8F726}" type="sibTrans" cxnId="{83C01A6B-2D16-405F-801C-9342F58FF831}">
      <dgm:prSet/>
      <dgm:spPr/>
      <dgm:t>
        <a:bodyPr/>
        <a:lstStyle/>
        <a:p>
          <a:endParaRPr lang="fr-FR"/>
        </a:p>
      </dgm:t>
    </dgm:pt>
    <dgm:pt modelId="{4D90DC98-3538-4E9B-A404-D14E8638F84D}">
      <dgm:prSet custT="1"/>
      <dgm:spPr/>
      <dgm:t>
        <a:bodyPr/>
        <a:lstStyle/>
        <a:p>
          <a:r>
            <a:rPr lang="fr-FR" sz="1400" b="1" noProof="0">
              <a:solidFill>
                <a:srgbClr val="CCFFFF"/>
              </a:solidFill>
            </a:rPr>
            <a:t>Niveau MMF</a:t>
          </a:r>
          <a:br>
            <a:rPr lang="fr-FR" sz="1400" noProof="0"/>
          </a:br>
          <a:r>
            <a:rPr lang="fr-FR" sz="1100" noProof="0"/>
            <a:t>Parcours clés</a:t>
          </a:r>
        </a:p>
      </dgm:t>
    </dgm:pt>
    <dgm:pt modelId="{0D47BA75-05E5-4DC2-B4B8-63801D1580BD}" type="parTrans" cxnId="{88803EBD-043E-498C-98E0-E8C8AA4B106D}">
      <dgm:prSet/>
      <dgm:spPr/>
      <dgm:t>
        <a:bodyPr/>
        <a:lstStyle/>
        <a:p>
          <a:endParaRPr lang="fr-FR"/>
        </a:p>
      </dgm:t>
    </dgm:pt>
    <dgm:pt modelId="{8728CA77-300E-4DB8-8A60-E396739B9DA2}" type="sibTrans" cxnId="{88803EBD-043E-498C-98E0-E8C8AA4B106D}">
      <dgm:prSet/>
      <dgm:spPr/>
      <dgm:t>
        <a:bodyPr/>
        <a:lstStyle/>
        <a:p>
          <a:endParaRPr lang="fr-FR"/>
        </a:p>
      </dgm:t>
    </dgm:pt>
    <dgm:pt modelId="{4F0857C5-BAD3-4666-8F6F-09A25EC2AE36}">
      <dgm:prSet/>
      <dgm:spPr/>
      <dgm:t>
        <a:bodyPr/>
        <a:lstStyle/>
        <a:p>
          <a:r>
            <a:rPr lang="fr-FR" noProof="0">
              <a:solidFill>
                <a:schemeClr val="accent1"/>
              </a:solidFill>
            </a:rPr>
            <a:t>Quoi : </a:t>
          </a:r>
          <a:r>
            <a:rPr lang="fr-FR" noProof="0"/>
            <a:t>Automatiser </a:t>
          </a:r>
          <a:r>
            <a:rPr lang="fr-FR" strike="noStrike" noProof="0"/>
            <a:t>les parcours utilisateurs  </a:t>
          </a:r>
          <a:r>
            <a:rPr lang="fr-FR" noProof="0"/>
            <a:t>de</a:t>
          </a:r>
          <a:r>
            <a:rPr lang="fr-FR" strike="noStrike" noProof="0"/>
            <a:t> bout-en-bout </a:t>
          </a:r>
          <a:r>
            <a:rPr lang="fr-FR" noProof="0"/>
            <a:t>ayant une forte valeur métier. </a:t>
          </a:r>
        </a:p>
      </dgm:t>
    </dgm:pt>
    <dgm:pt modelId="{785E77DA-4DE7-4569-A3AF-443FF8D7C609}" type="parTrans" cxnId="{1B76029F-D9C4-4DE2-8A19-FBB4CBC79395}">
      <dgm:prSet/>
      <dgm:spPr/>
      <dgm:t>
        <a:bodyPr/>
        <a:lstStyle/>
        <a:p>
          <a:endParaRPr lang="fr-FR"/>
        </a:p>
      </dgm:t>
    </dgm:pt>
    <dgm:pt modelId="{E63239B3-056E-44B9-8479-98E7DE9A1E28}" type="sibTrans" cxnId="{1B76029F-D9C4-4DE2-8A19-FBB4CBC79395}">
      <dgm:prSet/>
      <dgm:spPr/>
      <dgm:t>
        <a:bodyPr/>
        <a:lstStyle/>
        <a:p>
          <a:endParaRPr lang="fr-FR"/>
        </a:p>
      </dgm:t>
    </dgm:pt>
    <dgm:pt modelId="{C0743F9A-5E15-4992-975A-1310910B1973}">
      <dgm:prSet/>
      <dgm:spPr/>
      <dgm:t>
        <a:bodyPr/>
        <a:lstStyle/>
        <a:p>
          <a:pPr>
            <a:buFont typeface="Segoe UI Symbol" panose="020B0502040204020203" pitchFamily="34" charset="0"/>
            <a:buChar char=""/>
          </a:pPr>
          <a:r>
            <a:rPr lang="fr-FR" noProof="0">
              <a:solidFill>
                <a:schemeClr val="accent1"/>
              </a:solidFill>
            </a:rPr>
            <a:t>Quand : </a:t>
          </a:r>
          <a:r>
            <a:rPr lang="fr-FR" noProof="0"/>
            <a:t>les scenarios sont documentés durant les sessions 3-amigos (PO, Dev, Test), sous forme de </a:t>
          </a:r>
          <a:r>
            <a:rPr lang="fr-FR" noProof="0" err="1"/>
            <a:t>Gherkin</a:t>
          </a:r>
          <a:endParaRPr lang="fr-FR" noProof="0"/>
        </a:p>
      </dgm:t>
    </dgm:pt>
    <dgm:pt modelId="{1F095CF4-06CC-4F54-8D85-3A11DDA3E1CA}" type="parTrans" cxnId="{A473274F-0104-4E6D-85DF-5C19B4C7461E}">
      <dgm:prSet/>
      <dgm:spPr/>
      <dgm:t>
        <a:bodyPr/>
        <a:lstStyle/>
        <a:p>
          <a:endParaRPr lang="fr-FR"/>
        </a:p>
      </dgm:t>
    </dgm:pt>
    <dgm:pt modelId="{2569B40E-866F-4E53-9FB1-ED6BC3545F18}" type="sibTrans" cxnId="{A473274F-0104-4E6D-85DF-5C19B4C7461E}">
      <dgm:prSet/>
      <dgm:spPr/>
      <dgm:t>
        <a:bodyPr/>
        <a:lstStyle/>
        <a:p>
          <a:endParaRPr lang="fr-FR"/>
        </a:p>
      </dgm:t>
    </dgm:pt>
    <dgm:pt modelId="{35A6AFD6-8353-478B-B954-30181C479B67}">
      <dgm:prSet/>
      <dgm:spPr/>
      <dgm:t>
        <a:bodyPr/>
        <a:lstStyle/>
        <a:p>
          <a:pPr>
            <a:buFont typeface="Segoe UI Symbol" panose="020B0502040204020203" pitchFamily="34" charset="0"/>
            <a:buChar char=""/>
          </a:pPr>
          <a:r>
            <a:rPr lang="fr-FR" noProof="0">
              <a:solidFill>
                <a:schemeClr val="accent1"/>
              </a:solidFill>
            </a:rPr>
            <a:t>Qui : </a:t>
          </a:r>
          <a:r>
            <a:rPr lang="fr-FR" noProof="0"/>
            <a:t>Testeur Automaticien</a:t>
          </a:r>
        </a:p>
      </dgm:t>
    </dgm:pt>
    <dgm:pt modelId="{C12AE6EA-6E43-470F-99FB-8F9866E5734B}" type="parTrans" cxnId="{37265557-54D7-4FEC-A7DF-5E8D78AD44B7}">
      <dgm:prSet/>
      <dgm:spPr/>
      <dgm:t>
        <a:bodyPr/>
        <a:lstStyle/>
        <a:p>
          <a:endParaRPr lang="fr-FR"/>
        </a:p>
      </dgm:t>
    </dgm:pt>
    <dgm:pt modelId="{C9994D94-8AFD-4513-9E33-0C90F8976E73}" type="sibTrans" cxnId="{37265557-54D7-4FEC-A7DF-5E8D78AD44B7}">
      <dgm:prSet/>
      <dgm:spPr/>
      <dgm:t>
        <a:bodyPr/>
        <a:lstStyle/>
        <a:p>
          <a:endParaRPr lang="fr-FR"/>
        </a:p>
      </dgm:t>
    </dgm:pt>
    <dgm:pt modelId="{C3E2225B-1C34-41CB-8B99-E05ACEAFAE70}">
      <dgm:prSet/>
      <dgm:spPr/>
      <dgm:t>
        <a:bodyPr/>
        <a:lstStyle/>
        <a:p>
          <a:pPr>
            <a:buFont typeface="Segoe UI Symbol" panose="020B0502040204020203" pitchFamily="34" charset="0"/>
            <a:buChar char=""/>
          </a:pPr>
          <a:endParaRPr lang="fr-FR" noProof="0"/>
        </a:p>
      </dgm:t>
    </dgm:pt>
    <dgm:pt modelId="{81F30C3F-CFF4-4B72-816F-12F961DB29C8}" type="parTrans" cxnId="{6FCAF556-378C-4591-BF0C-476CEFE69EA6}">
      <dgm:prSet/>
      <dgm:spPr/>
      <dgm:t>
        <a:bodyPr/>
        <a:lstStyle/>
        <a:p>
          <a:endParaRPr lang="fr-FR"/>
        </a:p>
      </dgm:t>
    </dgm:pt>
    <dgm:pt modelId="{7589AA45-5955-4645-8369-0A78C6E0C178}" type="sibTrans" cxnId="{6FCAF556-378C-4591-BF0C-476CEFE69EA6}">
      <dgm:prSet/>
      <dgm:spPr/>
      <dgm:t>
        <a:bodyPr/>
        <a:lstStyle/>
        <a:p>
          <a:endParaRPr lang="fr-FR"/>
        </a:p>
      </dgm:t>
    </dgm:pt>
    <dgm:pt modelId="{F72F35D8-AC8D-4188-9BA5-42DB131FC2B5}">
      <dgm:prSet/>
      <dgm:spPr/>
      <dgm:t>
        <a:bodyPr/>
        <a:lstStyle/>
        <a:p>
          <a:pPr>
            <a:buFont typeface="Segoe UI Symbol" panose="020B0502040204020203" pitchFamily="34" charset="0"/>
            <a:buChar char=""/>
          </a:pPr>
          <a:endParaRPr lang="fr-FR" noProof="0"/>
        </a:p>
      </dgm:t>
    </dgm:pt>
    <dgm:pt modelId="{FC1A5BA7-5C48-4F1F-8EB5-1D0B0A95BC97}" type="parTrans" cxnId="{3290492B-C7C8-43AA-9397-E58BDA4A94DA}">
      <dgm:prSet/>
      <dgm:spPr/>
      <dgm:t>
        <a:bodyPr/>
        <a:lstStyle/>
        <a:p>
          <a:endParaRPr lang="fr-FR"/>
        </a:p>
      </dgm:t>
    </dgm:pt>
    <dgm:pt modelId="{AA0F2E1A-DD5F-4C68-B7E8-B26696EA42DA}" type="sibTrans" cxnId="{3290492B-C7C8-43AA-9397-E58BDA4A94DA}">
      <dgm:prSet/>
      <dgm:spPr/>
      <dgm:t>
        <a:bodyPr/>
        <a:lstStyle/>
        <a:p>
          <a:endParaRPr lang="fr-FR"/>
        </a:p>
      </dgm:t>
    </dgm:pt>
    <dgm:pt modelId="{1A4F9EA5-D969-4A9A-B475-B80C50DB862D}">
      <dgm:prSet/>
      <dgm:spPr/>
      <dgm:t>
        <a:bodyPr/>
        <a:lstStyle/>
        <a:p>
          <a:pPr>
            <a:buFont typeface="Segoe UI Symbol" panose="020B0502040204020203" pitchFamily="34" charset="0"/>
            <a:buChar char=""/>
          </a:pPr>
          <a:endParaRPr lang="fr-FR" noProof="0"/>
        </a:p>
      </dgm:t>
    </dgm:pt>
    <dgm:pt modelId="{7AB48D26-8E25-4846-940C-BC9B742A1E8E}" type="parTrans" cxnId="{4D6080E6-DDBE-4A1F-9210-E47F18C20E91}">
      <dgm:prSet/>
      <dgm:spPr/>
      <dgm:t>
        <a:bodyPr/>
        <a:lstStyle/>
        <a:p>
          <a:endParaRPr lang="fr-FR"/>
        </a:p>
      </dgm:t>
    </dgm:pt>
    <dgm:pt modelId="{BF688315-FE90-4B01-A1E4-E73522F59055}" type="sibTrans" cxnId="{4D6080E6-DDBE-4A1F-9210-E47F18C20E91}">
      <dgm:prSet/>
      <dgm:spPr/>
      <dgm:t>
        <a:bodyPr/>
        <a:lstStyle/>
        <a:p>
          <a:endParaRPr lang="fr-FR"/>
        </a:p>
      </dgm:t>
    </dgm:pt>
    <dgm:pt modelId="{B5B750B4-90C6-48DA-8BD5-6BB39F23397C}">
      <dgm:prSet/>
      <dgm:spPr/>
      <dgm:t>
        <a:bodyPr/>
        <a:lstStyle/>
        <a:p>
          <a:pPr>
            <a:buFont typeface="Segoe UI Symbol" panose="020B0502040204020203" pitchFamily="34" charset="0"/>
            <a:buChar char=""/>
          </a:pPr>
          <a:endParaRPr lang="fr-FR" noProof="0"/>
        </a:p>
      </dgm:t>
    </dgm:pt>
    <dgm:pt modelId="{B947A1F9-8966-405C-9A5E-19DE437EF616}" type="parTrans" cxnId="{CCAC77C8-1F0B-4D3F-82F9-DC6876A442DB}">
      <dgm:prSet/>
      <dgm:spPr/>
      <dgm:t>
        <a:bodyPr/>
        <a:lstStyle/>
        <a:p>
          <a:endParaRPr lang="fr-FR"/>
        </a:p>
      </dgm:t>
    </dgm:pt>
    <dgm:pt modelId="{6F840876-17DE-4738-B206-86EF907E1BF7}" type="sibTrans" cxnId="{CCAC77C8-1F0B-4D3F-82F9-DC6876A442DB}">
      <dgm:prSet/>
      <dgm:spPr/>
      <dgm:t>
        <a:bodyPr/>
        <a:lstStyle/>
        <a:p>
          <a:endParaRPr lang="fr-FR"/>
        </a:p>
      </dgm:t>
    </dgm:pt>
    <dgm:pt modelId="{EE885F2F-6343-4E3A-8C74-B4C630259B1B}">
      <dgm:prSet/>
      <dgm:spPr/>
      <dgm:t>
        <a:bodyPr/>
        <a:lstStyle/>
        <a:p>
          <a:pPr>
            <a:buFont typeface="Segoe UI Symbol" panose="020B0502040204020203" pitchFamily="34" charset="0"/>
            <a:buChar char=""/>
          </a:pPr>
          <a:endParaRPr lang="fr-FR" noProof="0"/>
        </a:p>
      </dgm:t>
    </dgm:pt>
    <dgm:pt modelId="{CE3FB5D3-BEA1-46AF-8F52-7B7BACAC304D}" type="parTrans" cxnId="{A357B953-7771-41BD-8FAC-9B2834CC83B0}">
      <dgm:prSet/>
      <dgm:spPr/>
      <dgm:t>
        <a:bodyPr/>
        <a:lstStyle/>
        <a:p>
          <a:endParaRPr lang="fr-FR"/>
        </a:p>
      </dgm:t>
    </dgm:pt>
    <dgm:pt modelId="{7FED3722-D7FC-48D1-81F9-7B5A43016711}" type="sibTrans" cxnId="{A357B953-7771-41BD-8FAC-9B2834CC83B0}">
      <dgm:prSet/>
      <dgm:spPr/>
      <dgm:t>
        <a:bodyPr/>
        <a:lstStyle/>
        <a:p>
          <a:endParaRPr lang="fr-FR"/>
        </a:p>
      </dgm:t>
    </dgm:pt>
    <dgm:pt modelId="{A1DD8D50-6236-461A-AA2E-33B2391EFC51}">
      <dgm:prSet/>
      <dgm:spPr/>
      <dgm:t>
        <a:bodyPr/>
        <a:lstStyle/>
        <a:p>
          <a:r>
            <a:rPr lang="fr-FR" noProof="0">
              <a:solidFill>
                <a:schemeClr val="accent1"/>
              </a:solidFill>
            </a:rPr>
            <a:t>Quand : </a:t>
          </a:r>
          <a:r>
            <a:rPr lang="fr-FR" noProof="0"/>
            <a:t>Identification au début de cadence (ex : PI Planning), Développement en parallèle du logiciel.</a:t>
          </a:r>
        </a:p>
      </dgm:t>
    </dgm:pt>
    <dgm:pt modelId="{CE088253-B983-4310-96B5-036DD7EB419C}" type="parTrans" cxnId="{D7F96EC3-D131-4974-A65C-F64A5D3B0F78}">
      <dgm:prSet/>
      <dgm:spPr/>
      <dgm:t>
        <a:bodyPr/>
        <a:lstStyle/>
        <a:p>
          <a:endParaRPr lang="fr-FR"/>
        </a:p>
      </dgm:t>
    </dgm:pt>
    <dgm:pt modelId="{210F601B-D22E-40EC-B1EF-E8ADEED05DC1}" type="sibTrans" cxnId="{D7F96EC3-D131-4974-A65C-F64A5D3B0F78}">
      <dgm:prSet/>
      <dgm:spPr/>
      <dgm:t>
        <a:bodyPr/>
        <a:lstStyle/>
        <a:p>
          <a:endParaRPr lang="fr-FR"/>
        </a:p>
      </dgm:t>
    </dgm:pt>
    <dgm:pt modelId="{58AEDCA8-1E06-48FB-85C7-29DAAD31FE1B}">
      <dgm:prSet/>
      <dgm:spPr/>
      <dgm:t>
        <a:bodyPr/>
        <a:lstStyle/>
        <a:p>
          <a:pPr>
            <a:buFont typeface="Segoe UI Symbol" panose="020B0502040204020203" pitchFamily="34" charset="0"/>
            <a:buChar char=""/>
          </a:pPr>
          <a:r>
            <a:rPr lang="fr-FR" noProof="0">
              <a:solidFill>
                <a:schemeClr val="accent1"/>
              </a:solidFill>
            </a:rPr>
            <a:t>Comment : </a:t>
          </a:r>
          <a:r>
            <a:rPr lang="fr-FR" noProof="0"/>
            <a:t>Se référer sur l’approche de test API ci-dessous</a:t>
          </a:r>
        </a:p>
      </dgm:t>
    </dgm:pt>
    <dgm:pt modelId="{E764F1AE-DFD2-4263-93AB-92EE6A5F67D9}" type="parTrans" cxnId="{3D1BB866-41C6-4790-8DA0-6DDF97ADC625}">
      <dgm:prSet/>
      <dgm:spPr/>
      <dgm:t>
        <a:bodyPr/>
        <a:lstStyle/>
        <a:p>
          <a:endParaRPr lang="fr-FR"/>
        </a:p>
      </dgm:t>
    </dgm:pt>
    <dgm:pt modelId="{9CE9BB9B-5CC5-4A33-87F0-EEF91291CBF4}" type="sibTrans" cxnId="{3D1BB866-41C6-4790-8DA0-6DDF97ADC625}">
      <dgm:prSet/>
      <dgm:spPr/>
      <dgm:t>
        <a:bodyPr/>
        <a:lstStyle/>
        <a:p>
          <a:endParaRPr lang="fr-FR"/>
        </a:p>
      </dgm:t>
    </dgm:pt>
    <dgm:pt modelId="{7A29A5A3-4C47-4745-AD26-21B50F479088}">
      <dgm:prSet/>
      <dgm:spPr/>
      <dgm:t>
        <a:bodyPr/>
        <a:lstStyle/>
        <a:p>
          <a:pPr>
            <a:buFont typeface="Segoe UI Symbol" panose="020B0502040204020203" pitchFamily="34" charset="0"/>
            <a:buChar char=""/>
          </a:pPr>
          <a:endParaRPr lang="fr-FR" noProof="0"/>
        </a:p>
      </dgm:t>
    </dgm:pt>
    <dgm:pt modelId="{52AE87C9-CB61-4449-B096-F0C08CFEED6C}" type="parTrans" cxnId="{1D5A188B-B020-4071-9099-D07D660B02A1}">
      <dgm:prSet/>
      <dgm:spPr/>
      <dgm:t>
        <a:bodyPr/>
        <a:lstStyle/>
        <a:p>
          <a:endParaRPr lang="fr-FR"/>
        </a:p>
      </dgm:t>
    </dgm:pt>
    <dgm:pt modelId="{C4C9AC40-BB4B-48B1-833D-411D9ECAC170}" type="sibTrans" cxnId="{1D5A188B-B020-4071-9099-D07D660B02A1}">
      <dgm:prSet/>
      <dgm:spPr/>
      <dgm:t>
        <a:bodyPr/>
        <a:lstStyle/>
        <a:p>
          <a:endParaRPr lang="fr-FR"/>
        </a:p>
      </dgm:t>
    </dgm:pt>
    <dgm:pt modelId="{7A52EF92-AF7C-44E4-95BA-08F8D839439F}">
      <dgm:prSet/>
      <dgm:spPr/>
      <dgm:t>
        <a:bodyPr/>
        <a:lstStyle/>
        <a:p>
          <a:pPr>
            <a:buFont typeface="Segoe UI Symbol" panose="020B0502040204020203" pitchFamily="34" charset="0"/>
            <a:buChar char=""/>
          </a:pPr>
          <a:endParaRPr lang="fr-FR" noProof="0"/>
        </a:p>
      </dgm:t>
    </dgm:pt>
    <dgm:pt modelId="{AB25618F-85BD-4923-990A-60F2DCF85002}" type="parTrans" cxnId="{9B7219B2-4C1B-44A5-AAC9-55F029E92A4D}">
      <dgm:prSet/>
      <dgm:spPr/>
      <dgm:t>
        <a:bodyPr/>
        <a:lstStyle/>
        <a:p>
          <a:endParaRPr lang="fr-FR"/>
        </a:p>
      </dgm:t>
    </dgm:pt>
    <dgm:pt modelId="{8AA6AF4B-E9ED-4ECE-857D-9465BFF1A728}" type="sibTrans" cxnId="{9B7219B2-4C1B-44A5-AAC9-55F029E92A4D}">
      <dgm:prSet/>
      <dgm:spPr/>
      <dgm:t>
        <a:bodyPr/>
        <a:lstStyle/>
        <a:p>
          <a:endParaRPr lang="fr-FR"/>
        </a:p>
      </dgm:t>
    </dgm:pt>
    <dgm:pt modelId="{C0BD3161-F927-4D4F-9535-77ECC8EC6A78}">
      <dgm:prSet/>
      <dgm:spPr/>
      <dgm:t>
        <a:bodyPr/>
        <a:lstStyle/>
        <a:p>
          <a:pPr>
            <a:buFont typeface="Segoe UI Symbol" panose="020B0502040204020203" pitchFamily="34" charset="0"/>
            <a:buChar char=""/>
          </a:pPr>
          <a:r>
            <a:rPr lang="fr-FR" noProof="0">
              <a:solidFill>
                <a:schemeClr val="accent1"/>
              </a:solidFill>
            </a:rPr>
            <a:t>Comment : </a:t>
          </a:r>
          <a:r>
            <a:rPr lang="fr-FR" noProof="0"/>
            <a:t>Se référencer sur l’approche de test API ci-dessous</a:t>
          </a:r>
        </a:p>
      </dgm:t>
    </dgm:pt>
    <dgm:pt modelId="{201A8C68-2B85-4FFA-9157-74A04E4AEDF7}" type="parTrans" cxnId="{67C565FD-51C8-4EA0-8380-C9BDB0A58DB6}">
      <dgm:prSet/>
      <dgm:spPr/>
      <dgm:t>
        <a:bodyPr/>
        <a:lstStyle/>
        <a:p>
          <a:endParaRPr lang="fr-FR"/>
        </a:p>
      </dgm:t>
    </dgm:pt>
    <dgm:pt modelId="{4C2407A3-996C-43EA-B04B-08D791781BEC}" type="sibTrans" cxnId="{67C565FD-51C8-4EA0-8380-C9BDB0A58DB6}">
      <dgm:prSet/>
      <dgm:spPr/>
      <dgm:t>
        <a:bodyPr/>
        <a:lstStyle/>
        <a:p>
          <a:endParaRPr lang="fr-FR"/>
        </a:p>
      </dgm:t>
    </dgm:pt>
    <dgm:pt modelId="{03A7B889-7A96-47BA-B09A-B8662351F1EC}">
      <dgm:prSet/>
      <dgm:spPr/>
      <dgm:t>
        <a:bodyPr/>
        <a:lstStyle/>
        <a:p>
          <a:pPr>
            <a:buFont typeface="Segoe UI Symbol" panose="020B0502040204020203" pitchFamily="34" charset="0"/>
            <a:buChar char=""/>
          </a:pPr>
          <a:endParaRPr lang="fr-FR" noProof="0"/>
        </a:p>
      </dgm:t>
    </dgm:pt>
    <dgm:pt modelId="{8476FC7B-84E0-4C49-B2C8-34135792897B}" type="parTrans" cxnId="{998C7D7F-6437-4CD2-8FA0-EA163082AA8B}">
      <dgm:prSet/>
      <dgm:spPr/>
      <dgm:t>
        <a:bodyPr/>
        <a:lstStyle/>
        <a:p>
          <a:endParaRPr lang="fr-FR"/>
        </a:p>
      </dgm:t>
    </dgm:pt>
    <dgm:pt modelId="{46CB1478-6996-44A3-807C-D9C9F7C5CAB4}" type="sibTrans" cxnId="{998C7D7F-6437-4CD2-8FA0-EA163082AA8B}">
      <dgm:prSet/>
      <dgm:spPr/>
      <dgm:t>
        <a:bodyPr/>
        <a:lstStyle/>
        <a:p>
          <a:endParaRPr lang="fr-FR"/>
        </a:p>
      </dgm:t>
    </dgm:pt>
    <dgm:pt modelId="{CDD188CF-4388-4151-86B7-BC9324CAA87D}" type="pres">
      <dgm:prSet presAssocID="{0A29F0CB-6FCF-438C-9775-C0179C84A036}" presName="Name0" presStyleCnt="0">
        <dgm:presLayoutVars>
          <dgm:dir/>
          <dgm:animLvl val="lvl"/>
          <dgm:resizeHandles val="exact"/>
        </dgm:presLayoutVars>
      </dgm:prSet>
      <dgm:spPr/>
    </dgm:pt>
    <dgm:pt modelId="{3A3EFD38-5EF9-48CC-8854-E385429EEBEB}" type="pres">
      <dgm:prSet presAssocID="{822A9A07-10AE-4250-BEE3-F71C5AC87A07}" presName="composite" presStyleCnt="0"/>
      <dgm:spPr/>
    </dgm:pt>
    <dgm:pt modelId="{CC12F671-F9BA-43DF-83CA-9AFDF1C1A40E}" type="pres">
      <dgm:prSet presAssocID="{822A9A07-10AE-4250-BEE3-F71C5AC87A07}" presName="parTx" presStyleLbl="alignNode1" presStyleIdx="0" presStyleCnt="3">
        <dgm:presLayoutVars>
          <dgm:chMax val="0"/>
          <dgm:chPref val="0"/>
          <dgm:bulletEnabled val="1"/>
        </dgm:presLayoutVars>
      </dgm:prSet>
      <dgm:spPr/>
    </dgm:pt>
    <dgm:pt modelId="{8AE768B8-8893-4ADC-BEF0-77025FC5B616}" type="pres">
      <dgm:prSet presAssocID="{822A9A07-10AE-4250-BEE3-F71C5AC87A07}" presName="desTx" presStyleLbl="alignAccFollowNode1" presStyleIdx="0" presStyleCnt="3">
        <dgm:presLayoutVars>
          <dgm:bulletEnabled val="1"/>
        </dgm:presLayoutVars>
      </dgm:prSet>
      <dgm:spPr/>
    </dgm:pt>
    <dgm:pt modelId="{F379518C-FAEA-4760-8792-131DF5CCF95A}" type="pres">
      <dgm:prSet presAssocID="{3C7A4A44-1AE2-4FF7-9B64-556DEC63D3FE}" presName="space" presStyleCnt="0"/>
      <dgm:spPr/>
    </dgm:pt>
    <dgm:pt modelId="{72088E06-B9A5-4DBA-92C3-7C67423172DF}" type="pres">
      <dgm:prSet presAssocID="{13F30851-A305-48D6-B1BF-6F5CF1CB17E4}" presName="composite" presStyleCnt="0"/>
      <dgm:spPr/>
    </dgm:pt>
    <dgm:pt modelId="{447C2694-465D-4A86-8CE0-BD44728DF6CB}" type="pres">
      <dgm:prSet presAssocID="{13F30851-A305-48D6-B1BF-6F5CF1CB17E4}" presName="parTx" presStyleLbl="alignNode1" presStyleIdx="1" presStyleCnt="3">
        <dgm:presLayoutVars>
          <dgm:chMax val="0"/>
          <dgm:chPref val="0"/>
          <dgm:bulletEnabled val="1"/>
        </dgm:presLayoutVars>
      </dgm:prSet>
      <dgm:spPr/>
    </dgm:pt>
    <dgm:pt modelId="{3F05C66D-1DE6-4DC5-8F63-94F3B0A201FE}" type="pres">
      <dgm:prSet presAssocID="{13F30851-A305-48D6-B1BF-6F5CF1CB17E4}" presName="desTx" presStyleLbl="alignAccFollowNode1" presStyleIdx="1" presStyleCnt="3">
        <dgm:presLayoutVars>
          <dgm:bulletEnabled val="1"/>
        </dgm:presLayoutVars>
      </dgm:prSet>
      <dgm:spPr/>
    </dgm:pt>
    <dgm:pt modelId="{72D90D92-E517-4421-BBB5-732C9FAFC982}" type="pres">
      <dgm:prSet presAssocID="{CC760705-C376-441F-BC0B-F8A766FFC4E6}" presName="space" presStyleCnt="0"/>
      <dgm:spPr/>
    </dgm:pt>
    <dgm:pt modelId="{AF42F0D1-55F6-40C3-9048-54A1A38339CA}" type="pres">
      <dgm:prSet presAssocID="{4D90DC98-3538-4E9B-A404-D14E8638F84D}" presName="composite" presStyleCnt="0"/>
      <dgm:spPr/>
    </dgm:pt>
    <dgm:pt modelId="{6B2B08A1-EB76-47DA-A168-45B435542808}" type="pres">
      <dgm:prSet presAssocID="{4D90DC98-3538-4E9B-A404-D14E8638F84D}" presName="parTx" presStyleLbl="alignNode1" presStyleIdx="2" presStyleCnt="3">
        <dgm:presLayoutVars>
          <dgm:chMax val="0"/>
          <dgm:chPref val="0"/>
          <dgm:bulletEnabled val="1"/>
        </dgm:presLayoutVars>
      </dgm:prSet>
      <dgm:spPr/>
    </dgm:pt>
    <dgm:pt modelId="{58947632-5A8E-41DE-9844-660592CEE32B}" type="pres">
      <dgm:prSet presAssocID="{4D90DC98-3538-4E9B-A404-D14E8638F84D}" presName="desTx" presStyleLbl="alignAccFollowNode1" presStyleIdx="2" presStyleCnt="3">
        <dgm:presLayoutVars>
          <dgm:bulletEnabled val="1"/>
        </dgm:presLayoutVars>
      </dgm:prSet>
      <dgm:spPr/>
    </dgm:pt>
  </dgm:ptLst>
  <dgm:cxnLst>
    <dgm:cxn modelId="{0C1B010B-700B-459F-BE0E-60F70427635F}" srcId="{0A29F0CB-6FCF-438C-9775-C0179C84A036}" destId="{822A9A07-10AE-4250-BEE3-F71C5AC87A07}" srcOrd="0" destOrd="0" parTransId="{945D45AC-AA27-46BC-AFAE-2E8EECABBB9A}" sibTransId="{3C7A4A44-1AE2-4FF7-9B64-556DEC63D3FE}"/>
    <dgm:cxn modelId="{76030C0B-E603-4332-9612-1054405459B9}" type="presOf" srcId="{0A29F0CB-6FCF-438C-9775-C0179C84A036}" destId="{CDD188CF-4388-4151-86B7-BC9324CAA87D}" srcOrd="0" destOrd="0" presId="urn:microsoft.com/office/officeart/2005/8/layout/hList1"/>
    <dgm:cxn modelId="{95CF9210-1630-40BC-9C5A-CCA584A69E57}" type="presOf" srcId="{EE885F2F-6343-4E3A-8C74-B4C630259B1B}" destId="{3F05C66D-1DE6-4DC5-8F63-94F3B0A201FE}" srcOrd="0" destOrd="1" presId="urn:microsoft.com/office/officeart/2005/8/layout/hList1"/>
    <dgm:cxn modelId="{A3AF4815-DF77-44F8-86E3-0E86836D9C27}" type="presOf" srcId="{7A52EF92-AF7C-44E4-95BA-08F8D839439F}" destId="{58947632-5A8E-41DE-9844-660592CEE32B}" srcOrd="0" destOrd="1" presId="urn:microsoft.com/office/officeart/2005/8/layout/hList1"/>
    <dgm:cxn modelId="{EBBD2319-BEA9-49AB-9E3A-5163E174AC17}" type="presOf" srcId="{3E17FAF6-486C-4C7C-B506-98D3D35A08BF}" destId="{8AE768B8-8893-4ADC-BEF0-77025FC5B616}" srcOrd="0" destOrd="2" presId="urn:microsoft.com/office/officeart/2005/8/layout/hList1"/>
    <dgm:cxn modelId="{43193023-AB3E-4C7C-9A9C-D5C2DF38C639}" type="presOf" srcId="{436E1E06-3067-46AD-92F7-C22B644A4D4E}" destId="{3F05C66D-1DE6-4DC5-8F63-94F3B0A201FE}" srcOrd="0" destOrd="0" presId="urn:microsoft.com/office/officeart/2005/8/layout/hList1"/>
    <dgm:cxn modelId="{1D13E829-5CF7-40BB-B512-E025D83AB2EC}" type="presOf" srcId="{C0BD3161-F927-4D4F-9535-77ECC8EC6A78}" destId="{58947632-5A8E-41DE-9844-660592CEE32B}" srcOrd="0" destOrd="6" presId="urn:microsoft.com/office/officeart/2005/8/layout/hList1"/>
    <dgm:cxn modelId="{3290492B-C7C8-43AA-9397-E58BDA4A94DA}" srcId="{822A9A07-10AE-4250-BEE3-F71C5AC87A07}" destId="{F72F35D8-AC8D-4188-9BA5-42DB131FC2B5}" srcOrd="3" destOrd="0" parTransId="{FC1A5BA7-5C48-4F1F-8EB5-1D0B0A95BC97}" sibTransId="{AA0F2E1A-DD5F-4C68-B7E8-B26696EA42DA}"/>
    <dgm:cxn modelId="{C2300037-90A4-4835-976A-3889081511F0}" type="presOf" srcId="{35A6AFD6-8353-478B-B954-30181C479B67}" destId="{58947632-5A8E-41DE-9844-660592CEE32B}" srcOrd="0" destOrd="4" presId="urn:microsoft.com/office/officeart/2005/8/layout/hList1"/>
    <dgm:cxn modelId="{1FB7543A-D690-4CCA-AE22-1E8FFE1E8B50}" type="presOf" srcId="{3608C5B2-AD08-49CE-A4F3-C2CCE4508ED6}" destId="{8AE768B8-8893-4ADC-BEF0-77025FC5B616}" srcOrd="0" destOrd="4" presId="urn:microsoft.com/office/officeart/2005/8/layout/hList1"/>
    <dgm:cxn modelId="{F06CF25F-3323-4F36-979D-D0581B6E7F27}" type="presOf" srcId="{C0743F9A-5E15-4992-975A-1310910B1973}" destId="{3F05C66D-1DE6-4DC5-8F63-94F3B0A201FE}" srcOrd="0" destOrd="2" presId="urn:microsoft.com/office/officeart/2005/8/layout/hList1"/>
    <dgm:cxn modelId="{3D1BB866-41C6-4790-8DA0-6DDF97ADC625}" srcId="{822A9A07-10AE-4250-BEE3-F71C5AC87A07}" destId="{58AEDCA8-1E06-48FB-85C7-29DAAD31FE1B}" srcOrd="6" destOrd="0" parTransId="{E764F1AE-DFD2-4263-93AB-92EE6A5F67D9}" sibTransId="{9CE9BB9B-5CC5-4A33-87F0-EEF91291CBF4}"/>
    <dgm:cxn modelId="{AB22C846-D35D-4135-A082-614D84EB43FC}" type="presOf" srcId="{4D90DC98-3538-4E9B-A404-D14E8638F84D}" destId="{6B2B08A1-EB76-47DA-A168-45B435542808}" srcOrd="0" destOrd="0" presId="urn:microsoft.com/office/officeart/2005/8/layout/hList1"/>
    <dgm:cxn modelId="{35E87647-D92B-4459-A905-27B0EEC76337}" type="presOf" srcId="{58AEDCA8-1E06-48FB-85C7-29DAAD31FE1B}" destId="{8AE768B8-8893-4ADC-BEF0-77025FC5B616}" srcOrd="0" destOrd="6" presId="urn:microsoft.com/office/officeart/2005/8/layout/hList1"/>
    <dgm:cxn modelId="{8731B24A-185D-4FED-9055-806E805D2F5C}" srcId="{13F30851-A305-48D6-B1BF-6F5CF1CB17E4}" destId="{436E1E06-3067-46AD-92F7-C22B644A4D4E}" srcOrd="0" destOrd="0" parTransId="{0DFB6DB8-DF34-420F-AAC8-A945390F1B9C}" sibTransId="{82DA6755-31D6-4AFA-AD05-4512C7DAE75B}"/>
    <dgm:cxn modelId="{83C01A6B-2D16-405F-801C-9342F58FF831}" srcId="{13F30851-A305-48D6-B1BF-6F5CF1CB17E4}" destId="{7C15B0A2-C320-45A3-B83B-0AF6B3CA509A}" srcOrd="4" destOrd="0" parTransId="{96E96F86-2C4B-4C07-A135-88193619501F}" sibTransId="{8295E77B-3DF2-4B9B-92CA-451CDCE8F726}"/>
    <dgm:cxn modelId="{A473274F-0104-4E6D-85DF-5C19B4C7461E}" srcId="{13F30851-A305-48D6-B1BF-6F5CF1CB17E4}" destId="{C0743F9A-5E15-4992-975A-1310910B1973}" srcOrd="2" destOrd="0" parTransId="{1F095CF4-06CC-4F54-8D85-3A11DDA3E1CA}" sibTransId="{2569B40E-866F-4E53-9FB1-ED6BC3545F18}"/>
    <dgm:cxn modelId="{A357B953-7771-41BD-8FAC-9B2834CC83B0}" srcId="{13F30851-A305-48D6-B1BF-6F5CF1CB17E4}" destId="{EE885F2F-6343-4E3A-8C74-B4C630259B1B}" srcOrd="1" destOrd="0" parTransId="{CE3FB5D3-BEA1-46AF-8F52-7B7BACAC304D}" sibTransId="{7FED3722-D7FC-48D1-81F9-7B5A43016711}"/>
    <dgm:cxn modelId="{6FCAF556-378C-4591-BF0C-476CEFE69EA6}" srcId="{822A9A07-10AE-4250-BEE3-F71C5AC87A07}" destId="{C3E2225B-1C34-41CB-8B99-E05ACEAFAE70}" srcOrd="1" destOrd="0" parTransId="{81F30C3F-CFF4-4B72-816F-12F961DB29C8}" sibTransId="{7589AA45-5955-4645-8369-0A78C6E0C178}"/>
    <dgm:cxn modelId="{37265557-54D7-4FEC-A7DF-5E8D78AD44B7}" srcId="{4D90DC98-3538-4E9B-A404-D14E8638F84D}" destId="{35A6AFD6-8353-478B-B954-30181C479B67}" srcOrd="4" destOrd="0" parTransId="{C12AE6EA-6E43-470F-99FB-8F9866E5734B}" sibTransId="{C9994D94-8AFD-4513-9E33-0C90F8976E73}"/>
    <dgm:cxn modelId="{643BD458-B8AC-4E36-87A2-7EC1666B5C88}" type="presOf" srcId="{4F0857C5-BAD3-4666-8F6F-09A25EC2AE36}" destId="{58947632-5A8E-41DE-9844-660592CEE32B}" srcOrd="0" destOrd="0" presId="urn:microsoft.com/office/officeart/2005/8/layout/hList1"/>
    <dgm:cxn modelId="{998C7D7F-6437-4CD2-8FA0-EA163082AA8B}" srcId="{4D90DC98-3538-4E9B-A404-D14E8638F84D}" destId="{03A7B889-7A96-47BA-B09A-B8662351F1EC}" srcOrd="5" destOrd="0" parTransId="{8476FC7B-84E0-4C49-B2C8-34135792897B}" sibTransId="{46CB1478-6996-44A3-807C-D9C9F7C5CAB4}"/>
    <dgm:cxn modelId="{FB632A80-F741-4973-9F69-7EC069875A87}" type="presOf" srcId="{7C15B0A2-C320-45A3-B83B-0AF6B3CA509A}" destId="{3F05C66D-1DE6-4DC5-8F63-94F3B0A201FE}" srcOrd="0" destOrd="4" presId="urn:microsoft.com/office/officeart/2005/8/layout/hList1"/>
    <dgm:cxn modelId="{1D5A188B-B020-4071-9099-D07D660B02A1}" srcId="{822A9A07-10AE-4250-BEE3-F71C5AC87A07}" destId="{7A29A5A3-4C47-4745-AD26-21B50F479088}" srcOrd="5" destOrd="0" parTransId="{52AE87C9-CB61-4449-B096-F0C08CFEED6C}" sibTransId="{C4C9AC40-BB4B-48B1-833D-411D9ECAC170}"/>
    <dgm:cxn modelId="{68720893-C2E0-4C37-8977-958CE9AA2EEB}" type="presOf" srcId="{1A4F9EA5-D969-4A9A-B475-B80C50DB862D}" destId="{58947632-5A8E-41DE-9844-660592CEE32B}" srcOrd="0" destOrd="3" presId="urn:microsoft.com/office/officeart/2005/8/layout/hList1"/>
    <dgm:cxn modelId="{18334198-BB6C-47BE-A438-A9268BA7A6E2}" type="presOf" srcId="{822A9A07-10AE-4250-BEE3-F71C5AC87A07}" destId="{CC12F671-F9BA-43DF-83CA-9AFDF1C1A40E}" srcOrd="0" destOrd="0" presId="urn:microsoft.com/office/officeart/2005/8/layout/hList1"/>
    <dgm:cxn modelId="{F5676D9D-E4CA-4D86-9D52-E7B898F3F547}" type="presOf" srcId="{B5B750B4-90C6-48DA-8BD5-6BB39F23397C}" destId="{3F05C66D-1DE6-4DC5-8F63-94F3B0A201FE}" srcOrd="0" destOrd="3" presId="urn:microsoft.com/office/officeart/2005/8/layout/hList1"/>
    <dgm:cxn modelId="{1B76029F-D9C4-4DE2-8A19-FBB4CBC79395}" srcId="{4D90DC98-3538-4E9B-A404-D14E8638F84D}" destId="{4F0857C5-BAD3-4666-8F6F-09A25EC2AE36}" srcOrd="0" destOrd="0" parTransId="{785E77DA-4DE7-4569-A3AF-443FF8D7C609}" sibTransId="{E63239B3-056E-44B9-8479-98E7DE9A1E28}"/>
    <dgm:cxn modelId="{E40896A0-D42A-4B5D-A1D1-4FDEF8C55526}" srcId="{822A9A07-10AE-4250-BEE3-F71C5AC87A07}" destId="{E3416A37-BF4C-496D-9C5D-013CD0D8D141}" srcOrd="0" destOrd="0" parTransId="{BAF8C0B6-16A1-415C-B895-7A09B9E16CB6}" sibTransId="{D517A68E-888F-4A07-B9DC-9CA065542BBA}"/>
    <dgm:cxn modelId="{26F929A2-2958-4BF4-9D39-2DAB331A3680}" srcId="{822A9A07-10AE-4250-BEE3-F71C5AC87A07}" destId="{3608C5B2-AD08-49CE-A4F3-C2CCE4508ED6}" srcOrd="4" destOrd="0" parTransId="{04B8E607-AA2E-4112-AC77-462ADC417789}" sibTransId="{80A0A7CC-777C-439A-8FDD-B334D7473EA8}"/>
    <dgm:cxn modelId="{2522E3A3-BEC1-4AB3-B4CE-C64BBC899CFC}" type="presOf" srcId="{F72F35D8-AC8D-4188-9BA5-42DB131FC2B5}" destId="{8AE768B8-8893-4ADC-BEF0-77025FC5B616}" srcOrd="0" destOrd="3" presId="urn:microsoft.com/office/officeart/2005/8/layout/hList1"/>
    <dgm:cxn modelId="{550742A9-F495-4D93-98EC-A7B56E887ACB}" type="presOf" srcId="{E3416A37-BF4C-496D-9C5D-013CD0D8D141}" destId="{8AE768B8-8893-4ADC-BEF0-77025FC5B616}" srcOrd="0" destOrd="0" presId="urn:microsoft.com/office/officeart/2005/8/layout/hList1"/>
    <dgm:cxn modelId="{59E384AC-930F-4394-A0F5-F08331E7D798}" srcId="{822A9A07-10AE-4250-BEE3-F71C5AC87A07}" destId="{3E17FAF6-486C-4C7C-B506-98D3D35A08BF}" srcOrd="2" destOrd="0" parTransId="{1F3FB95F-FCB9-42F4-B0E2-5B6A942EB8CA}" sibTransId="{C7704724-7444-405F-8524-A8F4D630D609}"/>
    <dgm:cxn modelId="{46B835AD-0607-4BE3-93A4-A05F0E1A28D2}" type="presOf" srcId="{13F30851-A305-48D6-B1BF-6F5CF1CB17E4}" destId="{447C2694-465D-4A86-8CE0-BD44728DF6CB}" srcOrd="0" destOrd="0" presId="urn:microsoft.com/office/officeart/2005/8/layout/hList1"/>
    <dgm:cxn modelId="{9B7219B2-4C1B-44A5-AAC9-55F029E92A4D}" srcId="{4D90DC98-3538-4E9B-A404-D14E8638F84D}" destId="{7A52EF92-AF7C-44E4-95BA-08F8D839439F}" srcOrd="1" destOrd="0" parTransId="{AB25618F-85BD-4923-990A-60F2DCF85002}" sibTransId="{8AA6AF4B-E9ED-4ECE-857D-9465BFF1A728}"/>
    <dgm:cxn modelId="{88803EBD-043E-498C-98E0-E8C8AA4B106D}" srcId="{0A29F0CB-6FCF-438C-9775-C0179C84A036}" destId="{4D90DC98-3538-4E9B-A404-D14E8638F84D}" srcOrd="2" destOrd="0" parTransId="{0D47BA75-05E5-4DC2-B4B8-63801D1580BD}" sibTransId="{8728CA77-300E-4DB8-8A60-E396739B9DA2}"/>
    <dgm:cxn modelId="{D7F96EC3-D131-4974-A65C-F64A5D3B0F78}" srcId="{4D90DC98-3538-4E9B-A404-D14E8638F84D}" destId="{A1DD8D50-6236-461A-AA2E-33B2391EFC51}" srcOrd="2" destOrd="0" parTransId="{CE088253-B983-4310-96B5-036DD7EB419C}" sibTransId="{210F601B-D22E-40EC-B1EF-E8ADEED05DC1}"/>
    <dgm:cxn modelId="{CCAC77C8-1F0B-4D3F-82F9-DC6876A442DB}" srcId="{13F30851-A305-48D6-B1BF-6F5CF1CB17E4}" destId="{B5B750B4-90C6-48DA-8BD5-6BB39F23397C}" srcOrd="3" destOrd="0" parTransId="{B947A1F9-8966-405C-9A5E-19DE437EF616}" sibTransId="{6F840876-17DE-4738-B206-86EF907E1BF7}"/>
    <dgm:cxn modelId="{7985E8C9-9DBE-4DF8-93FD-E4F0CFB264BB}" srcId="{0A29F0CB-6FCF-438C-9775-C0179C84A036}" destId="{13F30851-A305-48D6-B1BF-6F5CF1CB17E4}" srcOrd="1" destOrd="0" parTransId="{25F2B2DB-E8C3-4DA4-8AEC-169EB1928F98}" sibTransId="{CC760705-C376-441F-BC0B-F8A766FFC4E6}"/>
    <dgm:cxn modelId="{6E6552CE-EC31-4D76-9FDF-9A35F6387E2F}" type="presOf" srcId="{03A7B889-7A96-47BA-B09A-B8662351F1EC}" destId="{58947632-5A8E-41DE-9844-660592CEE32B}" srcOrd="0" destOrd="5" presId="urn:microsoft.com/office/officeart/2005/8/layout/hList1"/>
    <dgm:cxn modelId="{7DADA7E4-1F44-4EC2-BCD4-D589CD3EE08F}" type="presOf" srcId="{C3E2225B-1C34-41CB-8B99-E05ACEAFAE70}" destId="{8AE768B8-8893-4ADC-BEF0-77025FC5B616}" srcOrd="0" destOrd="1" presId="urn:microsoft.com/office/officeart/2005/8/layout/hList1"/>
    <dgm:cxn modelId="{4D6080E6-DDBE-4A1F-9210-E47F18C20E91}" srcId="{4D90DC98-3538-4E9B-A404-D14E8638F84D}" destId="{1A4F9EA5-D969-4A9A-B475-B80C50DB862D}" srcOrd="3" destOrd="0" parTransId="{7AB48D26-8E25-4846-940C-BC9B742A1E8E}" sibTransId="{BF688315-FE90-4B01-A1E4-E73522F59055}"/>
    <dgm:cxn modelId="{DF6570F8-1FCF-414E-AC3C-4FFF14447A18}" type="presOf" srcId="{7A29A5A3-4C47-4745-AD26-21B50F479088}" destId="{8AE768B8-8893-4ADC-BEF0-77025FC5B616}" srcOrd="0" destOrd="5" presId="urn:microsoft.com/office/officeart/2005/8/layout/hList1"/>
    <dgm:cxn modelId="{D24A06F9-7A6D-428B-A1BD-28FCCF548C41}" type="presOf" srcId="{A1DD8D50-6236-461A-AA2E-33B2391EFC51}" destId="{58947632-5A8E-41DE-9844-660592CEE32B}" srcOrd="0" destOrd="2" presId="urn:microsoft.com/office/officeart/2005/8/layout/hList1"/>
    <dgm:cxn modelId="{67C565FD-51C8-4EA0-8380-C9BDB0A58DB6}" srcId="{4D90DC98-3538-4E9B-A404-D14E8638F84D}" destId="{C0BD3161-F927-4D4F-9535-77ECC8EC6A78}" srcOrd="6" destOrd="0" parTransId="{201A8C68-2B85-4FFA-9157-74A04E4AEDF7}" sibTransId="{4C2407A3-996C-43EA-B04B-08D791781BEC}"/>
    <dgm:cxn modelId="{B251B5A8-72C8-4282-ACAF-A7987F42B3FC}" type="presParOf" srcId="{CDD188CF-4388-4151-86B7-BC9324CAA87D}" destId="{3A3EFD38-5EF9-48CC-8854-E385429EEBEB}" srcOrd="0" destOrd="0" presId="urn:microsoft.com/office/officeart/2005/8/layout/hList1"/>
    <dgm:cxn modelId="{2E490581-9416-475B-BA26-FE96582BA6BC}" type="presParOf" srcId="{3A3EFD38-5EF9-48CC-8854-E385429EEBEB}" destId="{CC12F671-F9BA-43DF-83CA-9AFDF1C1A40E}" srcOrd="0" destOrd="0" presId="urn:microsoft.com/office/officeart/2005/8/layout/hList1"/>
    <dgm:cxn modelId="{2892DC47-61B0-4518-8937-5F3A1E47BEA6}" type="presParOf" srcId="{3A3EFD38-5EF9-48CC-8854-E385429EEBEB}" destId="{8AE768B8-8893-4ADC-BEF0-77025FC5B616}" srcOrd="1" destOrd="0" presId="urn:microsoft.com/office/officeart/2005/8/layout/hList1"/>
    <dgm:cxn modelId="{83F8A522-00B3-493F-9CFF-3D033EFC121D}" type="presParOf" srcId="{CDD188CF-4388-4151-86B7-BC9324CAA87D}" destId="{F379518C-FAEA-4760-8792-131DF5CCF95A}" srcOrd="1" destOrd="0" presId="urn:microsoft.com/office/officeart/2005/8/layout/hList1"/>
    <dgm:cxn modelId="{5EE78496-F62B-467F-A30A-04D344B99CCC}" type="presParOf" srcId="{CDD188CF-4388-4151-86B7-BC9324CAA87D}" destId="{72088E06-B9A5-4DBA-92C3-7C67423172DF}" srcOrd="2" destOrd="0" presId="urn:microsoft.com/office/officeart/2005/8/layout/hList1"/>
    <dgm:cxn modelId="{E8F0B9D4-D5DB-437B-AD0F-CA0505A3213D}" type="presParOf" srcId="{72088E06-B9A5-4DBA-92C3-7C67423172DF}" destId="{447C2694-465D-4A86-8CE0-BD44728DF6CB}" srcOrd="0" destOrd="0" presId="urn:microsoft.com/office/officeart/2005/8/layout/hList1"/>
    <dgm:cxn modelId="{CF67B1A9-9B6F-41B6-816E-C83195130E45}" type="presParOf" srcId="{72088E06-B9A5-4DBA-92C3-7C67423172DF}" destId="{3F05C66D-1DE6-4DC5-8F63-94F3B0A201FE}" srcOrd="1" destOrd="0" presId="urn:microsoft.com/office/officeart/2005/8/layout/hList1"/>
    <dgm:cxn modelId="{FBDAF923-01F0-4C77-9DF6-A0551C75832D}" type="presParOf" srcId="{CDD188CF-4388-4151-86B7-BC9324CAA87D}" destId="{72D90D92-E517-4421-BBB5-732C9FAFC982}" srcOrd="3" destOrd="0" presId="urn:microsoft.com/office/officeart/2005/8/layout/hList1"/>
    <dgm:cxn modelId="{46C42F15-58BB-4CBA-9BC9-245457F11C83}" type="presParOf" srcId="{CDD188CF-4388-4151-86B7-BC9324CAA87D}" destId="{AF42F0D1-55F6-40C3-9048-54A1A38339CA}" srcOrd="4" destOrd="0" presId="urn:microsoft.com/office/officeart/2005/8/layout/hList1"/>
    <dgm:cxn modelId="{6CB8ECF5-4E5C-47CD-BCDA-922CB7B0A706}" type="presParOf" srcId="{AF42F0D1-55F6-40C3-9048-54A1A38339CA}" destId="{6B2B08A1-EB76-47DA-A168-45B435542808}" srcOrd="0" destOrd="0" presId="urn:microsoft.com/office/officeart/2005/8/layout/hList1"/>
    <dgm:cxn modelId="{CBE6F962-BCCD-450D-8BD5-BC31B7B83DAC}" type="presParOf" srcId="{AF42F0D1-55F6-40C3-9048-54A1A38339CA}" destId="{58947632-5A8E-41DE-9844-660592CEE32B}" srcOrd="1" destOrd="0" presId="urn:microsoft.com/office/officeart/2005/8/layout/hLis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A08AFA5F-8B47-4A0D-90C7-D118AC706CDC}" type="doc">
      <dgm:prSet loTypeId="urn:microsoft.com/office/officeart/2009/3/layout/RandomtoResultProcess" loCatId="process" qsTypeId="urn:microsoft.com/office/officeart/2005/8/quickstyle/simple1" qsCatId="simple" csTypeId="urn:microsoft.com/office/officeart/2005/8/colors/accent1_2" csCatId="accent1" phldr="1"/>
      <dgm:spPr/>
    </dgm:pt>
    <dgm:pt modelId="{BAE4B0E0-7705-49EF-BEDE-97026F732711}">
      <dgm:prSet phldrT="[Text]"/>
      <dgm:spPr/>
      <dgm:t>
        <a:bodyPr/>
        <a:lstStyle/>
        <a:p>
          <a:r>
            <a:rPr lang="en-US"/>
            <a:t>PI Planning</a:t>
          </a:r>
          <a:endParaRPr lang="fr-FR"/>
        </a:p>
      </dgm:t>
    </dgm:pt>
    <dgm:pt modelId="{F23D6E45-D9CD-4824-8705-6CFCBA901859}" type="parTrans" cxnId="{1945D927-DD97-44B4-9A8B-524A4DEB20CE}">
      <dgm:prSet/>
      <dgm:spPr/>
      <dgm:t>
        <a:bodyPr/>
        <a:lstStyle/>
        <a:p>
          <a:endParaRPr lang="fr-FR"/>
        </a:p>
      </dgm:t>
    </dgm:pt>
    <dgm:pt modelId="{776DEAAD-5B02-43D8-AA5C-E2416FBAE48F}" type="sibTrans" cxnId="{1945D927-DD97-44B4-9A8B-524A4DEB20CE}">
      <dgm:prSet/>
      <dgm:spPr/>
      <dgm:t>
        <a:bodyPr/>
        <a:lstStyle/>
        <a:p>
          <a:endParaRPr lang="fr-FR"/>
        </a:p>
      </dgm:t>
    </dgm:pt>
    <dgm:pt modelId="{1DA9EE2A-5269-4E91-B9FD-9C35DD4D9978}">
      <dgm:prSet phldrT="[Text]"/>
      <dgm:spPr/>
      <dgm:t>
        <a:bodyPr/>
        <a:lstStyle/>
        <a:p>
          <a:r>
            <a:rPr lang="en-US"/>
            <a:t>Sprint 1</a:t>
          </a:r>
          <a:endParaRPr lang="fr-FR"/>
        </a:p>
      </dgm:t>
    </dgm:pt>
    <dgm:pt modelId="{0E6653F6-DBF5-4201-8B7B-CD479FFB26A6}" type="parTrans" cxnId="{0E9AA672-875D-4AA4-BACF-F0BBFC7970E2}">
      <dgm:prSet/>
      <dgm:spPr/>
      <dgm:t>
        <a:bodyPr/>
        <a:lstStyle/>
        <a:p>
          <a:endParaRPr lang="fr-FR"/>
        </a:p>
      </dgm:t>
    </dgm:pt>
    <dgm:pt modelId="{B3485604-A3A9-4F50-8759-86C801B53708}" type="sibTrans" cxnId="{0E9AA672-875D-4AA4-BACF-F0BBFC7970E2}">
      <dgm:prSet/>
      <dgm:spPr/>
      <dgm:t>
        <a:bodyPr/>
        <a:lstStyle/>
        <a:p>
          <a:endParaRPr lang="fr-FR"/>
        </a:p>
      </dgm:t>
    </dgm:pt>
    <dgm:pt modelId="{7748CE9D-26F4-4C74-8253-819C0EAE298C}">
      <dgm:prSet phldrT="[Text]"/>
      <dgm:spPr/>
      <dgm:t>
        <a:bodyPr/>
        <a:lstStyle/>
        <a:p>
          <a:r>
            <a:rPr lang="en-US"/>
            <a:t>Sprint 2</a:t>
          </a:r>
          <a:endParaRPr lang="fr-FR"/>
        </a:p>
      </dgm:t>
    </dgm:pt>
    <dgm:pt modelId="{02901F8D-9813-47D9-B16E-95994FBD7DC7}" type="parTrans" cxnId="{47240160-D87F-491D-A7AB-EAAD318E3FF0}">
      <dgm:prSet/>
      <dgm:spPr/>
      <dgm:t>
        <a:bodyPr/>
        <a:lstStyle/>
        <a:p>
          <a:endParaRPr lang="fr-FR"/>
        </a:p>
      </dgm:t>
    </dgm:pt>
    <dgm:pt modelId="{6BB5AB43-A2C8-4CD1-8F2D-945F987590A8}" type="sibTrans" cxnId="{47240160-D87F-491D-A7AB-EAAD318E3FF0}">
      <dgm:prSet/>
      <dgm:spPr/>
      <dgm:t>
        <a:bodyPr/>
        <a:lstStyle/>
        <a:p>
          <a:endParaRPr lang="fr-FR"/>
        </a:p>
      </dgm:t>
    </dgm:pt>
    <dgm:pt modelId="{E9A6A325-7575-4C61-9F5D-1594EBF0FEC0}">
      <dgm:prSet phldrT="[Text]"/>
      <dgm:spPr/>
      <dgm:t>
        <a:bodyPr/>
        <a:lstStyle/>
        <a:p>
          <a:r>
            <a:rPr lang="en-US"/>
            <a:t>Sprint 3</a:t>
          </a:r>
          <a:endParaRPr lang="fr-FR"/>
        </a:p>
      </dgm:t>
    </dgm:pt>
    <dgm:pt modelId="{F2DCDA2D-9AFB-49F9-BC96-E307BB74CF95}" type="parTrans" cxnId="{0547722D-EC1A-44E3-8A8F-C08B209037E3}">
      <dgm:prSet/>
      <dgm:spPr/>
      <dgm:t>
        <a:bodyPr/>
        <a:lstStyle/>
        <a:p>
          <a:endParaRPr lang="fr-FR"/>
        </a:p>
      </dgm:t>
    </dgm:pt>
    <dgm:pt modelId="{B5AEC382-C062-4447-8E1C-2268EBB420DD}" type="sibTrans" cxnId="{0547722D-EC1A-44E3-8A8F-C08B209037E3}">
      <dgm:prSet/>
      <dgm:spPr/>
      <dgm:t>
        <a:bodyPr/>
        <a:lstStyle/>
        <a:p>
          <a:endParaRPr lang="fr-FR"/>
        </a:p>
      </dgm:t>
    </dgm:pt>
    <dgm:pt modelId="{37D4FB1B-E3C0-4BB3-950D-47D77577AEF8}">
      <dgm:prSet phldrT="[Text]"/>
      <dgm:spPr/>
      <dgm:t>
        <a:bodyPr/>
        <a:lstStyle/>
        <a:p>
          <a:r>
            <a:rPr lang="en-US"/>
            <a:t>Sprint 4</a:t>
          </a:r>
          <a:endParaRPr lang="fr-FR"/>
        </a:p>
      </dgm:t>
    </dgm:pt>
    <dgm:pt modelId="{864061E2-9F00-45FD-A51C-5FFD65A5742C}" type="parTrans" cxnId="{0D04188F-9FD5-40FA-BAE9-D2F410C1C360}">
      <dgm:prSet/>
      <dgm:spPr/>
      <dgm:t>
        <a:bodyPr/>
        <a:lstStyle/>
        <a:p>
          <a:endParaRPr lang="fr-FR"/>
        </a:p>
      </dgm:t>
    </dgm:pt>
    <dgm:pt modelId="{82843BCB-3E6F-4E7F-B716-13B15BA4D692}" type="sibTrans" cxnId="{0D04188F-9FD5-40FA-BAE9-D2F410C1C360}">
      <dgm:prSet/>
      <dgm:spPr/>
      <dgm:t>
        <a:bodyPr/>
        <a:lstStyle/>
        <a:p>
          <a:endParaRPr lang="fr-FR"/>
        </a:p>
      </dgm:t>
    </dgm:pt>
    <dgm:pt modelId="{A236B837-A026-4FE1-96E1-4E1122CEF438}">
      <dgm:prSet phldrT="[Text]"/>
      <dgm:spPr/>
      <dgm:t>
        <a:bodyPr/>
        <a:lstStyle/>
        <a:p>
          <a:r>
            <a:rPr lang="en-US"/>
            <a:t>Fin de cadence</a:t>
          </a:r>
          <a:endParaRPr lang="fr-FR"/>
        </a:p>
      </dgm:t>
    </dgm:pt>
    <dgm:pt modelId="{18364721-4B62-40D0-AD17-B7C78169BC66}" type="parTrans" cxnId="{855EA348-743D-411F-B172-9B66AC147301}">
      <dgm:prSet/>
      <dgm:spPr/>
      <dgm:t>
        <a:bodyPr/>
        <a:lstStyle/>
        <a:p>
          <a:endParaRPr lang="fr-FR"/>
        </a:p>
      </dgm:t>
    </dgm:pt>
    <dgm:pt modelId="{0AC5BDCA-289E-4CCD-AFED-37DAE1AE3CCE}" type="sibTrans" cxnId="{855EA348-743D-411F-B172-9B66AC147301}">
      <dgm:prSet/>
      <dgm:spPr/>
      <dgm:t>
        <a:bodyPr/>
        <a:lstStyle/>
        <a:p>
          <a:endParaRPr lang="fr-FR"/>
        </a:p>
      </dgm:t>
    </dgm:pt>
    <dgm:pt modelId="{693C4A7F-E3F4-42F1-98EF-17375025419C}" type="pres">
      <dgm:prSet presAssocID="{A08AFA5F-8B47-4A0D-90C7-D118AC706CDC}" presName="Name0" presStyleCnt="0">
        <dgm:presLayoutVars>
          <dgm:dir/>
          <dgm:animOne val="branch"/>
          <dgm:animLvl val="lvl"/>
        </dgm:presLayoutVars>
      </dgm:prSet>
      <dgm:spPr/>
    </dgm:pt>
    <dgm:pt modelId="{D0E43DF2-0973-4250-B7DF-7C5AEBBDFE6E}" type="pres">
      <dgm:prSet presAssocID="{BAE4B0E0-7705-49EF-BEDE-97026F732711}" presName="chaos" presStyleCnt="0"/>
      <dgm:spPr/>
    </dgm:pt>
    <dgm:pt modelId="{3BACE459-BDF2-4ED5-8F46-77BA86E68B9B}" type="pres">
      <dgm:prSet presAssocID="{BAE4B0E0-7705-49EF-BEDE-97026F732711}" presName="parTx1" presStyleLbl="revTx" presStyleIdx="0" presStyleCnt="5"/>
      <dgm:spPr/>
    </dgm:pt>
    <dgm:pt modelId="{62E3C05A-7813-4081-ACBE-6041FCECF7AC}" type="pres">
      <dgm:prSet presAssocID="{BAE4B0E0-7705-49EF-BEDE-97026F732711}" presName="c1" presStyleLbl="node1" presStyleIdx="0" presStyleCnt="19"/>
      <dgm:spPr/>
    </dgm:pt>
    <dgm:pt modelId="{6F34B41E-088A-4908-BE14-43691A34BE0D}" type="pres">
      <dgm:prSet presAssocID="{BAE4B0E0-7705-49EF-BEDE-97026F732711}" presName="c2" presStyleLbl="node1" presStyleIdx="1" presStyleCnt="19"/>
      <dgm:spPr/>
    </dgm:pt>
    <dgm:pt modelId="{548774E4-5475-4826-99B2-E05957791C13}" type="pres">
      <dgm:prSet presAssocID="{BAE4B0E0-7705-49EF-BEDE-97026F732711}" presName="c3" presStyleLbl="node1" presStyleIdx="2" presStyleCnt="19"/>
      <dgm:spPr/>
    </dgm:pt>
    <dgm:pt modelId="{DBFEAA21-19FD-4CD4-9662-41F7A1E12671}" type="pres">
      <dgm:prSet presAssocID="{BAE4B0E0-7705-49EF-BEDE-97026F732711}" presName="c4" presStyleLbl="node1" presStyleIdx="3" presStyleCnt="19"/>
      <dgm:spPr/>
    </dgm:pt>
    <dgm:pt modelId="{E29C2FED-81B2-48A8-AF3E-75F1384A6ED1}" type="pres">
      <dgm:prSet presAssocID="{BAE4B0E0-7705-49EF-BEDE-97026F732711}" presName="c5" presStyleLbl="node1" presStyleIdx="4" presStyleCnt="19"/>
      <dgm:spPr/>
    </dgm:pt>
    <dgm:pt modelId="{3A8ACDCC-77E4-4AB7-BD56-40FE238CDC5F}" type="pres">
      <dgm:prSet presAssocID="{BAE4B0E0-7705-49EF-BEDE-97026F732711}" presName="c6" presStyleLbl="node1" presStyleIdx="5" presStyleCnt="19"/>
      <dgm:spPr/>
    </dgm:pt>
    <dgm:pt modelId="{BA6EDDE6-60CB-4FAE-803E-81226782716C}" type="pres">
      <dgm:prSet presAssocID="{BAE4B0E0-7705-49EF-BEDE-97026F732711}" presName="c7" presStyleLbl="node1" presStyleIdx="6" presStyleCnt="19"/>
      <dgm:spPr/>
    </dgm:pt>
    <dgm:pt modelId="{0B47AD5C-275F-4180-B894-E018697FF5CD}" type="pres">
      <dgm:prSet presAssocID="{BAE4B0E0-7705-49EF-BEDE-97026F732711}" presName="c8" presStyleLbl="node1" presStyleIdx="7" presStyleCnt="19"/>
      <dgm:spPr/>
    </dgm:pt>
    <dgm:pt modelId="{1B8E25A5-F6A3-4655-B41F-0E7152250E60}" type="pres">
      <dgm:prSet presAssocID="{BAE4B0E0-7705-49EF-BEDE-97026F732711}" presName="c9" presStyleLbl="node1" presStyleIdx="8" presStyleCnt="19"/>
      <dgm:spPr/>
    </dgm:pt>
    <dgm:pt modelId="{7464B304-9165-4A65-AC64-78EEDF44DFB3}" type="pres">
      <dgm:prSet presAssocID="{BAE4B0E0-7705-49EF-BEDE-97026F732711}" presName="c10" presStyleLbl="node1" presStyleIdx="9" presStyleCnt="19"/>
      <dgm:spPr/>
    </dgm:pt>
    <dgm:pt modelId="{BE75F35C-6598-41EE-B930-F1AFC9DF11D9}" type="pres">
      <dgm:prSet presAssocID="{BAE4B0E0-7705-49EF-BEDE-97026F732711}" presName="c11" presStyleLbl="node1" presStyleIdx="10" presStyleCnt="19"/>
      <dgm:spPr/>
    </dgm:pt>
    <dgm:pt modelId="{9576FDF3-4DE9-42CF-981F-0F50ACA9ABB7}" type="pres">
      <dgm:prSet presAssocID="{BAE4B0E0-7705-49EF-BEDE-97026F732711}" presName="c12" presStyleLbl="node1" presStyleIdx="11" presStyleCnt="19"/>
      <dgm:spPr/>
    </dgm:pt>
    <dgm:pt modelId="{AD611DA5-9084-4F98-8234-164F5DF058A7}" type="pres">
      <dgm:prSet presAssocID="{BAE4B0E0-7705-49EF-BEDE-97026F732711}" presName="c13" presStyleLbl="node1" presStyleIdx="12" presStyleCnt="19"/>
      <dgm:spPr/>
    </dgm:pt>
    <dgm:pt modelId="{B93570F0-B646-4648-A194-8FF5A456F41F}" type="pres">
      <dgm:prSet presAssocID="{BAE4B0E0-7705-49EF-BEDE-97026F732711}" presName="c14" presStyleLbl="node1" presStyleIdx="13" presStyleCnt="19"/>
      <dgm:spPr/>
    </dgm:pt>
    <dgm:pt modelId="{24AE6CEB-1DD1-4B51-85F3-E15B1F386B9D}" type="pres">
      <dgm:prSet presAssocID="{BAE4B0E0-7705-49EF-BEDE-97026F732711}" presName="c15" presStyleLbl="node1" presStyleIdx="14" presStyleCnt="19"/>
      <dgm:spPr/>
    </dgm:pt>
    <dgm:pt modelId="{67893C6F-4CCB-443C-8831-6AE443B57458}" type="pres">
      <dgm:prSet presAssocID="{BAE4B0E0-7705-49EF-BEDE-97026F732711}" presName="c16" presStyleLbl="node1" presStyleIdx="15" presStyleCnt="19"/>
      <dgm:spPr/>
    </dgm:pt>
    <dgm:pt modelId="{5F087A38-AEBA-4271-823F-E8DCFC5583B5}" type="pres">
      <dgm:prSet presAssocID="{BAE4B0E0-7705-49EF-BEDE-97026F732711}" presName="c17" presStyleLbl="node1" presStyleIdx="16" presStyleCnt="19"/>
      <dgm:spPr/>
    </dgm:pt>
    <dgm:pt modelId="{8824235A-9933-40D5-A096-F8F6EB1A8BDB}" type="pres">
      <dgm:prSet presAssocID="{BAE4B0E0-7705-49EF-BEDE-97026F732711}" presName="c18" presStyleLbl="node1" presStyleIdx="17" presStyleCnt="19"/>
      <dgm:spPr/>
    </dgm:pt>
    <dgm:pt modelId="{36422B41-AD9B-4903-96C1-3487583FFDC9}" type="pres">
      <dgm:prSet presAssocID="{776DEAAD-5B02-43D8-AA5C-E2416FBAE48F}" presName="chevronComposite1" presStyleCnt="0"/>
      <dgm:spPr/>
    </dgm:pt>
    <dgm:pt modelId="{7B4AF352-69E4-4CC2-9236-4CE05CC0131F}" type="pres">
      <dgm:prSet presAssocID="{776DEAAD-5B02-43D8-AA5C-E2416FBAE48F}" presName="chevron1" presStyleLbl="sibTrans2D1" presStyleIdx="0" presStyleCnt="5"/>
      <dgm:spPr/>
    </dgm:pt>
    <dgm:pt modelId="{7F7A20E9-DE3D-481D-AB67-600FE76CBCAF}" type="pres">
      <dgm:prSet presAssocID="{776DEAAD-5B02-43D8-AA5C-E2416FBAE48F}" presName="spChevron1" presStyleCnt="0"/>
      <dgm:spPr/>
    </dgm:pt>
    <dgm:pt modelId="{7ED1BA7C-CEEA-4374-A678-87205F515B3F}" type="pres">
      <dgm:prSet presAssocID="{1DA9EE2A-5269-4E91-B9FD-9C35DD4D9978}" presName="middle" presStyleCnt="0"/>
      <dgm:spPr/>
    </dgm:pt>
    <dgm:pt modelId="{A6D4DCF7-D58D-44CF-8362-C3B649A84E00}" type="pres">
      <dgm:prSet presAssocID="{1DA9EE2A-5269-4E91-B9FD-9C35DD4D9978}" presName="parTxMid" presStyleLbl="revTx" presStyleIdx="1" presStyleCnt="5"/>
      <dgm:spPr/>
    </dgm:pt>
    <dgm:pt modelId="{2938FC9B-A4EB-4C8D-AF56-88860E321C75}" type="pres">
      <dgm:prSet presAssocID="{1DA9EE2A-5269-4E91-B9FD-9C35DD4D9978}" presName="spMid" presStyleCnt="0"/>
      <dgm:spPr/>
    </dgm:pt>
    <dgm:pt modelId="{521E98A9-36F7-432F-880E-025A1DA3A629}" type="pres">
      <dgm:prSet presAssocID="{B3485604-A3A9-4F50-8759-86C801B53708}" presName="chevronComposite1" presStyleCnt="0"/>
      <dgm:spPr/>
    </dgm:pt>
    <dgm:pt modelId="{FB1C9CAF-353E-4EB2-BB49-484410D0EC09}" type="pres">
      <dgm:prSet presAssocID="{B3485604-A3A9-4F50-8759-86C801B53708}" presName="chevron1" presStyleLbl="sibTrans2D1" presStyleIdx="1" presStyleCnt="5"/>
      <dgm:spPr/>
    </dgm:pt>
    <dgm:pt modelId="{FEB1CE4A-D39A-4EFE-88C4-7F765E87BBAB}" type="pres">
      <dgm:prSet presAssocID="{B3485604-A3A9-4F50-8759-86C801B53708}" presName="spChevron1" presStyleCnt="0"/>
      <dgm:spPr/>
    </dgm:pt>
    <dgm:pt modelId="{18D98DD6-A53E-4310-8923-D921AF95F306}" type="pres">
      <dgm:prSet presAssocID="{7748CE9D-26F4-4C74-8253-819C0EAE298C}" presName="middle" presStyleCnt="0"/>
      <dgm:spPr/>
    </dgm:pt>
    <dgm:pt modelId="{8A21DE8C-460A-49F1-B47F-02E88C9BA68F}" type="pres">
      <dgm:prSet presAssocID="{7748CE9D-26F4-4C74-8253-819C0EAE298C}" presName="parTxMid" presStyleLbl="revTx" presStyleIdx="2" presStyleCnt="5"/>
      <dgm:spPr/>
    </dgm:pt>
    <dgm:pt modelId="{1D1DAE79-FEDD-4E72-8C35-D5DFC9317F86}" type="pres">
      <dgm:prSet presAssocID="{7748CE9D-26F4-4C74-8253-819C0EAE298C}" presName="spMid" presStyleCnt="0"/>
      <dgm:spPr/>
    </dgm:pt>
    <dgm:pt modelId="{8B6FAB26-F384-48F2-A6AB-BE39D1BABD58}" type="pres">
      <dgm:prSet presAssocID="{6BB5AB43-A2C8-4CD1-8F2D-945F987590A8}" presName="chevronComposite1" presStyleCnt="0"/>
      <dgm:spPr/>
    </dgm:pt>
    <dgm:pt modelId="{F1B261A2-0BE7-4D3C-A7AF-C55E19FD29B6}" type="pres">
      <dgm:prSet presAssocID="{6BB5AB43-A2C8-4CD1-8F2D-945F987590A8}" presName="chevron1" presStyleLbl="sibTrans2D1" presStyleIdx="2" presStyleCnt="5"/>
      <dgm:spPr/>
    </dgm:pt>
    <dgm:pt modelId="{A4CEDFFD-AFCC-4C4A-9BBC-1EE7D9220AB1}" type="pres">
      <dgm:prSet presAssocID="{6BB5AB43-A2C8-4CD1-8F2D-945F987590A8}" presName="spChevron1" presStyleCnt="0"/>
      <dgm:spPr/>
    </dgm:pt>
    <dgm:pt modelId="{9FAED713-03ED-4425-BE9C-EDD97321969A}" type="pres">
      <dgm:prSet presAssocID="{E9A6A325-7575-4C61-9F5D-1594EBF0FEC0}" presName="middle" presStyleCnt="0"/>
      <dgm:spPr/>
    </dgm:pt>
    <dgm:pt modelId="{19A1FA05-6803-4B2C-900D-44FE90FC2E15}" type="pres">
      <dgm:prSet presAssocID="{E9A6A325-7575-4C61-9F5D-1594EBF0FEC0}" presName="parTxMid" presStyleLbl="revTx" presStyleIdx="3" presStyleCnt="5"/>
      <dgm:spPr/>
    </dgm:pt>
    <dgm:pt modelId="{8D3B4C4B-9A33-425F-A7BF-3B4B24FA4922}" type="pres">
      <dgm:prSet presAssocID="{E9A6A325-7575-4C61-9F5D-1594EBF0FEC0}" presName="spMid" presStyleCnt="0"/>
      <dgm:spPr/>
    </dgm:pt>
    <dgm:pt modelId="{FAE25BE8-1F33-463A-939F-A47BA2FCDDF3}" type="pres">
      <dgm:prSet presAssocID="{B5AEC382-C062-4447-8E1C-2268EBB420DD}" presName="chevronComposite1" presStyleCnt="0"/>
      <dgm:spPr/>
    </dgm:pt>
    <dgm:pt modelId="{0A0B6F1E-812F-4569-AF21-D993E36FEB76}" type="pres">
      <dgm:prSet presAssocID="{B5AEC382-C062-4447-8E1C-2268EBB420DD}" presName="chevron1" presStyleLbl="sibTrans2D1" presStyleIdx="3" presStyleCnt="5"/>
      <dgm:spPr/>
    </dgm:pt>
    <dgm:pt modelId="{B74FA90F-BB73-4E5E-A0C5-FDD944663056}" type="pres">
      <dgm:prSet presAssocID="{B5AEC382-C062-4447-8E1C-2268EBB420DD}" presName="spChevron1" presStyleCnt="0"/>
      <dgm:spPr/>
    </dgm:pt>
    <dgm:pt modelId="{22A0885E-EF88-4057-8DBC-E522119A9824}" type="pres">
      <dgm:prSet presAssocID="{37D4FB1B-E3C0-4BB3-950D-47D77577AEF8}" presName="middle" presStyleCnt="0"/>
      <dgm:spPr/>
    </dgm:pt>
    <dgm:pt modelId="{B2D5A9C5-C1D9-4C88-8AF0-0BA9926E10CF}" type="pres">
      <dgm:prSet presAssocID="{37D4FB1B-E3C0-4BB3-950D-47D77577AEF8}" presName="parTxMid" presStyleLbl="revTx" presStyleIdx="4" presStyleCnt="5"/>
      <dgm:spPr/>
    </dgm:pt>
    <dgm:pt modelId="{0BD6767A-1B0F-4DF7-B867-5B4326D9CA13}" type="pres">
      <dgm:prSet presAssocID="{37D4FB1B-E3C0-4BB3-950D-47D77577AEF8}" presName="spMid" presStyleCnt="0"/>
      <dgm:spPr/>
    </dgm:pt>
    <dgm:pt modelId="{07BC7A88-0781-4731-ADC0-DE079709583A}" type="pres">
      <dgm:prSet presAssocID="{82843BCB-3E6F-4E7F-B716-13B15BA4D692}" presName="chevronComposite1" presStyleCnt="0"/>
      <dgm:spPr/>
    </dgm:pt>
    <dgm:pt modelId="{2BAEE747-4822-411B-B5E7-A9E477BDDDC3}" type="pres">
      <dgm:prSet presAssocID="{82843BCB-3E6F-4E7F-B716-13B15BA4D692}" presName="chevron1" presStyleLbl="sibTrans2D1" presStyleIdx="4" presStyleCnt="5"/>
      <dgm:spPr/>
    </dgm:pt>
    <dgm:pt modelId="{C1849C1C-64B1-4B12-B71F-3C9EF39F7874}" type="pres">
      <dgm:prSet presAssocID="{82843BCB-3E6F-4E7F-B716-13B15BA4D692}" presName="spChevron1" presStyleCnt="0"/>
      <dgm:spPr/>
    </dgm:pt>
    <dgm:pt modelId="{49BE52EC-35CC-4CBC-8304-2025EE20C5DB}" type="pres">
      <dgm:prSet presAssocID="{A236B837-A026-4FE1-96E1-4E1122CEF438}" presName="last" presStyleCnt="0"/>
      <dgm:spPr/>
    </dgm:pt>
    <dgm:pt modelId="{4465A32E-0D57-42B9-A5D0-F6086BC8EAFE}" type="pres">
      <dgm:prSet presAssocID="{A236B837-A026-4FE1-96E1-4E1122CEF438}" presName="circleTx" presStyleLbl="node1" presStyleIdx="18" presStyleCnt="19"/>
      <dgm:spPr/>
    </dgm:pt>
    <dgm:pt modelId="{35CD43B8-53FC-4E3D-81DF-A343AAC526FC}" type="pres">
      <dgm:prSet presAssocID="{A236B837-A026-4FE1-96E1-4E1122CEF438}" presName="spN" presStyleCnt="0"/>
      <dgm:spPr/>
    </dgm:pt>
  </dgm:ptLst>
  <dgm:cxnLst>
    <dgm:cxn modelId="{8BC1551C-4BF3-4700-B213-C5B26099158B}" type="presOf" srcId="{7748CE9D-26F4-4C74-8253-819C0EAE298C}" destId="{8A21DE8C-460A-49F1-B47F-02E88C9BA68F}" srcOrd="0" destOrd="0" presId="urn:microsoft.com/office/officeart/2009/3/layout/RandomtoResultProcess"/>
    <dgm:cxn modelId="{1945D927-DD97-44B4-9A8B-524A4DEB20CE}" srcId="{A08AFA5F-8B47-4A0D-90C7-D118AC706CDC}" destId="{BAE4B0E0-7705-49EF-BEDE-97026F732711}" srcOrd="0" destOrd="0" parTransId="{F23D6E45-D9CD-4824-8705-6CFCBA901859}" sibTransId="{776DEAAD-5B02-43D8-AA5C-E2416FBAE48F}"/>
    <dgm:cxn modelId="{0547722D-EC1A-44E3-8A8F-C08B209037E3}" srcId="{A08AFA5F-8B47-4A0D-90C7-D118AC706CDC}" destId="{E9A6A325-7575-4C61-9F5D-1594EBF0FEC0}" srcOrd="3" destOrd="0" parTransId="{F2DCDA2D-9AFB-49F9-BC96-E307BB74CF95}" sibTransId="{B5AEC382-C062-4447-8E1C-2268EBB420DD}"/>
    <dgm:cxn modelId="{4050C336-E8D7-439A-AC09-512797216F3A}" type="presOf" srcId="{1DA9EE2A-5269-4E91-B9FD-9C35DD4D9978}" destId="{A6D4DCF7-D58D-44CF-8362-C3B649A84E00}" srcOrd="0" destOrd="0" presId="urn:microsoft.com/office/officeart/2009/3/layout/RandomtoResultProcess"/>
    <dgm:cxn modelId="{47240160-D87F-491D-A7AB-EAAD318E3FF0}" srcId="{A08AFA5F-8B47-4A0D-90C7-D118AC706CDC}" destId="{7748CE9D-26F4-4C74-8253-819C0EAE298C}" srcOrd="2" destOrd="0" parTransId="{02901F8D-9813-47D9-B16E-95994FBD7DC7}" sibTransId="{6BB5AB43-A2C8-4CD1-8F2D-945F987590A8}"/>
    <dgm:cxn modelId="{855EA348-743D-411F-B172-9B66AC147301}" srcId="{A08AFA5F-8B47-4A0D-90C7-D118AC706CDC}" destId="{A236B837-A026-4FE1-96E1-4E1122CEF438}" srcOrd="5" destOrd="0" parTransId="{18364721-4B62-40D0-AD17-B7C78169BC66}" sibTransId="{0AC5BDCA-289E-4CCD-AFED-37DAE1AE3CCE}"/>
    <dgm:cxn modelId="{0E9AA672-875D-4AA4-BACF-F0BBFC7970E2}" srcId="{A08AFA5F-8B47-4A0D-90C7-D118AC706CDC}" destId="{1DA9EE2A-5269-4E91-B9FD-9C35DD4D9978}" srcOrd="1" destOrd="0" parTransId="{0E6653F6-DBF5-4201-8B7B-CD479FFB26A6}" sibTransId="{B3485604-A3A9-4F50-8759-86C801B53708}"/>
    <dgm:cxn modelId="{0D04188F-9FD5-40FA-BAE9-D2F410C1C360}" srcId="{A08AFA5F-8B47-4A0D-90C7-D118AC706CDC}" destId="{37D4FB1B-E3C0-4BB3-950D-47D77577AEF8}" srcOrd="4" destOrd="0" parTransId="{864061E2-9F00-45FD-A51C-5FFD65A5742C}" sibTransId="{82843BCB-3E6F-4E7F-B716-13B15BA4D692}"/>
    <dgm:cxn modelId="{F569A1AA-7315-4EE3-AF31-5AE31AE5DEA0}" type="presOf" srcId="{A08AFA5F-8B47-4A0D-90C7-D118AC706CDC}" destId="{693C4A7F-E3F4-42F1-98EF-17375025419C}" srcOrd="0" destOrd="0" presId="urn:microsoft.com/office/officeart/2009/3/layout/RandomtoResultProcess"/>
    <dgm:cxn modelId="{4C3FF2BA-2589-42FB-A49E-65E9AA63E157}" type="presOf" srcId="{A236B837-A026-4FE1-96E1-4E1122CEF438}" destId="{4465A32E-0D57-42B9-A5D0-F6086BC8EAFE}" srcOrd="0" destOrd="0" presId="urn:microsoft.com/office/officeart/2009/3/layout/RandomtoResultProcess"/>
    <dgm:cxn modelId="{77A435E5-0D9E-4D33-BD9B-5F6FD9C49796}" type="presOf" srcId="{E9A6A325-7575-4C61-9F5D-1594EBF0FEC0}" destId="{19A1FA05-6803-4B2C-900D-44FE90FC2E15}" srcOrd="0" destOrd="0" presId="urn:microsoft.com/office/officeart/2009/3/layout/RandomtoResultProcess"/>
    <dgm:cxn modelId="{F25471EC-CF6C-4158-9669-A8202F5BA8DD}" type="presOf" srcId="{BAE4B0E0-7705-49EF-BEDE-97026F732711}" destId="{3BACE459-BDF2-4ED5-8F46-77BA86E68B9B}" srcOrd="0" destOrd="0" presId="urn:microsoft.com/office/officeart/2009/3/layout/RandomtoResultProcess"/>
    <dgm:cxn modelId="{B78455F5-99BE-4BCF-9D99-DC9F6A2802A2}" type="presOf" srcId="{37D4FB1B-E3C0-4BB3-950D-47D77577AEF8}" destId="{B2D5A9C5-C1D9-4C88-8AF0-0BA9926E10CF}" srcOrd="0" destOrd="0" presId="urn:microsoft.com/office/officeart/2009/3/layout/RandomtoResultProcess"/>
    <dgm:cxn modelId="{E2843D26-6D23-4A3F-8936-B839BFBFFA67}" type="presParOf" srcId="{693C4A7F-E3F4-42F1-98EF-17375025419C}" destId="{D0E43DF2-0973-4250-B7DF-7C5AEBBDFE6E}" srcOrd="0" destOrd="0" presId="urn:microsoft.com/office/officeart/2009/3/layout/RandomtoResultProcess"/>
    <dgm:cxn modelId="{CBDCDC26-5ED2-4E0A-AF7C-FF07877A4463}" type="presParOf" srcId="{D0E43DF2-0973-4250-B7DF-7C5AEBBDFE6E}" destId="{3BACE459-BDF2-4ED5-8F46-77BA86E68B9B}" srcOrd="0" destOrd="0" presId="urn:microsoft.com/office/officeart/2009/3/layout/RandomtoResultProcess"/>
    <dgm:cxn modelId="{7A72BE6E-C352-405C-A6FB-D978B716A781}" type="presParOf" srcId="{D0E43DF2-0973-4250-B7DF-7C5AEBBDFE6E}" destId="{62E3C05A-7813-4081-ACBE-6041FCECF7AC}" srcOrd="1" destOrd="0" presId="urn:microsoft.com/office/officeart/2009/3/layout/RandomtoResultProcess"/>
    <dgm:cxn modelId="{4B925461-C0D3-4649-BEDB-9072F4A56C5E}" type="presParOf" srcId="{D0E43DF2-0973-4250-B7DF-7C5AEBBDFE6E}" destId="{6F34B41E-088A-4908-BE14-43691A34BE0D}" srcOrd="2" destOrd="0" presId="urn:microsoft.com/office/officeart/2009/3/layout/RandomtoResultProcess"/>
    <dgm:cxn modelId="{BB3EBA74-9B3C-41FD-A647-07068EBCDFDF}" type="presParOf" srcId="{D0E43DF2-0973-4250-B7DF-7C5AEBBDFE6E}" destId="{548774E4-5475-4826-99B2-E05957791C13}" srcOrd="3" destOrd="0" presId="urn:microsoft.com/office/officeart/2009/3/layout/RandomtoResultProcess"/>
    <dgm:cxn modelId="{8130B2E2-DA56-4470-9071-237D061BE038}" type="presParOf" srcId="{D0E43DF2-0973-4250-B7DF-7C5AEBBDFE6E}" destId="{DBFEAA21-19FD-4CD4-9662-41F7A1E12671}" srcOrd="4" destOrd="0" presId="urn:microsoft.com/office/officeart/2009/3/layout/RandomtoResultProcess"/>
    <dgm:cxn modelId="{211FAE41-792C-4DFF-8FAD-C2ACFF8C5161}" type="presParOf" srcId="{D0E43DF2-0973-4250-B7DF-7C5AEBBDFE6E}" destId="{E29C2FED-81B2-48A8-AF3E-75F1384A6ED1}" srcOrd="5" destOrd="0" presId="urn:microsoft.com/office/officeart/2009/3/layout/RandomtoResultProcess"/>
    <dgm:cxn modelId="{29A70A46-2EB1-43F8-8185-C904C30B6371}" type="presParOf" srcId="{D0E43DF2-0973-4250-B7DF-7C5AEBBDFE6E}" destId="{3A8ACDCC-77E4-4AB7-BD56-40FE238CDC5F}" srcOrd="6" destOrd="0" presId="urn:microsoft.com/office/officeart/2009/3/layout/RandomtoResultProcess"/>
    <dgm:cxn modelId="{639ACF8B-3BF9-4E0E-9F03-A339E91A9806}" type="presParOf" srcId="{D0E43DF2-0973-4250-B7DF-7C5AEBBDFE6E}" destId="{BA6EDDE6-60CB-4FAE-803E-81226782716C}" srcOrd="7" destOrd="0" presId="urn:microsoft.com/office/officeart/2009/3/layout/RandomtoResultProcess"/>
    <dgm:cxn modelId="{DA9B8E87-CF04-414D-8A47-2966CABB8894}" type="presParOf" srcId="{D0E43DF2-0973-4250-B7DF-7C5AEBBDFE6E}" destId="{0B47AD5C-275F-4180-B894-E018697FF5CD}" srcOrd="8" destOrd="0" presId="urn:microsoft.com/office/officeart/2009/3/layout/RandomtoResultProcess"/>
    <dgm:cxn modelId="{A51FA096-D991-43B5-8C88-1BD12F13BF79}" type="presParOf" srcId="{D0E43DF2-0973-4250-B7DF-7C5AEBBDFE6E}" destId="{1B8E25A5-F6A3-4655-B41F-0E7152250E60}" srcOrd="9" destOrd="0" presId="urn:microsoft.com/office/officeart/2009/3/layout/RandomtoResultProcess"/>
    <dgm:cxn modelId="{90DFF6F0-E0DD-453E-95BD-51D05E011DB8}" type="presParOf" srcId="{D0E43DF2-0973-4250-B7DF-7C5AEBBDFE6E}" destId="{7464B304-9165-4A65-AC64-78EEDF44DFB3}" srcOrd="10" destOrd="0" presId="urn:microsoft.com/office/officeart/2009/3/layout/RandomtoResultProcess"/>
    <dgm:cxn modelId="{483B166B-DF26-4DF7-ABD6-7BDEA4576C93}" type="presParOf" srcId="{D0E43DF2-0973-4250-B7DF-7C5AEBBDFE6E}" destId="{BE75F35C-6598-41EE-B930-F1AFC9DF11D9}" srcOrd="11" destOrd="0" presId="urn:microsoft.com/office/officeart/2009/3/layout/RandomtoResultProcess"/>
    <dgm:cxn modelId="{24B9E3ED-80CE-4CBE-9186-17327C851356}" type="presParOf" srcId="{D0E43DF2-0973-4250-B7DF-7C5AEBBDFE6E}" destId="{9576FDF3-4DE9-42CF-981F-0F50ACA9ABB7}" srcOrd="12" destOrd="0" presId="urn:microsoft.com/office/officeart/2009/3/layout/RandomtoResultProcess"/>
    <dgm:cxn modelId="{5244751A-04C9-48B1-82B7-57A4447EFB93}" type="presParOf" srcId="{D0E43DF2-0973-4250-B7DF-7C5AEBBDFE6E}" destId="{AD611DA5-9084-4F98-8234-164F5DF058A7}" srcOrd="13" destOrd="0" presId="urn:microsoft.com/office/officeart/2009/3/layout/RandomtoResultProcess"/>
    <dgm:cxn modelId="{DA3FE80D-D42D-430A-939D-C0EAF1395D0E}" type="presParOf" srcId="{D0E43DF2-0973-4250-B7DF-7C5AEBBDFE6E}" destId="{B93570F0-B646-4648-A194-8FF5A456F41F}" srcOrd="14" destOrd="0" presId="urn:microsoft.com/office/officeart/2009/3/layout/RandomtoResultProcess"/>
    <dgm:cxn modelId="{33CC9497-47FC-4A92-A1C7-E7E9AB8FE59D}" type="presParOf" srcId="{D0E43DF2-0973-4250-B7DF-7C5AEBBDFE6E}" destId="{24AE6CEB-1DD1-4B51-85F3-E15B1F386B9D}" srcOrd="15" destOrd="0" presId="urn:microsoft.com/office/officeart/2009/3/layout/RandomtoResultProcess"/>
    <dgm:cxn modelId="{E9CA7678-93A2-494C-90FD-062B57B8D492}" type="presParOf" srcId="{D0E43DF2-0973-4250-B7DF-7C5AEBBDFE6E}" destId="{67893C6F-4CCB-443C-8831-6AE443B57458}" srcOrd="16" destOrd="0" presId="urn:microsoft.com/office/officeart/2009/3/layout/RandomtoResultProcess"/>
    <dgm:cxn modelId="{017B2256-2B53-410F-90DD-A88800CE4765}" type="presParOf" srcId="{D0E43DF2-0973-4250-B7DF-7C5AEBBDFE6E}" destId="{5F087A38-AEBA-4271-823F-E8DCFC5583B5}" srcOrd="17" destOrd="0" presId="urn:microsoft.com/office/officeart/2009/3/layout/RandomtoResultProcess"/>
    <dgm:cxn modelId="{313A99C9-3BA5-42AE-9830-95045086AF3A}" type="presParOf" srcId="{D0E43DF2-0973-4250-B7DF-7C5AEBBDFE6E}" destId="{8824235A-9933-40D5-A096-F8F6EB1A8BDB}" srcOrd="18" destOrd="0" presId="urn:microsoft.com/office/officeart/2009/3/layout/RandomtoResultProcess"/>
    <dgm:cxn modelId="{C08FF4F4-2BBF-4B71-B83F-B1465DFE8BC5}" type="presParOf" srcId="{693C4A7F-E3F4-42F1-98EF-17375025419C}" destId="{36422B41-AD9B-4903-96C1-3487583FFDC9}" srcOrd="1" destOrd="0" presId="urn:microsoft.com/office/officeart/2009/3/layout/RandomtoResultProcess"/>
    <dgm:cxn modelId="{A36C7224-30E0-47A7-B296-17C1C225E114}" type="presParOf" srcId="{36422B41-AD9B-4903-96C1-3487583FFDC9}" destId="{7B4AF352-69E4-4CC2-9236-4CE05CC0131F}" srcOrd="0" destOrd="0" presId="urn:microsoft.com/office/officeart/2009/3/layout/RandomtoResultProcess"/>
    <dgm:cxn modelId="{56D8E0D2-9179-4B4C-B956-AE2F68FFEFC2}" type="presParOf" srcId="{36422B41-AD9B-4903-96C1-3487583FFDC9}" destId="{7F7A20E9-DE3D-481D-AB67-600FE76CBCAF}" srcOrd="1" destOrd="0" presId="urn:microsoft.com/office/officeart/2009/3/layout/RandomtoResultProcess"/>
    <dgm:cxn modelId="{3400023F-8CCD-4B9A-BF19-35E30E513958}" type="presParOf" srcId="{693C4A7F-E3F4-42F1-98EF-17375025419C}" destId="{7ED1BA7C-CEEA-4374-A678-87205F515B3F}" srcOrd="2" destOrd="0" presId="urn:microsoft.com/office/officeart/2009/3/layout/RandomtoResultProcess"/>
    <dgm:cxn modelId="{B6F2B3D4-B03C-4026-976D-7F3957EAB92D}" type="presParOf" srcId="{7ED1BA7C-CEEA-4374-A678-87205F515B3F}" destId="{A6D4DCF7-D58D-44CF-8362-C3B649A84E00}" srcOrd="0" destOrd="0" presId="urn:microsoft.com/office/officeart/2009/3/layout/RandomtoResultProcess"/>
    <dgm:cxn modelId="{8DF13E27-E670-48CB-93BC-1F361A034FD6}" type="presParOf" srcId="{7ED1BA7C-CEEA-4374-A678-87205F515B3F}" destId="{2938FC9B-A4EB-4C8D-AF56-88860E321C75}" srcOrd="1" destOrd="0" presId="urn:microsoft.com/office/officeart/2009/3/layout/RandomtoResultProcess"/>
    <dgm:cxn modelId="{484E2F59-08CC-4182-946C-8F52C2182101}" type="presParOf" srcId="{693C4A7F-E3F4-42F1-98EF-17375025419C}" destId="{521E98A9-36F7-432F-880E-025A1DA3A629}" srcOrd="3" destOrd="0" presId="urn:microsoft.com/office/officeart/2009/3/layout/RandomtoResultProcess"/>
    <dgm:cxn modelId="{F7AB2E2B-4348-407D-B86C-FA1C6C642A88}" type="presParOf" srcId="{521E98A9-36F7-432F-880E-025A1DA3A629}" destId="{FB1C9CAF-353E-4EB2-BB49-484410D0EC09}" srcOrd="0" destOrd="0" presId="urn:microsoft.com/office/officeart/2009/3/layout/RandomtoResultProcess"/>
    <dgm:cxn modelId="{8ABBF575-72F0-4C8E-9321-FBF0901EA1AE}" type="presParOf" srcId="{521E98A9-36F7-432F-880E-025A1DA3A629}" destId="{FEB1CE4A-D39A-4EFE-88C4-7F765E87BBAB}" srcOrd="1" destOrd="0" presId="urn:microsoft.com/office/officeart/2009/3/layout/RandomtoResultProcess"/>
    <dgm:cxn modelId="{EB95EFA7-8D2D-4A39-9252-47AC11535C1E}" type="presParOf" srcId="{693C4A7F-E3F4-42F1-98EF-17375025419C}" destId="{18D98DD6-A53E-4310-8923-D921AF95F306}" srcOrd="4" destOrd="0" presId="urn:microsoft.com/office/officeart/2009/3/layout/RandomtoResultProcess"/>
    <dgm:cxn modelId="{EF795832-A9FB-48FE-9864-6F282169AE97}" type="presParOf" srcId="{18D98DD6-A53E-4310-8923-D921AF95F306}" destId="{8A21DE8C-460A-49F1-B47F-02E88C9BA68F}" srcOrd="0" destOrd="0" presId="urn:microsoft.com/office/officeart/2009/3/layout/RandomtoResultProcess"/>
    <dgm:cxn modelId="{4E1ED1F7-EBE2-43C1-ADE1-C4487D2D06E9}" type="presParOf" srcId="{18D98DD6-A53E-4310-8923-D921AF95F306}" destId="{1D1DAE79-FEDD-4E72-8C35-D5DFC9317F86}" srcOrd="1" destOrd="0" presId="urn:microsoft.com/office/officeart/2009/3/layout/RandomtoResultProcess"/>
    <dgm:cxn modelId="{4F9AE611-211D-4C45-BD5D-EC1A16F844DE}" type="presParOf" srcId="{693C4A7F-E3F4-42F1-98EF-17375025419C}" destId="{8B6FAB26-F384-48F2-A6AB-BE39D1BABD58}" srcOrd="5" destOrd="0" presId="urn:microsoft.com/office/officeart/2009/3/layout/RandomtoResultProcess"/>
    <dgm:cxn modelId="{D8104621-7FFC-4092-BF35-A0893973695C}" type="presParOf" srcId="{8B6FAB26-F384-48F2-A6AB-BE39D1BABD58}" destId="{F1B261A2-0BE7-4D3C-A7AF-C55E19FD29B6}" srcOrd="0" destOrd="0" presId="urn:microsoft.com/office/officeart/2009/3/layout/RandomtoResultProcess"/>
    <dgm:cxn modelId="{3D84B66F-F6AF-4FFE-B8DE-787E13594492}" type="presParOf" srcId="{8B6FAB26-F384-48F2-A6AB-BE39D1BABD58}" destId="{A4CEDFFD-AFCC-4C4A-9BBC-1EE7D9220AB1}" srcOrd="1" destOrd="0" presId="urn:microsoft.com/office/officeart/2009/3/layout/RandomtoResultProcess"/>
    <dgm:cxn modelId="{8415C1E8-AED3-4671-B51B-A6DC5FF8B82C}" type="presParOf" srcId="{693C4A7F-E3F4-42F1-98EF-17375025419C}" destId="{9FAED713-03ED-4425-BE9C-EDD97321969A}" srcOrd="6" destOrd="0" presId="urn:microsoft.com/office/officeart/2009/3/layout/RandomtoResultProcess"/>
    <dgm:cxn modelId="{AFABAD59-80B8-4D8E-8472-EA882EFAB259}" type="presParOf" srcId="{9FAED713-03ED-4425-BE9C-EDD97321969A}" destId="{19A1FA05-6803-4B2C-900D-44FE90FC2E15}" srcOrd="0" destOrd="0" presId="urn:microsoft.com/office/officeart/2009/3/layout/RandomtoResultProcess"/>
    <dgm:cxn modelId="{316F0E77-450B-4E56-88EC-07064A992A6A}" type="presParOf" srcId="{9FAED713-03ED-4425-BE9C-EDD97321969A}" destId="{8D3B4C4B-9A33-425F-A7BF-3B4B24FA4922}" srcOrd="1" destOrd="0" presId="urn:microsoft.com/office/officeart/2009/3/layout/RandomtoResultProcess"/>
    <dgm:cxn modelId="{ABECC04D-6D8E-4A06-A065-11E1AE193FE0}" type="presParOf" srcId="{693C4A7F-E3F4-42F1-98EF-17375025419C}" destId="{FAE25BE8-1F33-463A-939F-A47BA2FCDDF3}" srcOrd="7" destOrd="0" presId="urn:microsoft.com/office/officeart/2009/3/layout/RandomtoResultProcess"/>
    <dgm:cxn modelId="{46921559-2D39-4C37-BF12-8DD38C87917E}" type="presParOf" srcId="{FAE25BE8-1F33-463A-939F-A47BA2FCDDF3}" destId="{0A0B6F1E-812F-4569-AF21-D993E36FEB76}" srcOrd="0" destOrd="0" presId="urn:microsoft.com/office/officeart/2009/3/layout/RandomtoResultProcess"/>
    <dgm:cxn modelId="{6869C601-BFC6-44AF-9032-FE8D4F47BF58}" type="presParOf" srcId="{FAE25BE8-1F33-463A-939F-A47BA2FCDDF3}" destId="{B74FA90F-BB73-4E5E-A0C5-FDD944663056}" srcOrd="1" destOrd="0" presId="urn:microsoft.com/office/officeart/2009/3/layout/RandomtoResultProcess"/>
    <dgm:cxn modelId="{693D3E85-5200-4D0D-A0D2-24D64709FC98}" type="presParOf" srcId="{693C4A7F-E3F4-42F1-98EF-17375025419C}" destId="{22A0885E-EF88-4057-8DBC-E522119A9824}" srcOrd="8" destOrd="0" presId="urn:microsoft.com/office/officeart/2009/3/layout/RandomtoResultProcess"/>
    <dgm:cxn modelId="{52F7371A-3FAD-4F1C-9A5F-B55457AE621E}" type="presParOf" srcId="{22A0885E-EF88-4057-8DBC-E522119A9824}" destId="{B2D5A9C5-C1D9-4C88-8AF0-0BA9926E10CF}" srcOrd="0" destOrd="0" presId="urn:microsoft.com/office/officeart/2009/3/layout/RandomtoResultProcess"/>
    <dgm:cxn modelId="{95B4B5D8-93C5-49CD-BEE1-3F17BCF1345E}" type="presParOf" srcId="{22A0885E-EF88-4057-8DBC-E522119A9824}" destId="{0BD6767A-1B0F-4DF7-B867-5B4326D9CA13}" srcOrd="1" destOrd="0" presId="urn:microsoft.com/office/officeart/2009/3/layout/RandomtoResultProcess"/>
    <dgm:cxn modelId="{AFE159C0-E2D9-4291-8A0A-6EC799D932E2}" type="presParOf" srcId="{693C4A7F-E3F4-42F1-98EF-17375025419C}" destId="{07BC7A88-0781-4731-ADC0-DE079709583A}" srcOrd="9" destOrd="0" presId="urn:microsoft.com/office/officeart/2009/3/layout/RandomtoResultProcess"/>
    <dgm:cxn modelId="{3D48A761-89E9-47A0-87C1-B217DFA0CC7F}" type="presParOf" srcId="{07BC7A88-0781-4731-ADC0-DE079709583A}" destId="{2BAEE747-4822-411B-B5E7-A9E477BDDDC3}" srcOrd="0" destOrd="0" presId="urn:microsoft.com/office/officeart/2009/3/layout/RandomtoResultProcess"/>
    <dgm:cxn modelId="{FA00D008-FDBC-4B0C-BDEE-7469A58AE235}" type="presParOf" srcId="{07BC7A88-0781-4731-ADC0-DE079709583A}" destId="{C1849C1C-64B1-4B12-B71F-3C9EF39F7874}" srcOrd="1" destOrd="0" presId="urn:microsoft.com/office/officeart/2009/3/layout/RandomtoResultProcess"/>
    <dgm:cxn modelId="{8FDCFFD0-7A10-445B-AC0C-AFA4EC6447F3}" type="presParOf" srcId="{693C4A7F-E3F4-42F1-98EF-17375025419C}" destId="{49BE52EC-35CC-4CBC-8304-2025EE20C5DB}" srcOrd="10" destOrd="0" presId="urn:microsoft.com/office/officeart/2009/3/layout/RandomtoResultProcess"/>
    <dgm:cxn modelId="{B7143E67-1F06-4A52-8BB9-990F0B1AF1B5}" type="presParOf" srcId="{49BE52EC-35CC-4CBC-8304-2025EE20C5DB}" destId="{4465A32E-0D57-42B9-A5D0-F6086BC8EAFE}" srcOrd="0" destOrd="0" presId="urn:microsoft.com/office/officeart/2009/3/layout/RandomtoResultProcess"/>
    <dgm:cxn modelId="{907A1FC4-D56D-429B-88EA-4E3DCE0199D5}" type="presParOf" srcId="{49BE52EC-35CC-4CBC-8304-2025EE20C5DB}" destId="{35CD43B8-53FC-4E3D-81DF-A343AAC526FC}" srcOrd="1" destOrd="0" presId="urn:microsoft.com/office/officeart/2009/3/layout/RandomtoResultProcess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95459CA9-5F59-4E72-8AA7-90CA094BA4F5}" type="doc">
      <dgm:prSet loTypeId="urn:microsoft.com/office/officeart/2005/8/layout/process1" loCatId="process" qsTypeId="urn:microsoft.com/office/officeart/2005/8/quickstyle/simple4" qsCatId="simple" csTypeId="urn:microsoft.com/office/officeart/2005/8/colors/accent1_3" csCatId="accent1" phldr="1"/>
      <dgm:spPr/>
    </dgm:pt>
    <dgm:pt modelId="{7158A9E8-5EAF-478B-85B9-05982643DA3B}">
      <dgm:prSet phldrT="[Text]"/>
      <dgm:spPr/>
      <dgm:t>
        <a:bodyPr/>
        <a:lstStyle/>
        <a:p>
          <a:r>
            <a:rPr lang="fr-FR"/>
            <a:t>Identification</a:t>
          </a:r>
        </a:p>
      </dgm:t>
    </dgm:pt>
    <dgm:pt modelId="{A075BEC5-9CA5-4690-8305-B7AA94F42368}" type="parTrans" cxnId="{3D0FBDDA-75B2-46E8-B509-5E3E949838B3}">
      <dgm:prSet/>
      <dgm:spPr/>
      <dgm:t>
        <a:bodyPr/>
        <a:lstStyle/>
        <a:p>
          <a:endParaRPr lang="fr-FR"/>
        </a:p>
      </dgm:t>
    </dgm:pt>
    <dgm:pt modelId="{02BB90FD-022F-4D95-8AF4-C9184665055A}" type="sibTrans" cxnId="{3D0FBDDA-75B2-46E8-B509-5E3E949838B3}">
      <dgm:prSet/>
      <dgm:spPr/>
      <dgm:t>
        <a:bodyPr/>
        <a:lstStyle/>
        <a:p>
          <a:endParaRPr lang="fr-FR"/>
        </a:p>
      </dgm:t>
    </dgm:pt>
    <dgm:pt modelId="{9E30FED4-D8A1-4C49-9E5E-0359F09642BB}">
      <dgm:prSet phldrT="[Text]"/>
      <dgm:spPr/>
      <dgm:t>
        <a:bodyPr/>
        <a:lstStyle/>
        <a:p>
          <a:r>
            <a:rPr lang="fr-FR"/>
            <a:t>Analyse</a:t>
          </a:r>
        </a:p>
      </dgm:t>
    </dgm:pt>
    <dgm:pt modelId="{068E4E0C-AAC6-4BB7-B338-C07D8EEC94BC}" type="parTrans" cxnId="{29EFE1F2-0591-4EDD-881E-BFB92AF66D9C}">
      <dgm:prSet/>
      <dgm:spPr/>
      <dgm:t>
        <a:bodyPr/>
        <a:lstStyle/>
        <a:p>
          <a:endParaRPr lang="fr-FR"/>
        </a:p>
      </dgm:t>
    </dgm:pt>
    <dgm:pt modelId="{3EF2E3F5-19D3-4756-98A7-F58DFBAEB4CF}" type="sibTrans" cxnId="{29EFE1F2-0591-4EDD-881E-BFB92AF66D9C}">
      <dgm:prSet/>
      <dgm:spPr/>
      <dgm:t>
        <a:bodyPr/>
        <a:lstStyle/>
        <a:p>
          <a:endParaRPr lang="fr-FR"/>
        </a:p>
      </dgm:t>
    </dgm:pt>
    <dgm:pt modelId="{83D6D1BC-EF6E-41DD-8EE2-170475322879}">
      <dgm:prSet phldrT="[Text]"/>
      <dgm:spPr/>
      <dgm:t>
        <a:bodyPr/>
        <a:lstStyle/>
        <a:p>
          <a:r>
            <a:rPr lang="fr-FR"/>
            <a:t>Déploiement</a:t>
          </a:r>
        </a:p>
      </dgm:t>
    </dgm:pt>
    <dgm:pt modelId="{CB901ECB-0EED-4986-A721-28F372575A2C}" type="parTrans" cxnId="{DEB735F1-1E55-4021-B1BF-7A8F202920BC}">
      <dgm:prSet/>
      <dgm:spPr/>
      <dgm:t>
        <a:bodyPr/>
        <a:lstStyle/>
        <a:p>
          <a:endParaRPr lang="fr-FR"/>
        </a:p>
      </dgm:t>
    </dgm:pt>
    <dgm:pt modelId="{378A9C09-16C4-41A1-9BE5-D707B8D213AD}" type="sibTrans" cxnId="{DEB735F1-1E55-4021-B1BF-7A8F202920BC}">
      <dgm:prSet/>
      <dgm:spPr/>
      <dgm:t>
        <a:bodyPr/>
        <a:lstStyle/>
        <a:p>
          <a:endParaRPr lang="fr-FR"/>
        </a:p>
      </dgm:t>
    </dgm:pt>
    <dgm:pt modelId="{C820D160-7FB6-4862-B191-7AEF7FAA8517}">
      <dgm:prSet phldrT="[Text]"/>
      <dgm:spPr/>
      <dgm:t>
        <a:bodyPr/>
        <a:lstStyle/>
        <a:p>
          <a:r>
            <a:rPr lang="fr-FR"/>
            <a:t>Développement</a:t>
          </a:r>
        </a:p>
      </dgm:t>
    </dgm:pt>
    <dgm:pt modelId="{2A0E62E6-1CEE-464B-807F-7FA1B1E6FCF8}" type="parTrans" cxnId="{2ADE9D57-CD9B-4125-8E3B-A1CAEB22099E}">
      <dgm:prSet/>
      <dgm:spPr/>
      <dgm:t>
        <a:bodyPr/>
        <a:lstStyle/>
        <a:p>
          <a:endParaRPr lang="fr-FR"/>
        </a:p>
      </dgm:t>
    </dgm:pt>
    <dgm:pt modelId="{44100BC4-FCDA-4D07-88AD-F3777EABA43F}" type="sibTrans" cxnId="{2ADE9D57-CD9B-4125-8E3B-A1CAEB22099E}">
      <dgm:prSet/>
      <dgm:spPr/>
      <dgm:t>
        <a:bodyPr/>
        <a:lstStyle/>
        <a:p>
          <a:endParaRPr lang="fr-FR"/>
        </a:p>
      </dgm:t>
    </dgm:pt>
    <dgm:pt modelId="{0EF9E8FE-821D-4659-A44C-FD8D43C37206}" type="pres">
      <dgm:prSet presAssocID="{95459CA9-5F59-4E72-8AA7-90CA094BA4F5}" presName="Name0" presStyleCnt="0">
        <dgm:presLayoutVars>
          <dgm:dir/>
          <dgm:resizeHandles val="exact"/>
        </dgm:presLayoutVars>
      </dgm:prSet>
      <dgm:spPr/>
    </dgm:pt>
    <dgm:pt modelId="{76707F8C-AD22-4F81-B120-58120452DF90}" type="pres">
      <dgm:prSet presAssocID="{7158A9E8-5EAF-478B-85B9-05982643DA3B}" presName="node" presStyleLbl="node1" presStyleIdx="0" presStyleCnt="4">
        <dgm:presLayoutVars>
          <dgm:bulletEnabled val="1"/>
        </dgm:presLayoutVars>
      </dgm:prSet>
      <dgm:spPr/>
    </dgm:pt>
    <dgm:pt modelId="{57BD6244-BC0F-4BD5-95FF-DC0285614CD5}" type="pres">
      <dgm:prSet presAssocID="{02BB90FD-022F-4D95-8AF4-C9184665055A}" presName="sibTrans" presStyleLbl="sibTrans2D1" presStyleIdx="0" presStyleCnt="3"/>
      <dgm:spPr/>
    </dgm:pt>
    <dgm:pt modelId="{BCB3AF0A-D698-42EA-A49F-E1CAF83B8678}" type="pres">
      <dgm:prSet presAssocID="{02BB90FD-022F-4D95-8AF4-C9184665055A}" presName="connectorText" presStyleLbl="sibTrans2D1" presStyleIdx="0" presStyleCnt="3"/>
      <dgm:spPr/>
    </dgm:pt>
    <dgm:pt modelId="{33E4CA1C-F562-4D28-8EFC-960DA408E4F1}" type="pres">
      <dgm:prSet presAssocID="{9E30FED4-D8A1-4C49-9E5E-0359F09642BB}" presName="node" presStyleLbl="node1" presStyleIdx="1" presStyleCnt="4">
        <dgm:presLayoutVars>
          <dgm:bulletEnabled val="1"/>
        </dgm:presLayoutVars>
      </dgm:prSet>
      <dgm:spPr/>
    </dgm:pt>
    <dgm:pt modelId="{31D37D7B-D7F9-4027-824C-31D812A53532}" type="pres">
      <dgm:prSet presAssocID="{3EF2E3F5-19D3-4756-98A7-F58DFBAEB4CF}" presName="sibTrans" presStyleLbl="sibTrans2D1" presStyleIdx="1" presStyleCnt="3"/>
      <dgm:spPr/>
    </dgm:pt>
    <dgm:pt modelId="{55672BE0-DA65-4912-AFD6-32DD5AC2C89F}" type="pres">
      <dgm:prSet presAssocID="{3EF2E3F5-19D3-4756-98A7-F58DFBAEB4CF}" presName="connectorText" presStyleLbl="sibTrans2D1" presStyleIdx="1" presStyleCnt="3"/>
      <dgm:spPr/>
    </dgm:pt>
    <dgm:pt modelId="{6F612A83-CB00-4B99-93B6-D1CF8081CF6F}" type="pres">
      <dgm:prSet presAssocID="{C820D160-7FB6-4862-B191-7AEF7FAA8517}" presName="node" presStyleLbl="node1" presStyleIdx="2" presStyleCnt="4">
        <dgm:presLayoutVars>
          <dgm:bulletEnabled val="1"/>
        </dgm:presLayoutVars>
      </dgm:prSet>
      <dgm:spPr/>
    </dgm:pt>
    <dgm:pt modelId="{29A9F598-C56A-4ECC-B935-F6E7379798FA}" type="pres">
      <dgm:prSet presAssocID="{44100BC4-FCDA-4D07-88AD-F3777EABA43F}" presName="sibTrans" presStyleLbl="sibTrans2D1" presStyleIdx="2" presStyleCnt="3"/>
      <dgm:spPr/>
    </dgm:pt>
    <dgm:pt modelId="{0B55482F-E30E-4389-807B-FFA6F6CA9128}" type="pres">
      <dgm:prSet presAssocID="{44100BC4-FCDA-4D07-88AD-F3777EABA43F}" presName="connectorText" presStyleLbl="sibTrans2D1" presStyleIdx="2" presStyleCnt="3"/>
      <dgm:spPr/>
    </dgm:pt>
    <dgm:pt modelId="{0C1BF3A1-07CE-42B8-A142-5038E0946646}" type="pres">
      <dgm:prSet presAssocID="{83D6D1BC-EF6E-41DD-8EE2-170475322879}" presName="node" presStyleLbl="node1" presStyleIdx="3" presStyleCnt="4">
        <dgm:presLayoutVars>
          <dgm:bulletEnabled val="1"/>
        </dgm:presLayoutVars>
      </dgm:prSet>
      <dgm:spPr/>
    </dgm:pt>
  </dgm:ptLst>
  <dgm:cxnLst>
    <dgm:cxn modelId="{C58BC907-D634-4A00-BCA8-B1C2F0EEC61B}" type="presOf" srcId="{02BB90FD-022F-4D95-8AF4-C9184665055A}" destId="{BCB3AF0A-D698-42EA-A49F-E1CAF83B8678}" srcOrd="1" destOrd="0" presId="urn:microsoft.com/office/officeart/2005/8/layout/process1"/>
    <dgm:cxn modelId="{6205E735-D281-4BD2-8119-8EDEE002373E}" type="presOf" srcId="{3EF2E3F5-19D3-4756-98A7-F58DFBAEB4CF}" destId="{31D37D7B-D7F9-4027-824C-31D812A53532}" srcOrd="0" destOrd="0" presId="urn:microsoft.com/office/officeart/2005/8/layout/process1"/>
    <dgm:cxn modelId="{1333EB60-DBD6-4773-9EEB-F21E90F7AE5A}" type="presOf" srcId="{44100BC4-FCDA-4D07-88AD-F3777EABA43F}" destId="{29A9F598-C56A-4ECC-B935-F6E7379798FA}" srcOrd="0" destOrd="0" presId="urn:microsoft.com/office/officeart/2005/8/layout/process1"/>
    <dgm:cxn modelId="{B2650668-819E-48DE-A9D5-A136A81B0D0B}" type="presOf" srcId="{95459CA9-5F59-4E72-8AA7-90CA094BA4F5}" destId="{0EF9E8FE-821D-4659-A44C-FD8D43C37206}" srcOrd="0" destOrd="0" presId="urn:microsoft.com/office/officeart/2005/8/layout/process1"/>
    <dgm:cxn modelId="{AA680E57-839A-4D9C-B33C-8A14CF85B217}" type="presOf" srcId="{44100BC4-FCDA-4D07-88AD-F3777EABA43F}" destId="{0B55482F-E30E-4389-807B-FFA6F6CA9128}" srcOrd="1" destOrd="0" presId="urn:microsoft.com/office/officeart/2005/8/layout/process1"/>
    <dgm:cxn modelId="{2ADE9D57-CD9B-4125-8E3B-A1CAEB22099E}" srcId="{95459CA9-5F59-4E72-8AA7-90CA094BA4F5}" destId="{C820D160-7FB6-4862-B191-7AEF7FAA8517}" srcOrd="2" destOrd="0" parTransId="{2A0E62E6-1CEE-464B-807F-7FA1B1E6FCF8}" sibTransId="{44100BC4-FCDA-4D07-88AD-F3777EABA43F}"/>
    <dgm:cxn modelId="{AB89DFA5-2FA9-49E0-A34A-977B08850DFF}" type="presOf" srcId="{9E30FED4-D8A1-4C49-9E5E-0359F09642BB}" destId="{33E4CA1C-F562-4D28-8EFC-960DA408E4F1}" srcOrd="0" destOrd="0" presId="urn:microsoft.com/office/officeart/2005/8/layout/process1"/>
    <dgm:cxn modelId="{3AFE4AB3-4E85-437C-B374-76AB7BA34DBB}" type="presOf" srcId="{3EF2E3F5-19D3-4756-98A7-F58DFBAEB4CF}" destId="{55672BE0-DA65-4912-AFD6-32DD5AC2C89F}" srcOrd="1" destOrd="0" presId="urn:microsoft.com/office/officeart/2005/8/layout/process1"/>
    <dgm:cxn modelId="{087DF7B6-ECF0-4827-B767-2ED8F161D9E5}" type="presOf" srcId="{83D6D1BC-EF6E-41DD-8EE2-170475322879}" destId="{0C1BF3A1-07CE-42B8-A142-5038E0946646}" srcOrd="0" destOrd="0" presId="urn:microsoft.com/office/officeart/2005/8/layout/process1"/>
    <dgm:cxn modelId="{F72732C2-C4E0-41D0-9248-8D8614415829}" type="presOf" srcId="{C820D160-7FB6-4862-B191-7AEF7FAA8517}" destId="{6F612A83-CB00-4B99-93B6-D1CF8081CF6F}" srcOrd="0" destOrd="0" presId="urn:microsoft.com/office/officeart/2005/8/layout/process1"/>
    <dgm:cxn modelId="{0B4673D2-59DB-40E9-BA83-C7900A6D1AEB}" type="presOf" srcId="{02BB90FD-022F-4D95-8AF4-C9184665055A}" destId="{57BD6244-BC0F-4BD5-95FF-DC0285614CD5}" srcOrd="0" destOrd="0" presId="urn:microsoft.com/office/officeart/2005/8/layout/process1"/>
    <dgm:cxn modelId="{3D0FBDDA-75B2-46E8-B509-5E3E949838B3}" srcId="{95459CA9-5F59-4E72-8AA7-90CA094BA4F5}" destId="{7158A9E8-5EAF-478B-85B9-05982643DA3B}" srcOrd="0" destOrd="0" parTransId="{A075BEC5-9CA5-4690-8305-B7AA94F42368}" sibTransId="{02BB90FD-022F-4D95-8AF4-C9184665055A}"/>
    <dgm:cxn modelId="{D02E15E0-C494-4E6F-8345-E484601934CB}" type="presOf" srcId="{7158A9E8-5EAF-478B-85B9-05982643DA3B}" destId="{76707F8C-AD22-4F81-B120-58120452DF90}" srcOrd="0" destOrd="0" presId="urn:microsoft.com/office/officeart/2005/8/layout/process1"/>
    <dgm:cxn modelId="{DEB735F1-1E55-4021-B1BF-7A8F202920BC}" srcId="{95459CA9-5F59-4E72-8AA7-90CA094BA4F5}" destId="{83D6D1BC-EF6E-41DD-8EE2-170475322879}" srcOrd="3" destOrd="0" parTransId="{CB901ECB-0EED-4986-A721-28F372575A2C}" sibTransId="{378A9C09-16C4-41A1-9BE5-D707B8D213AD}"/>
    <dgm:cxn modelId="{29EFE1F2-0591-4EDD-881E-BFB92AF66D9C}" srcId="{95459CA9-5F59-4E72-8AA7-90CA094BA4F5}" destId="{9E30FED4-D8A1-4C49-9E5E-0359F09642BB}" srcOrd="1" destOrd="0" parTransId="{068E4E0C-AAC6-4BB7-B338-C07D8EEC94BC}" sibTransId="{3EF2E3F5-19D3-4756-98A7-F58DFBAEB4CF}"/>
    <dgm:cxn modelId="{84C613BB-E956-4AF3-BBCF-CCE8EB1C57F6}" type="presParOf" srcId="{0EF9E8FE-821D-4659-A44C-FD8D43C37206}" destId="{76707F8C-AD22-4F81-B120-58120452DF90}" srcOrd="0" destOrd="0" presId="urn:microsoft.com/office/officeart/2005/8/layout/process1"/>
    <dgm:cxn modelId="{14FD8B89-743B-43D8-8B01-137CCAC68270}" type="presParOf" srcId="{0EF9E8FE-821D-4659-A44C-FD8D43C37206}" destId="{57BD6244-BC0F-4BD5-95FF-DC0285614CD5}" srcOrd="1" destOrd="0" presId="urn:microsoft.com/office/officeart/2005/8/layout/process1"/>
    <dgm:cxn modelId="{FCE24A5C-5E78-4157-B5D9-8B461009ECC3}" type="presParOf" srcId="{57BD6244-BC0F-4BD5-95FF-DC0285614CD5}" destId="{BCB3AF0A-D698-42EA-A49F-E1CAF83B8678}" srcOrd="0" destOrd="0" presId="urn:microsoft.com/office/officeart/2005/8/layout/process1"/>
    <dgm:cxn modelId="{1C0091A8-4CF0-4CDD-A9FC-C8A5FA77B6D9}" type="presParOf" srcId="{0EF9E8FE-821D-4659-A44C-FD8D43C37206}" destId="{33E4CA1C-F562-4D28-8EFC-960DA408E4F1}" srcOrd="2" destOrd="0" presId="urn:microsoft.com/office/officeart/2005/8/layout/process1"/>
    <dgm:cxn modelId="{7116927D-2903-4341-B4B0-4A004E5468A2}" type="presParOf" srcId="{0EF9E8FE-821D-4659-A44C-FD8D43C37206}" destId="{31D37D7B-D7F9-4027-824C-31D812A53532}" srcOrd="3" destOrd="0" presId="urn:microsoft.com/office/officeart/2005/8/layout/process1"/>
    <dgm:cxn modelId="{02359473-F2E2-4699-B7E9-69CFBE4560AB}" type="presParOf" srcId="{31D37D7B-D7F9-4027-824C-31D812A53532}" destId="{55672BE0-DA65-4912-AFD6-32DD5AC2C89F}" srcOrd="0" destOrd="0" presId="urn:microsoft.com/office/officeart/2005/8/layout/process1"/>
    <dgm:cxn modelId="{9FCEEBE2-5E09-45E9-9D95-7FFC7EA3D66C}" type="presParOf" srcId="{0EF9E8FE-821D-4659-A44C-FD8D43C37206}" destId="{6F612A83-CB00-4B99-93B6-D1CF8081CF6F}" srcOrd="4" destOrd="0" presId="urn:microsoft.com/office/officeart/2005/8/layout/process1"/>
    <dgm:cxn modelId="{828BAAED-28E2-4FA6-B651-7C9174C10DF0}" type="presParOf" srcId="{0EF9E8FE-821D-4659-A44C-FD8D43C37206}" destId="{29A9F598-C56A-4ECC-B935-F6E7379798FA}" srcOrd="5" destOrd="0" presId="urn:microsoft.com/office/officeart/2005/8/layout/process1"/>
    <dgm:cxn modelId="{C0C74E9A-63F6-414D-9D30-BE08E0D7D46F}" type="presParOf" srcId="{29A9F598-C56A-4ECC-B935-F6E7379798FA}" destId="{0B55482F-E30E-4389-807B-FFA6F6CA9128}" srcOrd="0" destOrd="0" presId="urn:microsoft.com/office/officeart/2005/8/layout/process1"/>
    <dgm:cxn modelId="{A76D646D-B5FD-4732-8494-291117940B4F}" type="presParOf" srcId="{0EF9E8FE-821D-4659-A44C-FD8D43C37206}" destId="{0C1BF3A1-07CE-42B8-A142-5038E0946646}" srcOrd="6" destOrd="0" presId="urn:microsoft.com/office/officeart/2005/8/layout/process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0.xml><?xml version="1.0" encoding="utf-8"?>
<dgm:dataModel xmlns:dgm="http://schemas.openxmlformats.org/drawingml/2006/diagram" xmlns:a="http://schemas.openxmlformats.org/drawingml/2006/main">
  <dgm:ptLst>
    <dgm:pt modelId="{95459CA9-5F59-4E72-8AA7-90CA094BA4F5}" type="doc">
      <dgm:prSet loTypeId="urn:microsoft.com/office/officeart/2005/8/layout/process1" loCatId="process" qsTypeId="urn:microsoft.com/office/officeart/2005/8/quickstyle/simple4" qsCatId="simple" csTypeId="urn:microsoft.com/office/officeart/2005/8/colors/accent1_3" csCatId="accent1" phldr="1"/>
      <dgm:spPr/>
    </dgm:pt>
    <dgm:pt modelId="{7158A9E8-5EAF-478B-85B9-05982643DA3B}">
      <dgm:prSet phldrT="[Text]"/>
      <dgm:spPr/>
      <dgm:t>
        <a:bodyPr/>
        <a:lstStyle/>
        <a:p>
          <a:r>
            <a:rPr lang="fr-FR"/>
            <a:t>Identification</a:t>
          </a:r>
        </a:p>
      </dgm:t>
    </dgm:pt>
    <dgm:pt modelId="{A075BEC5-9CA5-4690-8305-B7AA94F42368}" type="parTrans" cxnId="{3D0FBDDA-75B2-46E8-B509-5E3E949838B3}">
      <dgm:prSet/>
      <dgm:spPr/>
      <dgm:t>
        <a:bodyPr/>
        <a:lstStyle/>
        <a:p>
          <a:endParaRPr lang="fr-FR"/>
        </a:p>
      </dgm:t>
    </dgm:pt>
    <dgm:pt modelId="{02BB90FD-022F-4D95-8AF4-C9184665055A}" type="sibTrans" cxnId="{3D0FBDDA-75B2-46E8-B509-5E3E949838B3}">
      <dgm:prSet/>
      <dgm:spPr/>
      <dgm:t>
        <a:bodyPr/>
        <a:lstStyle/>
        <a:p>
          <a:endParaRPr lang="fr-FR"/>
        </a:p>
      </dgm:t>
    </dgm:pt>
    <dgm:pt modelId="{9E30FED4-D8A1-4C49-9E5E-0359F09642BB}">
      <dgm:prSet phldrT="[Text]"/>
      <dgm:spPr/>
      <dgm:t>
        <a:bodyPr/>
        <a:lstStyle/>
        <a:p>
          <a:r>
            <a:rPr lang="fr-FR"/>
            <a:t>Analyse</a:t>
          </a:r>
        </a:p>
      </dgm:t>
    </dgm:pt>
    <dgm:pt modelId="{068E4E0C-AAC6-4BB7-B338-C07D8EEC94BC}" type="parTrans" cxnId="{29EFE1F2-0591-4EDD-881E-BFB92AF66D9C}">
      <dgm:prSet/>
      <dgm:spPr/>
      <dgm:t>
        <a:bodyPr/>
        <a:lstStyle/>
        <a:p>
          <a:endParaRPr lang="fr-FR"/>
        </a:p>
      </dgm:t>
    </dgm:pt>
    <dgm:pt modelId="{3EF2E3F5-19D3-4756-98A7-F58DFBAEB4CF}" type="sibTrans" cxnId="{29EFE1F2-0591-4EDD-881E-BFB92AF66D9C}">
      <dgm:prSet/>
      <dgm:spPr/>
      <dgm:t>
        <a:bodyPr/>
        <a:lstStyle/>
        <a:p>
          <a:endParaRPr lang="fr-FR"/>
        </a:p>
      </dgm:t>
    </dgm:pt>
    <dgm:pt modelId="{83D6D1BC-EF6E-41DD-8EE2-170475322879}">
      <dgm:prSet phldrT="[Text]"/>
      <dgm:spPr/>
      <dgm:t>
        <a:bodyPr/>
        <a:lstStyle/>
        <a:p>
          <a:r>
            <a:rPr lang="fr-FR"/>
            <a:t>Déploiement</a:t>
          </a:r>
        </a:p>
      </dgm:t>
    </dgm:pt>
    <dgm:pt modelId="{CB901ECB-0EED-4986-A721-28F372575A2C}" type="parTrans" cxnId="{DEB735F1-1E55-4021-B1BF-7A8F202920BC}">
      <dgm:prSet/>
      <dgm:spPr/>
      <dgm:t>
        <a:bodyPr/>
        <a:lstStyle/>
        <a:p>
          <a:endParaRPr lang="fr-FR"/>
        </a:p>
      </dgm:t>
    </dgm:pt>
    <dgm:pt modelId="{378A9C09-16C4-41A1-9BE5-D707B8D213AD}" type="sibTrans" cxnId="{DEB735F1-1E55-4021-B1BF-7A8F202920BC}">
      <dgm:prSet/>
      <dgm:spPr/>
      <dgm:t>
        <a:bodyPr/>
        <a:lstStyle/>
        <a:p>
          <a:endParaRPr lang="fr-FR"/>
        </a:p>
      </dgm:t>
    </dgm:pt>
    <dgm:pt modelId="{C820D160-7FB6-4862-B191-7AEF7FAA8517}">
      <dgm:prSet phldrT="[Text]"/>
      <dgm:spPr/>
      <dgm:t>
        <a:bodyPr/>
        <a:lstStyle/>
        <a:p>
          <a:r>
            <a:rPr lang="fr-FR"/>
            <a:t>Développement</a:t>
          </a:r>
        </a:p>
      </dgm:t>
    </dgm:pt>
    <dgm:pt modelId="{2A0E62E6-1CEE-464B-807F-7FA1B1E6FCF8}" type="parTrans" cxnId="{2ADE9D57-CD9B-4125-8E3B-A1CAEB22099E}">
      <dgm:prSet/>
      <dgm:spPr/>
      <dgm:t>
        <a:bodyPr/>
        <a:lstStyle/>
        <a:p>
          <a:endParaRPr lang="fr-FR"/>
        </a:p>
      </dgm:t>
    </dgm:pt>
    <dgm:pt modelId="{44100BC4-FCDA-4D07-88AD-F3777EABA43F}" type="sibTrans" cxnId="{2ADE9D57-CD9B-4125-8E3B-A1CAEB22099E}">
      <dgm:prSet/>
      <dgm:spPr/>
      <dgm:t>
        <a:bodyPr/>
        <a:lstStyle/>
        <a:p>
          <a:endParaRPr lang="fr-FR"/>
        </a:p>
      </dgm:t>
    </dgm:pt>
    <dgm:pt modelId="{0EF9E8FE-821D-4659-A44C-FD8D43C37206}" type="pres">
      <dgm:prSet presAssocID="{95459CA9-5F59-4E72-8AA7-90CA094BA4F5}" presName="Name0" presStyleCnt="0">
        <dgm:presLayoutVars>
          <dgm:dir/>
          <dgm:resizeHandles val="exact"/>
        </dgm:presLayoutVars>
      </dgm:prSet>
      <dgm:spPr/>
    </dgm:pt>
    <dgm:pt modelId="{76707F8C-AD22-4F81-B120-58120452DF90}" type="pres">
      <dgm:prSet presAssocID="{7158A9E8-5EAF-478B-85B9-05982643DA3B}" presName="node" presStyleLbl="node1" presStyleIdx="0" presStyleCnt="4">
        <dgm:presLayoutVars>
          <dgm:bulletEnabled val="1"/>
        </dgm:presLayoutVars>
      </dgm:prSet>
      <dgm:spPr/>
    </dgm:pt>
    <dgm:pt modelId="{57BD6244-BC0F-4BD5-95FF-DC0285614CD5}" type="pres">
      <dgm:prSet presAssocID="{02BB90FD-022F-4D95-8AF4-C9184665055A}" presName="sibTrans" presStyleLbl="sibTrans2D1" presStyleIdx="0" presStyleCnt="3"/>
      <dgm:spPr/>
    </dgm:pt>
    <dgm:pt modelId="{BCB3AF0A-D698-42EA-A49F-E1CAF83B8678}" type="pres">
      <dgm:prSet presAssocID="{02BB90FD-022F-4D95-8AF4-C9184665055A}" presName="connectorText" presStyleLbl="sibTrans2D1" presStyleIdx="0" presStyleCnt="3"/>
      <dgm:spPr/>
    </dgm:pt>
    <dgm:pt modelId="{33E4CA1C-F562-4D28-8EFC-960DA408E4F1}" type="pres">
      <dgm:prSet presAssocID="{9E30FED4-D8A1-4C49-9E5E-0359F09642BB}" presName="node" presStyleLbl="node1" presStyleIdx="1" presStyleCnt="4">
        <dgm:presLayoutVars>
          <dgm:bulletEnabled val="1"/>
        </dgm:presLayoutVars>
      </dgm:prSet>
      <dgm:spPr/>
    </dgm:pt>
    <dgm:pt modelId="{31D37D7B-D7F9-4027-824C-31D812A53532}" type="pres">
      <dgm:prSet presAssocID="{3EF2E3F5-19D3-4756-98A7-F58DFBAEB4CF}" presName="sibTrans" presStyleLbl="sibTrans2D1" presStyleIdx="1" presStyleCnt="3"/>
      <dgm:spPr/>
    </dgm:pt>
    <dgm:pt modelId="{55672BE0-DA65-4912-AFD6-32DD5AC2C89F}" type="pres">
      <dgm:prSet presAssocID="{3EF2E3F5-19D3-4756-98A7-F58DFBAEB4CF}" presName="connectorText" presStyleLbl="sibTrans2D1" presStyleIdx="1" presStyleCnt="3"/>
      <dgm:spPr/>
    </dgm:pt>
    <dgm:pt modelId="{6F612A83-CB00-4B99-93B6-D1CF8081CF6F}" type="pres">
      <dgm:prSet presAssocID="{C820D160-7FB6-4862-B191-7AEF7FAA8517}" presName="node" presStyleLbl="node1" presStyleIdx="2" presStyleCnt="4">
        <dgm:presLayoutVars>
          <dgm:bulletEnabled val="1"/>
        </dgm:presLayoutVars>
      </dgm:prSet>
      <dgm:spPr/>
    </dgm:pt>
    <dgm:pt modelId="{29A9F598-C56A-4ECC-B935-F6E7379798FA}" type="pres">
      <dgm:prSet presAssocID="{44100BC4-FCDA-4D07-88AD-F3777EABA43F}" presName="sibTrans" presStyleLbl="sibTrans2D1" presStyleIdx="2" presStyleCnt="3"/>
      <dgm:spPr/>
    </dgm:pt>
    <dgm:pt modelId="{0B55482F-E30E-4389-807B-FFA6F6CA9128}" type="pres">
      <dgm:prSet presAssocID="{44100BC4-FCDA-4D07-88AD-F3777EABA43F}" presName="connectorText" presStyleLbl="sibTrans2D1" presStyleIdx="2" presStyleCnt="3"/>
      <dgm:spPr/>
    </dgm:pt>
    <dgm:pt modelId="{0C1BF3A1-07CE-42B8-A142-5038E0946646}" type="pres">
      <dgm:prSet presAssocID="{83D6D1BC-EF6E-41DD-8EE2-170475322879}" presName="node" presStyleLbl="node1" presStyleIdx="3" presStyleCnt="4">
        <dgm:presLayoutVars>
          <dgm:bulletEnabled val="1"/>
        </dgm:presLayoutVars>
      </dgm:prSet>
      <dgm:spPr/>
    </dgm:pt>
  </dgm:ptLst>
  <dgm:cxnLst>
    <dgm:cxn modelId="{C58BC907-D634-4A00-BCA8-B1C2F0EEC61B}" type="presOf" srcId="{02BB90FD-022F-4D95-8AF4-C9184665055A}" destId="{BCB3AF0A-D698-42EA-A49F-E1CAF83B8678}" srcOrd="1" destOrd="0" presId="urn:microsoft.com/office/officeart/2005/8/layout/process1"/>
    <dgm:cxn modelId="{6205E735-D281-4BD2-8119-8EDEE002373E}" type="presOf" srcId="{3EF2E3F5-19D3-4756-98A7-F58DFBAEB4CF}" destId="{31D37D7B-D7F9-4027-824C-31D812A53532}" srcOrd="0" destOrd="0" presId="urn:microsoft.com/office/officeart/2005/8/layout/process1"/>
    <dgm:cxn modelId="{1333EB60-DBD6-4773-9EEB-F21E90F7AE5A}" type="presOf" srcId="{44100BC4-FCDA-4D07-88AD-F3777EABA43F}" destId="{29A9F598-C56A-4ECC-B935-F6E7379798FA}" srcOrd="0" destOrd="0" presId="urn:microsoft.com/office/officeart/2005/8/layout/process1"/>
    <dgm:cxn modelId="{B2650668-819E-48DE-A9D5-A136A81B0D0B}" type="presOf" srcId="{95459CA9-5F59-4E72-8AA7-90CA094BA4F5}" destId="{0EF9E8FE-821D-4659-A44C-FD8D43C37206}" srcOrd="0" destOrd="0" presId="urn:microsoft.com/office/officeart/2005/8/layout/process1"/>
    <dgm:cxn modelId="{AA680E57-839A-4D9C-B33C-8A14CF85B217}" type="presOf" srcId="{44100BC4-FCDA-4D07-88AD-F3777EABA43F}" destId="{0B55482F-E30E-4389-807B-FFA6F6CA9128}" srcOrd="1" destOrd="0" presId="urn:microsoft.com/office/officeart/2005/8/layout/process1"/>
    <dgm:cxn modelId="{2ADE9D57-CD9B-4125-8E3B-A1CAEB22099E}" srcId="{95459CA9-5F59-4E72-8AA7-90CA094BA4F5}" destId="{C820D160-7FB6-4862-B191-7AEF7FAA8517}" srcOrd="2" destOrd="0" parTransId="{2A0E62E6-1CEE-464B-807F-7FA1B1E6FCF8}" sibTransId="{44100BC4-FCDA-4D07-88AD-F3777EABA43F}"/>
    <dgm:cxn modelId="{AB89DFA5-2FA9-49E0-A34A-977B08850DFF}" type="presOf" srcId="{9E30FED4-D8A1-4C49-9E5E-0359F09642BB}" destId="{33E4CA1C-F562-4D28-8EFC-960DA408E4F1}" srcOrd="0" destOrd="0" presId="urn:microsoft.com/office/officeart/2005/8/layout/process1"/>
    <dgm:cxn modelId="{3AFE4AB3-4E85-437C-B374-76AB7BA34DBB}" type="presOf" srcId="{3EF2E3F5-19D3-4756-98A7-F58DFBAEB4CF}" destId="{55672BE0-DA65-4912-AFD6-32DD5AC2C89F}" srcOrd="1" destOrd="0" presId="urn:microsoft.com/office/officeart/2005/8/layout/process1"/>
    <dgm:cxn modelId="{087DF7B6-ECF0-4827-B767-2ED8F161D9E5}" type="presOf" srcId="{83D6D1BC-EF6E-41DD-8EE2-170475322879}" destId="{0C1BF3A1-07CE-42B8-A142-5038E0946646}" srcOrd="0" destOrd="0" presId="urn:microsoft.com/office/officeart/2005/8/layout/process1"/>
    <dgm:cxn modelId="{F72732C2-C4E0-41D0-9248-8D8614415829}" type="presOf" srcId="{C820D160-7FB6-4862-B191-7AEF7FAA8517}" destId="{6F612A83-CB00-4B99-93B6-D1CF8081CF6F}" srcOrd="0" destOrd="0" presId="urn:microsoft.com/office/officeart/2005/8/layout/process1"/>
    <dgm:cxn modelId="{0B4673D2-59DB-40E9-BA83-C7900A6D1AEB}" type="presOf" srcId="{02BB90FD-022F-4D95-8AF4-C9184665055A}" destId="{57BD6244-BC0F-4BD5-95FF-DC0285614CD5}" srcOrd="0" destOrd="0" presId="urn:microsoft.com/office/officeart/2005/8/layout/process1"/>
    <dgm:cxn modelId="{3D0FBDDA-75B2-46E8-B509-5E3E949838B3}" srcId="{95459CA9-5F59-4E72-8AA7-90CA094BA4F5}" destId="{7158A9E8-5EAF-478B-85B9-05982643DA3B}" srcOrd="0" destOrd="0" parTransId="{A075BEC5-9CA5-4690-8305-B7AA94F42368}" sibTransId="{02BB90FD-022F-4D95-8AF4-C9184665055A}"/>
    <dgm:cxn modelId="{D02E15E0-C494-4E6F-8345-E484601934CB}" type="presOf" srcId="{7158A9E8-5EAF-478B-85B9-05982643DA3B}" destId="{76707F8C-AD22-4F81-B120-58120452DF90}" srcOrd="0" destOrd="0" presId="urn:microsoft.com/office/officeart/2005/8/layout/process1"/>
    <dgm:cxn modelId="{DEB735F1-1E55-4021-B1BF-7A8F202920BC}" srcId="{95459CA9-5F59-4E72-8AA7-90CA094BA4F5}" destId="{83D6D1BC-EF6E-41DD-8EE2-170475322879}" srcOrd="3" destOrd="0" parTransId="{CB901ECB-0EED-4986-A721-28F372575A2C}" sibTransId="{378A9C09-16C4-41A1-9BE5-D707B8D213AD}"/>
    <dgm:cxn modelId="{29EFE1F2-0591-4EDD-881E-BFB92AF66D9C}" srcId="{95459CA9-5F59-4E72-8AA7-90CA094BA4F5}" destId="{9E30FED4-D8A1-4C49-9E5E-0359F09642BB}" srcOrd="1" destOrd="0" parTransId="{068E4E0C-AAC6-4BB7-B338-C07D8EEC94BC}" sibTransId="{3EF2E3F5-19D3-4756-98A7-F58DFBAEB4CF}"/>
    <dgm:cxn modelId="{84C613BB-E956-4AF3-BBCF-CCE8EB1C57F6}" type="presParOf" srcId="{0EF9E8FE-821D-4659-A44C-FD8D43C37206}" destId="{76707F8C-AD22-4F81-B120-58120452DF90}" srcOrd="0" destOrd="0" presId="urn:microsoft.com/office/officeart/2005/8/layout/process1"/>
    <dgm:cxn modelId="{14FD8B89-743B-43D8-8B01-137CCAC68270}" type="presParOf" srcId="{0EF9E8FE-821D-4659-A44C-FD8D43C37206}" destId="{57BD6244-BC0F-4BD5-95FF-DC0285614CD5}" srcOrd="1" destOrd="0" presId="urn:microsoft.com/office/officeart/2005/8/layout/process1"/>
    <dgm:cxn modelId="{FCE24A5C-5E78-4157-B5D9-8B461009ECC3}" type="presParOf" srcId="{57BD6244-BC0F-4BD5-95FF-DC0285614CD5}" destId="{BCB3AF0A-D698-42EA-A49F-E1CAF83B8678}" srcOrd="0" destOrd="0" presId="urn:microsoft.com/office/officeart/2005/8/layout/process1"/>
    <dgm:cxn modelId="{1C0091A8-4CF0-4CDD-A9FC-C8A5FA77B6D9}" type="presParOf" srcId="{0EF9E8FE-821D-4659-A44C-FD8D43C37206}" destId="{33E4CA1C-F562-4D28-8EFC-960DA408E4F1}" srcOrd="2" destOrd="0" presId="urn:microsoft.com/office/officeart/2005/8/layout/process1"/>
    <dgm:cxn modelId="{7116927D-2903-4341-B4B0-4A004E5468A2}" type="presParOf" srcId="{0EF9E8FE-821D-4659-A44C-FD8D43C37206}" destId="{31D37D7B-D7F9-4027-824C-31D812A53532}" srcOrd="3" destOrd="0" presId="urn:microsoft.com/office/officeart/2005/8/layout/process1"/>
    <dgm:cxn modelId="{02359473-F2E2-4699-B7E9-69CFBE4560AB}" type="presParOf" srcId="{31D37D7B-D7F9-4027-824C-31D812A53532}" destId="{55672BE0-DA65-4912-AFD6-32DD5AC2C89F}" srcOrd="0" destOrd="0" presId="urn:microsoft.com/office/officeart/2005/8/layout/process1"/>
    <dgm:cxn modelId="{9FCEEBE2-5E09-45E9-9D95-7FFC7EA3D66C}" type="presParOf" srcId="{0EF9E8FE-821D-4659-A44C-FD8D43C37206}" destId="{6F612A83-CB00-4B99-93B6-D1CF8081CF6F}" srcOrd="4" destOrd="0" presId="urn:microsoft.com/office/officeart/2005/8/layout/process1"/>
    <dgm:cxn modelId="{828BAAED-28E2-4FA6-B651-7C9174C10DF0}" type="presParOf" srcId="{0EF9E8FE-821D-4659-A44C-FD8D43C37206}" destId="{29A9F598-C56A-4ECC-B935-F6E7379798FA}" srcOrd="5" destOrd="0" presId="urn:microsoft.com/office/officeart/2005/8/layout/process1"/>
    <dgm:cxn modelId="{C0C74E9A-63F6-414D-9D30-BE08E0D7D46F}" type="presParOf" srcId="{29A9F598-C56A-4ECC-B935-F6E7379798FA}" destId="{0B55482F-E30E-4389-807B-FFA6F6CA9128}" srcOrd="0" destOrd="0" presId="urn:microsoft.com/office/officeart/2005/8/layout/process1"/>
    <dgm:cxn modelId="{A76D646D-B5FD-4732-8494-291117940B4F}" type="presParOf" srcId="{0EF9E8FE-821D-4659-A44C-FD8D43C37206}" destId="{0C1BF3A1-07CE-42B8-A142-5038E0946646}" srcOrd="6" destOrd="0" presId="urn:microsoft.com/office/officeart/2005/8/layout/process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0A03F5A8-F3FD-45D9-9484-B55D868B8EF8}" type="doc">
      <dgm:prSet loTypeId="urn:microsoft.com/office/officeart/2005/8/layout/hierarchy2" loCatId="hierarchy" qsTypeId="urn:microsoft.com/office/officeart/2005/8/quickstyle/simple1" qsCatId="simple" csTypeId="urn:microsoft.com/office/officeart/2005/8/colors/colorful4" csCatId="colorful" phldr="1"/>
      <dgm:spPr/>
      <dgm:t>
        <a:bodyPr/>
        <a:lstStyle/>
        <a:p>
          <a:endParaRPr lang="fr-FR"/>
        </a:p>
      </dgm:t>
    </dgm:pt>
    <dgm:pt modelId="{5AFE294F-2C5A-4855-92D7-D951F2364B24}">
      <dgm:prSet phldrT="[Text]"/>
      <dgm:spPr/>
      <dgm:t>
        <a:bodyPr/>
        <a:lstStyle/>
        <a:p>
          <a:r>
            <a:rPr lang="fr-FR" noProof="0"/>
            <a:t>Déclaration Sinistre Auto</a:t>
          </a:r>
        </a:p>
      </dgm:t>
    </dgm:pt>
    <dgm:pt modelId="{59071923-9C14-4471-B358-4D2ED5014DA0}" type="parTrans" cxnId="{26563084-E3C3-44C5-A4DD-B0405719EAC8}">
      <dgm:prSet/>
      <dgm:spPr/>
      <dgm:t>
        <a:bodyPr/>
        <a:lstStyle/>
        <a:p>
          <a:endParaRPr lang="fr-FR"/>
        </a:p>
      </dgm:t>
    </dgm:pt>
    <dgm:pt modelId="{658A2DAE-EECD-4864-AC63-1E03841E93DC}" type="sibTrans" cxnId="{26563084-E3C3-44C5-A4DD-B0405719EAC8}">
      <dgm:prSet/>
      <dgm:spPr/>
      <dgm:t>
        <a:bodyPr/>
        <a:lstStyle/>
        <a:p>
          <a:endParaRPr lang="fr-FR"/>
        </a:p>
      </dgm:t>
    </dgm:pt>
    <dgm:pt modelId="{10AD6D04-1F96-446C-9D6B-934B83F073EE}">
      <dgm:prSet phldrT="[Text]"/>
      <dgm:spPr/>
      <dgm:t>
        <a:bodyPr/>
        <a:lstStyle/>
        <a:p>
          <a:r>
            <a:rPr lang="fr-FR" noProof="0"/>
            <a:t>Login Wac</a:t>
          </a:r>
        </a:p>
      </dgm:t>
    </dgm:pt>
    <dgm:pt modelId="{830D246C-E2B3-4B4C-B993-2E0FABC2686C}" type="parTrans" cxnId="{1D0745CA-FAE3-4E64-AFCD-79A77238E8DC}">
      <dgm:prSet/>
      <dgm:spPr/>
      <dgm:t>
        <a:bodyPr/>
        <a:lstStyle/>
        <a:p>
          <a:endParaRPr lang="fr-FR"/>
        </a:p>
      </dgm:t>
    </dgm:pt>
    <dgm:pt modelId="{71D29F6D-0616-4931-8E8B-F15609D95926}" type="sibTrans" cxnId="{1D0745CA-FAE3-4E64-AFCD-79A77238E8DC}">
      <dgm:prSet/>
      <dgm:spPr/>
      <dgm:t>
        <a:bodyPr/>
        <a:lstStyle/>
        <a:p>
          <a:endParaRPr lang="fr-FR"/>
        </a:p>
      </dgm:t>
    </dgm:pt>
    <dgm:pt modelId="{88E629E6-E1C0-4EF9-97B5-325C470BB551}">
      <dgm:prSet phldrT="[Text]"/>
      <dgm:spPr/>
      <dgm:t>
        <a:bodyPr/>
        <a:lstStyle/>
        <a:p>
          <a:r>
            <a:rPr lang="fr-FR" noProof="0"/>
            <a:t>Nouveau Sinistre Auto</a:t>
          </a:r>
        </a:p>
      </dgm:t>
    </dgm:pt>
    <dgm:pt modelId="{9B9B9D39-E2C5-41F7-AE05-923673A1648A}" type="parTrans" cxnId="{24C5520A-9F72-4651-8071-B18B9233CB1F}">
      <dgm:prSet/>
      <dgm:spPr/>
      <dgm:t>
        <a:bodyPr/>
        <a:lstStyle/>
        <a:p>
          <a:endParaRPr lang="fr-FR"/>
        </a:p>
      </dgm:t>
    </dgm:pt>
    <dgm:pt modelId="{0098208C-12AB-4E3B-B209-464C2E6B34E2}" type="sibTrans" cxnId="{24C5520A-9F72-4651-8071-B18B9233CB1F}">
      <dgm:prSet/>
      <dgm:spPr/>
      <dgm:t>
        <a:bodyPr/>
        <a:lstStyle/>
        <a:p>
          <a:endParaRPr lang="fr-FR"/>
        </a:p>
      </dgm:t>
    </dgm:pt>
    <dgm:pt modelId="{AA4D55BF-4B3C-401A-9F7A-BC25A75F9B83}">
      <dgm:prSet phldrT="[Text]"/>
      <dgm:spPr/>
      <dgm:t>
        <a:bodyPr/>
        <a:lstStyle/>
        <a:p>
          <a:r>
            <a:rPr lang="en-US" noProof="0"/>
            <a:t>Fin Declaration</a:t>
          </a:r>
          <a:endParaRPr lang="fr-FR" noProof="0"/>
        </a:p>
      </dgm:t>
    </dgm:pt>
    <dgm:pt modelId="{D4FEC653-CBE1-4896-AA74-B5E1A62A4C97}" type="parTrans" cxnId="{A4E1F1B9-C95D-45E2-B6A0-C39D46E8FB6E}">
      <dgm:prSet/>
      <dgm:spPr/>
      <dgm:t>
        <a:bodyPr/>
        <a:lstStyle/>
        <a:p>
          <a:endParaRPr lang="fr-FR"/>
        </a:p>
      </dgm:t>
    </dgm:pt>
    <dgm:pt modelId="{2FC15A8F-F584-4588-B9D4-3EE7EFDD465C}" type="sibTrans" cxnId="{A4E1F1B9-C95D-45E2-B6A0-C39D46E8FB6E}">
      <dgm:prSet/>
      <dgm:spPr/>
      <dgm:t>
        <a:bodyPr/>
        <a:lstStyle/>
        <a:p>
          <a:endParaRPr lang="fr-FR"/>
        </a:p>
      </dgm:t>
    </dgm:pt>
    <dgm:pt modelId="{55815225-F99C-4F51-ADD4-454BE462E3C7}">
      <dgm:prSet phldrT="[Text]"/>
      <dgm:spPr/>
      <dgm:t>
        <a:bodyPr/>
        <a:lstStyle/>
        <a:p>
          <a:r>
            <a:rPr lang="fr-FR" noProof="0"/>
            <a:t>Contexte Sinistre Auto</a:t>
          </a:r>
        </a:p>
      </dgm:t>
    </dgm:pt>
    <dgm:pt modelId="{E61AB607-D762-46F4-B750-B4D0C3A344AD}" type="parTrans" cxnId="{FBD0947C-8374-4A5E-89CE-B6017DF42439}">
      <dgm:prSet/>
      <dgm:spPr/>
      <dgm:t>
        <a:bodyPr/>
        <a:lstStyle/>
        <a:p>
          <a:endParaRPr lang="fr-FR"/>
        </a:p>
      </dgm:t>
    </dgm:pt>
    <dgm:pt modelId="{8E5530B8-5448-475C-BFC2-70CF55C5F29F}" type="sibTrans" cxnId="{FBD0947C-8374-4A5E-89CE-B6017DF42439}">
      <dgm:prSet/>
      <dgm:spPr/>
      <dgm:t>
        <a:bodyPr/>
        <a:lstStyle/>
        <a:p>
          <a:endParaRPr lang="fr-FR"/>
        </a:p>
      </dgm:t>
    </dgm:pt>
    <dgm:pt modelId="{320D49E2-1155-435B-960B-478F5DD3F93C}">
      <dgm:prSet phldrT="[Text]"/>
      <dgm:spPr/>
      <dgm:t>
        <a:bodyPr/>
        <a:lstStyle/>
        <a:p>
          <a:r>
            <a:rPr lang="fr-FR" noProof="0"/>
            <a:t>Dommage Assuré</a:t>
          </a:r>
        </a:p>
      </dgm:t>
    </dgm:pt>
    <dgm:pt modelId="{74AC7D26-1B03-4D42-8BC3-31AE77BA2302}" type="parTrans" cxnId="{33AC6A8B-F393-455E-BE54-4E8ACE32D61E}">
      <dgm:prSet/>
      <dgm:spPr/>
      <dgm:t>
        <a:bodyPr/>
        <a:lstStyle/>
        <a:p>
          <a:endParaRPr lang="fr-FR"/>
        </a:p>
      </dgm:t>
    </dgm:pt>
    <dgm:pt modelId="{B700B9D0-2220-4E7C-BD02-FEB4AD98D5B9}" type="sibTrans" cxnId="{33AC6A8B-F393-455E-BE54-4E8ACE32D61E}">
      <dgm:prSet/>
      <dgm:spPr/>
      <dgm:t>
        <a:bodyPr/>
        <a:lstStyle/>
        <a:p>
          <a:endParaRPr lang="fr-FR"/>
        </a:p>
      </dgm:t>
    </dgm:pt>
    <dgm:pt modelId="{3E613682-48FB-456E-91DB-8C0058972B35}">
      <dgm:prSet phldrT="[Text]"/>
      <dgm:spPr/>
      <dgm:t>
        <a:bodyPr/>
        <a:lstStyle/>
        <a:p>
          <a:r>
            <a:rPr lang="fr-FR" noProof="0"/>
            <a:t>Décision Technique</a:t>
          </a:r>
        </a:p>
      </dgm:t>
    </dgm:pt>
    <dgm:pt modelId="{7C0ABA15-580C-4310-BB97-6113878727E5}" type="parTrans" cxnId="{8E9692ED-B24F-4096-A985-9F44D0D9B21D}">
      <dgm:prSet/>
      <dgm:spPr/>
      <dgm:t>
        <a:bodyPr/>
        <a:lstStyle/>
        <a:p>
          <a:endParaRPr lang="fr-FR"/>
        </a:p>
      </dgm:t>
    </dgm:pt>
    <dgm:pt modelId="{714249A2-DE77-4BAF-A725-2315E238C802}" type="sibTrans" cxnId="{8E9692ED-B24F-4096-A985-9F44D0D9B21D}">
      <dgm:prSet/>
      <dgm:spPr/>
      <dgm:t>
        <a:bodyPr/>
        <a:lstStyle/>
        <a:p>
          <a:endParaRPr lang="fr-FR"/>
        </a:p>
      </dgm:t>
    </dgm:pt>
    <dgm:pt modelId="{B373B6CD-2D21-4F1B-808A-E73F8F8550A8}">
      <dgm:prSet phldrT="[Text]"/>
      <dgm:spPr/>
      <dgm:t>
        <a:bodyPr/>
        <a:lstStyle/>
        <a:p>
          <a:r>
            <a:rPr lang="fr-FR" noProof="0"/>
            <a:t>Contexte Client</a:t>
          </a:r>
        </a:p>
      </dgm:t>
    </dgm:pt>
    <dgm:pt modelId="{16FC9908-4474-4C96-9EE9-A3F5ABBEB4E0}" type="parTrans" cxnId="{85E5C9D1-B25D-4A96-B88A-533461E997D6}">
      <dgm:prSet/>
      <dgm:spPr/>
      <dgm:t>
        <a:bodyPr/>
        <a:lstStyle/>
        <a:p>
          <a:endParaRPr lang="fr-FR"/>
        </a:p>
      </dgm:t>
    </dgm:pt>
    <dgm:pt modelId="{10936CB0-43A5-40E3-9531-F515C5892312}" type="sibTrans" cxnId="{85E5C9D1-B25D-4A96-B88A-533461E997D6}">
      <dgm:prSet/>
      <dgm:spPr/>
      <dgm:t>
        <a:bodyPr/>
        <a:lstStyle/>
        <a:p>
          <a:endParaRPr lang="fr-FR"/>
        </a:p>
      </dgm:t>
    </dgm:pt>
    <dgm:pt modelId="{092CFC87-76BE-47C6-AE61-6D5E100329B6}">
      <dgm:prSet phldrT="[Text]"/>
      <dgm:spPr/>
      <dgm:t>
        <a:bodyPr/>
        <a:lstStyle/>
        <a:p>
          <a:r>
            <a:rPr lang="fr-FR" noProof="0"/>
            <a:t>Accident</a:t>
          </a:r>
        </a:p>
      </dgm:t>
    </dgm:pt>
    <dgm:pt modelId="{0668BAE2-72A2-4607-AFB9-99C050ED279A}" type="parTrans" cxnId="{1990E4F5-48A7-4484-8775-E283D33573D6}">
      <dgm:prSet/>
      <dgm:spPr/>
      <dgm:t>
        <a:bodyPr/>
        <a:lstStyle/>
        <a:p>
          <a:endParaRPr lang="fr-FR"/>
        </a:p>
      </dgm:t>
    </dgm:pt>
    <dgm:pt modelId="{1A01DBD3-6710-4945-AA22-44EB5048E496}" type="sibTrans" cxnId="{1990E4F5-48A7-4484-8775-E283D33573D6}">
      <dgm:prSet/>
      <dgm:spPr/>
      <dgm:t>
        <a:bodyPr/>
        <a:lstStyle/>
        <a:p>
          <a:endParaRPr lang="fr-FR"/>
        </a:p>
      </dgm:t>
    </dgm:pt>
    <dgm:pt modelId="{D8CFFCD1-54AD-4F0B-9A6E-06FA5BC4F375}">
      <dgm:prSet phldrT="[Text]"/>
      <dgm:spPr/>
      <dgm:t>
        <a:bodyPr/>
        <a:lstStyle/>
        <a:p>
          <a:r>
            <a:rPr lang="fr-FR" noProof="0"/>
            <a:t>Bris De Glace</a:t>
          </a:r>
        </a:p>
      </dgm:t>
    </dgm:pt>
    <dgm:pt modelId="{59095617-608A-49AE-89F1-E1EB6E845405}" type="parTrans" cxnId="{673B910A-2975-41B1-8DB8-004D70DF5E34}">
      <dgm:prSet/>
      <dgm:spPr/>
      <dgm:t>
        <a:bodyPr/>
        <a:lstStyle/>
        <a:p>
          <a:endParaRPr lang="fr-FR"/>
        </a:p>
      </dgm:t>
    </dgm:pt>
    <dgm:pt modelId="{2B5D7827-C5D1-4E66-BCB5-B95A5114E609}" type="sibTrans" cxnId="{673B910A-2975-41B1-8DB8-004D70DF5E34}">
      <dgm:prSet/>
      <dgm:spPr/>
      <dgm:t>
        <a:bodyPr/>
        <a:lstStyle/>
        <a:p>
          <a:endParaRPr lang="fr-FR"/>
        </a:p>
      </dgm:t>
    </dgm:pt>
    <dgm:pt modelId="{86A88BAA-F78D-4F89-98D5-E97D34793D32}">
      <dgm:prSet phldrT="[Text]"/>
      <dgm:spPr/>
      <dgm:t>
        <a:bodyPr/>
        <a:lstStyle/>
        <a:p>
          <a:r>
            <a:rPr lang="fr-FR" noProof="0"/>
            <a:t>Administrative</a:t>
          </a:r>
        </a:p>
      </dgm:t>
    </dgm:pt>
    <dgm:pt modelId="{1EA6E2BF-C00F-4E3D-9F4D-750584CB7C16}" type="parTrans" cxnId="{90B5B957-9837-4CD3-A848-85273D6A89D0}">
      <dgm:prSet/>
      <dgm:spPr/>
      <dgm:t>
        <a:bodyPr/>
        <a:lstStyle/>
        <a:p>
          <a:endParaRPr lang="fr-FR"/>
        </a:p>
      </dgm:t>
    </dgm:pt>
    <dgm:pt modelId="{97E2EC67-4F18-479B-A805-CB462FC3BFD7}" type="sibTrans" cxnId="{90B5B957-9837-4CD3-A848-85273D6A89D0}">
      <dgm:prSet/>
      <dgm:spPr/>
      <dgm:t>
        <a:bodyPr/>
        <a:lstStyle/>
        <a:p>
          <a:endParaRPr lang="fr-FR"/>
        </a:p>
      </dgm:t>
    </dgm:pt>
    <dgm:pt modelId="{8ABBACE0-D732-48D5-9228-1FF1A0DF6403}" type="pres">
      <dgm:prSet presAssocID="{0A03F5A8-F3FD-45D9-9484-B55D868B8EF8}" presName="diagram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</dgm:pt>
    <dgm:pt modelId="{CBD06B68-7236-46D7-8A9F-F5D93428F9DF}" type="pres">
      <dgm:prSet presAssocID="{5AFE294F-2C5A-4855-92D7-D951F2364B24}" presName="root1" presStyleCnt="0"/>
      <dgm:spPr/>
    </dgm:pt>
    <dgm:pt modelId="{72D01C71-4D28-4751-AE67-4DAF562F986E}" type="pres">
      <dgm:prSet presAssocID="{5AFE294F-2C5A-4855-92D7-D951F2364B24}" presName="LevelOneTextNode" presStyleLbl="node0" presStyleIdx="0" presStyleCnt="1">
        <dgm:presLayoutVars>
          <dgm:chPref val="3"/>
        </dgm:presLayoutVars>
      </dgm:prSet>
      <dgm:spPr/>
    </dgm:pt>
    <dgm:pt modelId="{80ABE848-A785-474B-8807-22701BB118D9}" type="pres">
      <dgm:prSet presAssocID="{5AFE294F-2C5A-4855-92D7-D951F2364B24}" presName="level2hierChild" presStyleCnt="0"/>
      <dgm:spPr/>
    </dgm:pt>
    <dgm:pt modelId="{07351BC3-1DCF-4CA0-8978-C7C6A8314A80}" type="pres">
      <dgm:prSet presAssocID="{830D246C-E2B3-4B4C-B993-2E0FABC2686C}" presName="conn2-1" presStyleLbl="parChTrans1D2" presStyleIdx="0" presStyleCnt="7"/>
      <dgm:spPr/>
    </dgm:pt>
    <dgm:pt modelId="{44121C89-9CAB-4C89-9223-4E46D7EB5452}" type="pres">
      <dgm:prSet presAssocID="{830D246C-E2B3-4B4C-B993-2E0FABC2686C}" presName="connTx" presStyleLbl="parChTrans1D2" presStyleIdx="0" presStyleCnt="7"/>
      <dgm:spPr/>
    </dgm:pt>
    <dgm:pt modelId="{59D983D6-5902-4FC6-9130-675FA295A1C8}" type="pres">
      <dgm:prSet presAssocID="{10AD6D04-1F96-446C-9D6B-934B83F073EE}" presName="root2" presStyleCnt="0"/>
      <dgm:spPr/>
    </dgm:pt>
    <dgm:pt modelId="{FEBFFE11-7BA4-4E4D-9ED0-F3F014C82753}" type="pres">
      <dgm:prSet presAssocID="{10AD6D04-1F96-446C-9D6B-934B83F073EE}" presName="LevelTwoTextNode" presStyleLbl="node2" presStyleIdx="0" presStyleCnt="7">
        <dgm:presLayoutVars>
          <dgm:chPref val="3"/>
        </dgm:presLayoutVars>
      </dgm:prSet>
      <dgm:spPr/>
    </dgm:pt>
    <dgm:pt modelId="{584A3FF6-58F6-4AA0-8FF8-BB2A2D913D00}" type="pres">
      <dgm:prSet presAssocID="{10AD6D04-1F96-446C-9D6B-934B83F073EE}" presName="level3hierChild" presStyleCnt="0"/>
      <dgm:spPr/>
    </dgm:pt>
    <dgm:pt modelId="{BAE0B734-93EA-424E-B571-3999877CFB05}" type="pres">
      <dgm:prSet presAssocID="{9B9B9D39-E2C5-41F7-AE05-923673A1648A}" presName="conn2-1" presStyleLbl="parChTrans1D2" presStyleIdx="1" presStyleCnt="7"/>
      <dgm:spPr/>
    </dgm:pt>
    <dgm:pt modelId="{2A783B83-785C-4642-A36B-AF4526B1F6A1}" type="pres">
      <dgm:prSet presAssocID="{9B9B9D39-E2C5-41F7-AE05-923673A1648A}" presName="connTx" presStyleLbl="parChTrans1D2" presStyleIdx="1" presStyleCnt="7"/>
      <dgm:spPr/>
    </dgm:pt>
    <dgm:pt modelId="{D98115F9-13E0-4B86-9C11-90E0FE5CC69F}" type="pres">
      <dgm:prSet presAssocID="{88E629E6-E1C0-4EF9-97B5-325C470BB551}" presName="root2" presStyleCnt="0"/>
      <dgm:spPr/>
    </dgm:pt>
    <dgm:pt modelId="{EE054F72-638C-48B5-834A-D03C2E673A0E}" type="pres">
      <dgm:prSet presAssocID="{88E629E6-E1C0-4EF9-97B5-325C470BB551}" presName="LevelTwoTextNode" presStyleLbl="node2" presStyleIdx="1" presStyleCnt="7">
        <dgm:presLayoutVars>
          <dgm:chPref val="3"/>
        </dgm:presLayoutVars>
      </dgm:prSet>
      <dgm:spPr/>
    </dgm:pt>
    <dgm:pt modelId="{819B0848-5B3A-4A38-86CD-29378E8163A2}" type="pres">
      <dgm:prSet presAssocID="{88E629E6-E1C0-4EF9-97B5-325C470BB551}" presName="level3hierChild" presStyleCnt="0"/>
      <dgm:spPr/>
    </dgm:pt>
    <dgm:pt modelId="{1A84CA5D-9E59-4D6C-9AF4-1E24AA6E3239}" type="pres">
      <dgm:prSet presAssocID="{0668BAE2-72A2-4607-AFB9-99C050ED279A}" presName="conn2-1" presStyleLbl="parChTrans1D3" presStyleIdx="0" presStyleCnt="3"/>
      <dgm:spPr/>
    </dgm:pt>
    <dgm:pt modelId="{70F57CFC-B650-41DA-9315-97CA92339F7E}" type="pres">
      <dgm:prSet presAssocID="{0668BAE2-72A2-4607-AFB9-99C050ED279A}" presName="connTx" presStyleLbl="parChTrans1D3" presStyleIdx="0" presStyleCnt="3"/>
      <dgm:spPr/>
    </dgm:pt>
    <dgm:pt modelId="{A4108810-51D0-4CB5-B4C6-F4F96E172003}" type="pres">
      <dgm:prSet presAssocID="{092CFC87-76BE-47C6-AE61-6D5E100329B6}" presName="root2" presStyleCnt="0"/>
      <dgm:spPr/>
    </dgm:pt>
    <dgm:pt modelId="{FFEB6B91-4E5F-45CE-AAAF-6D5DF7F087BE}" type="pres">
      <dgm:prSet presAssocID="{092CFC87-76BE-47C6-AE61-6D5E100329B6}" presName="LevelTwoTextNode" presStyleLbl="node3" presStyleIdx="0" presStyleCnt="3">
        <dgm:presLayoutVars>
          <dgm:chPref val="3"/>
        </dgm:presLayoutVars>
      </dgm:prSet>
      <dgm:spPr/>
    </dgm:pt>
    <dgm:pt modelId="{82993F55-A8F7-4CBB-8603-D9C831DFECB2}" type="pres">
      <dgm:prSet presAssocID="{092CFC87-76BE-47C6-AE61-6D5E100329B6}" presName="level3hierChild" presStyleCnt="0"/>
      <dgm:spPr/>
    </dgm:pt>
    <dgm:pt modelId="{79BBC604-A12B-4AF8-AEF4-8E62B2AE80FA}" type="pres">
      <dgm:prSet presAssocID="{59095617-608A-49AE-89F1-E1EB6E845405}" presName="conn2-1" presStyleLbl="parChTrans1D3" presStyleIdx="1" presStyleCnt="3"/>
      <dgm:spPr/>
    </dgm:pt>
    <dgm:pt modelId="{81A62FAA-3F5E-42AE-ABDE-904CCFD9F02D}" type="pres">
      <dgm:prSet presAssocID="{59095617-608A-49AE-89F1-E1EB6E845405}" presName="connTx" presStyleLbl="parChTrans1D3" presStyleIdx="1" presStyleCnt="3"/>
      <dgm:spPr/>
    </dgm:pt>
    <dgm:pt modelId="{29F3A6D1-088C-42E8-8EE7-5F2B3C57AF13}" type="pres">
      <dgm:prSet presAssocID="{D8CFFCD1-54AD-4F0B-9A6E-06FA5BC4F375}" presName="root2" presStyleCnt="0"/>
      <dgm:spPr/>
    </dgm:pt>
    <dgm:pt modelId="{BD76F8FC-A23E-4B40-B4CA-38B0CE6BEF78}" type="pres">
      <dgm:prSet presAssocID="{D8CFFCD1-54AD-4F0B-9A6E-06FA5BC4F375}" presName="LevelTwoTextNode" presStyleLbl="node3" presStyleIdx="1" presStyleCnt="3">
        <dgm:presLayoutVars>
          <dgm:chPref val="3"/>
        </dgm:presLayoutVars>
      </dgm:prSet>
      <dgm:spPr/>
    </dgm:pt>
    <dgm:pt modelId="{A92FD734-E46D-4A0E-85E5-CF82A458E991}" type="pres">
      <dgm:prSet presAssocID="{D8CFFCD1-54AD-4F0B-9A6E-06FA5BC4F375}" presName="level3hierChild" presStyleCnt="0"/>
      <dgm:spPr/>
    </dgm:pt>
    <dgm:pt modelId="{B130C37E-7F80-491D-B9BD-9C3C6A54B225}" type="pres">
      <dgm:prSet presAssocID="{1EA6E2BF-C00F-4E3D-9F4D-750584CB7C16}" presName="conn2-1" presStyleLbl="parChTrans1D3" presStyleIdx="2" presStyleCnt="3"/>
      <dgm:spPr/>
    </dgm:pt>
    <dgm:pt modelId="{6DB5A5A8-285A-49F3-9360-076D64BA91AE}" type="pres">
      <dgm:prSet presAssocID="{1EA6E2BF-C00F-4E3D-9F4D-750584CB7C16}" presName="connTx" presStyleLbl="parChTrans1D3" presStyleIdx="2" presStyleCnt="3"/>
      <dgm:spPr/>
    </dgm:pt>
    <dgm:pt modelId="{B7C928D1-C6BE-42C4-85A6-C936E0983440}" type="pres">
      <dgm:prSet presAssocID="{86A88BAA-F78D-4F89-98D5-E97D34793D32}" presName="root2" presStyleCnt="0"/>
      <dgm:spPr/>
    </dgm:pt>
    <dgm:pt modelId="{8CCBE6BB-4028-446B-8065-4C310DBAFE97}" type="pres">
      <dgm:prSet presAssocID="{86A88BAA-F78D-4F89-98D5-E97D34793D32}" presName="LevelTwoTextNode" presStyleLbl="node3" presStyleIdx="2" presStyleCnt="3">
        <dgm:presLayoutVars>
          <dgm:chPref val="3"/>
        </dgm:presLayoutVars>
      </dgm:prSet>
      <dgm:spPr/>
    </dgm:pt>
    <dgm:pt modelId="{441ADF94-6270-41FF-8E22-5C1002067972}" type="pres">
      <dgm:prSet presAssocID="{86A88BAA-F78D-4F89-98D5-E97D34793D32}" presName="level3hierChild" presStyleCnt="0"/>
      <dgm:spPr/>
    </dgm:pt>
    <dgm:pt modelId="{262D4AF0-E33C-4295-823E-D8614F5237EC}" type="pres">
      <dgm:prSet presAssocID="{16FC9908-4474-4C96-9EE9-A3F5ABBEB4E0}" presName="conn2-1" presStyleLbl="parChTrans1D2" presStyleIdx="2" presStyleCnt="7"/>
      <dgm:spPr/>
    </dgm:pt>
    <dgm:pt modelId="{E674CA8B-130C-4F67-8B27-E61FCC381EBF}" type="pres">
      <dgm:prSet presAssocID="{16FC9908-4474-4C96-9EE9-A3F5ABBEB4E0}" presName="connTx" presStyleLbl="parChTrans1D2" presStyleIdx="2" presStyleCnt="7"/>
      <dgm:spPr/>
    </dgm:pt>
    <dgm:pt modelId="{FFB3D1A8-6EE4-4DF9-9909-1E4664A2A044}" type="pres">
      <dgm:prSet presAssocID="{B373B6CD-2D21-4F1B-808A-E73F8F8550A8}" presName="root2" presStyleCnt="0"/>
      <dgm:spPr/>
    </dgm:pt>
    <dgm:pt modelId="{F6D11BB8-7A0D-460D-B628-36E659A28C4B}" type="pres">
      <dgm:prSet presAssocID="{B373B6CD-2D21-4F1B-808A-E73F8F8550A8}" presName="LevelTwoTextNode" presStyleLbl="node2" presStyleIdx="2" presStyleCnt="7">
        <dgm:presLayoutVars>
          <dgm:chPref val="3"/>
        </dgm:presLayoutVars>
      </dgm:prSet>
      <dgm:spPr/>
    </dgm:pt>
    <dgm:pt modelId="{5BD82CE2-F90B-4751-B908-BD32A8543B1B}" type="pres">
      <dgm:prSet presAssocID="{B373B6CD-2D21-4F1B-808A-E73F8F8550A8}" presName="level3hierChild" presStyleCnt="0"/>
      <dgm:spPr/>
    </dgm:pt>
    <dgm:pt modelId="{A59584E7-E9E0-4B71-A2F8-6954B0406BCA}" type="pres">
      <dgm:prSet presAssocID="{E61AB607-D762-46F4-B750-B4D0C3A344AD}" presName="conn2-1" presStyleLbl="parChTrans1D2" presStyleIdx="3" presStyleCnt="7"/>
      <dgm:spPr/>
    </dgm:pt>
    <dgm:pt modelId="{48B255B3-8C6F-44FE-82E2-D02224D9F84C}" type="pres">
      <dgm:prSet presAssocID="{E61AB607-D762-46F4-B750-B4D0C3A344AD}" presName="connTx" presStyleLbl="parChTrans1D2" presStyleIdx="3" presStyleCnt="7"/>
      <dgm:spPr/>
    </dgm:pt>
    <dgm:pt modelId="{87921D44-CE0E-4D95-8847-818A2EDCBB61}" type="pres">
      <dgm:prSet presAssocID="{55815225-F99C-4F51-ADD4-454BE462E3C7}" presName="root2" presStyleCnt="0"/>
      <dgm:spPr/>
    </dgm:pt>
    <dgm:pt modelId="{F03928C4-8CF9-4272-BC2C-D8D3BA3C1C79}" type="pres">
      <dgm:prSet presAssocID="{55815225-F99C-4F51-ADD4-454BE462E3C7}" presName="LevelTwoTextNode" presStyleLbl="node2" presStyleIdx="3" presStyleCnt="7">
        <dgm:presLayoutVars>
          <dgm:chPref val="3"/>
        </dgm:presLayoutVars>
      </dgm:prSet>
      <dgm:spPr/>
    </dgm:pt>
    <dgm:pt modelId="{1E037C73-49F7-419D-87E2-CB59CCBB8A03}" type="pres">
      <dgm:prSet presAssocID="{55815225-F99C-4F51-ADD4-454BE462E3C7}" presName="level3hierChild" presStyleCnt="0"/>
      <dgm:spPr/>
    </dgm:pt>
    <dgm:pt modelId="{D60F3045-0E15-4EB0-9282-85B79ACDC073}" type="pres">
      <dgm:prSet presAssocID="{74AC7D26-1B03-4D42-8BC3-31AE77BA2302}" presName="conn2-1" presStyleLbl="parChTrans1D2" presStyleIdx="4" presStyleCnt="7"/>
      <dgm:spPr/>
    </dgm:pt>
    <dgm:pt modelId="{AC54ADE7-659A-4567-8AA6-4459C7D433A9}" type="pres">
      <dgm:prSet presAssocID="{74AC7D26-1B03-4D42-8BC3-31AE77BA2302}" presName="connTx" presStyleLbl="parChTrans1D2" presStyleIdx="4" presStyleCnt="7"/>
      <dgm:spPr/>
    </dgm:pt>
    <dgm:pt modelId="{D6ACF37C-5BEF-479E-89B6-9F8379492FF4}" type="pres">
      <dgm:prSet presAssocID="{320D49E2-1155-435B-960B-478F5DD3F93C}" presName="root2" presStyleCnt="0"/>
      <dgm:spPr/>
    </dgm:pt>
    <dgm:pt modelId="{59851303-6278-42ED-A2CE-C7F99DCD12FA}" type="pres">
      <dgm:prSet presAssocID="{320D49E2-1155-435B-960B-478F5DD3F93C}" presName="LevelTwoTextNode" presStyleLbl="node2" presStyleIdx="4" presStyleCnt="7">
        <dgm:presLayoutVars>
          <dgm:chPref val="3"/>
        </dgm:presLayoutVars>
      </dgm:prSet>
      <dgm:spPr/>
    </dgm:pt>
    <dgm:pt modelId="{BA34ABD3-3D13-4BE4-AB9F-F298A5CC2431}" type="pres">
      <dgm:prSet presAssocID="{320D49E2-1155-435B-960B-478F5DD3F93C}" presName="level3hierChild" presStyleCnt="0"/>
      <dgm:spPr/>
    </dgm:pt>
    <dgm:pt modelId="{34BD2122-6A6F-4F36-8346-864177B8A328}" type="pres">
      <dgm:prSet presAssocID="{7C0ABA15-580C-4310-BB97-6113878727E5}" presName="conn2-1" presStyleLbl="parChTrans1D2" presStyleIdx="5" presStyleCnt="7"/>
      <dgm:spPr/>
    </dgm:pt>
    <dgm:pt modelId="{9AE0C816-4CA9-4A71-8D9C-6747B8AF5441}" type="pres">
      <dgm:prSet presAssocID="{7C0ABA15-580C-4310-BB97-6113878727E5}" presName="connTx" presStyleLbl="parChTrans1D2" presStyleIdx="5" presStyleCnt="7"/>
      <dgm:spPr/>
    </dgm:pt>
    <dgm:pt modelId="{9B6D71F4-F2F5-4F22-86DC-EDDF191E7D30}" type="pres">
      <dgm:prSet presAssocID="{3E613682-48FB-456E-91DB-8C0058972B35}" presName="root2" presStyleCnt="0"/>
      <dgm:spPr/>
    </dgm:pt>
    <dgm:pt modelId="{69EFC86E-FB14-4F22-A860-2BD1BCEC2237}" type="pres">
      <dgm:prSet presAssocID="{3E613682-48FB-456E-91DB-8C0058972B35}" presName="LevelTwoTextNode" presStyleLbl="node2" presStyleIdx="5" presStyleCnt="7">
        <dgm:presLayoutVars>
          <dgm:chPref val="3"/>
        </dgm:presLayoutVars>
      </dgm:prSet>
      <dgm:spPr/>
    </dgm:pt>
    <dgm:pt modelId="{9AE4DA83-15C0-4EC9-9FC6-B39E74326389}" type="pres">
      <dgm:prSet presAssocID="{3E613682-48FB-456E-91DB-8C0058972B35}" presName="level3hierChild" presStyleCnt="0"/>
      <dgm:spPr/>
    </dgm:pt>
    <dgm:pt modelId="{46693A0A-26DA-4777-9BDF-D17FB7DB0DA3}" type="pres">
      <dgm:prSet presAssocID="{D4FEC653-CBE1-4896-AA74-B5E1A62A4C97}" presName="conn2-1" presStyleLbl="parChTrans1D2" presStyleIdx="6" presStyleCnt="7"/>
      <dgm:spPr/>
    </dgm:pt>
    <dgm:pt modelId="{720A30FF-9943-4E9D-855C-FB2B794BA963}" type="pres">
      <dgm:prSet presAssocID="{D4FEC653-CBE1-4896-AA74-B5E1A62A4C97}" presName="connTx" presStyleLbl="parChTrans1D2" presStyleIdx="6" presStyleCnt="7"/>
      <dgm:spPr/>
    </dgm:pt>
    <dgm:pt modelId="{649D041D-4C77-4EEC-B12D-E9A3E02D21A3}" type="pres">
      <dgm:prSet presAssocID="{AA4D55BF-4B3C-401A-9F7A-BC25A75F9B83}" presName="root2" presStyleCnt="0"/>
      <dgm:spPr/>
    </dgm:pt>
    <dgm:pt modelId="{1B3592ED-7D7F-47BA-87A0-80658E8E7985}" type="pres">
      <dgm:prSet presAssocID="{AA4D55BF-4B3C-401A-9F7A-BC25A75F9B83}" presName="LevelTwoTextNode" presStyleLbl="node2" presStyleIdx="6" presStyleCnt="7">
        <dgm:presLayoutVars>
          <dgm:chPref val="3"/>
        </dgm:presLayoutVars>
      </dgm:prSet>
      <dgm:spPr/>
    </dgm:pt>
    <dgm:pt modelId="{B0E6EAC2-A053-4CFD-8657-72242C49BDE9}" type="pres">
      <dgm:prSet presAssocID="{AA4D55BF-4B3C-401A-9F7A-BC25A75F9B83}" presName="level3hierChild" presStyleCnt="0"/>
      <dgm:spPr/>
    </dgm:pt>
  </dgm:ptLst>
  <dgm:cxnLst>
    <dgm:cxn modelId="{9DBC5C08-A69A-4D68-A57C-CC16B7A4646E}" type="presOf" srcId="{0668BAE2-72A2-4607-AFB9-99C050ED279A}" destId="{70F57CFC-B650-41DA-9315-97CA92339F7E}" srcOrd="1" destOrd="0" presId="urn:microsoft.com/office/officeart/2005/8/layout/hierarchy2"/>
    <dgm:cxn modelId="{24C5520A-9F72-4651-8071-B18B9233CB1F}" srcId="{5AFE294F-2C5A-4855-92D7-D951F2364B24}" destId="{88E629E6-E1C0-4EF9-97B5-325C470BB551}" srcOrd="1" destOrd="0" parTransId="{9B9B9D39-E2C5-41F7-AE05-923673A1648A}" sibTransId="{0098208C-12AB-4E3B-B209-464C2E6B34E2}"/>
    <dgm:cxn modelId="{673B910A-2975-41B1-8DB8-004D70DF5E34}" srcId="{88E629E6-E1C0-4EF9-97B5-325C470BB551}" destId="{D8CFFCD1-54AD-4F0B-9A6E-06FA5BC4F375}" srcOrd="1" destOrd="0" parTransId="{59095617-608A-49AE-89F1-E1EB6E845405}" sibTransId="{2B5D7827-C5D1-4E66-BCB5-B95A5114E609}"/>
    <dgm:cxn modelId="{1252402C-DA29-4352-A282-7653B46D94AD}" type="presOf" srcId="{16FC9908-4474-4C96-9EE9-A3F5ABBEB4E0}" destId="{E674CA8B-130C-4F67-8B27-E61FCC381EBF}" srcOrd="1" destOrd="0" presId="urn:microsoft.com/office/officeart/2005/8/layout/hierarchy2"/>
    <dgm:cxn modelId="{F5AE942C-C2E2-41CE-A16E-1AB09C09F3EF}" type="presOf" srcId="{0A03F5A8-F3FD-45D9-9484-B55D868B8EF8}" destId="{8ABBACE0-D732-48D5-9228-1FF1A0DF6403}" srcOrd="0" destOrd="0" presId="urn:microsoft.com/office/officeart/2005/8/layout/hierarchy2"/>
    <dgm:cxn modelId="{7C4AED34-8024-4321-ABCE-6026D1524888}" type="presOf" srcId="{D4FEC653-CBE1-4896-AA74-B5E1A62A4C97}" destId="{46693A0A-26DA-4777-9BDF-D17FB7DB0DA3}" srcOrd="0" destOrd="0" presId="urn:microsoft.com/office/officeart/2005/8/layout/hierarchy2"/>
    <dgm:cxn modelId="{83A6F33F-AEAA-4070-B2E4-020994CE9F4F}" type="presOf" srcId="{830D246C-E2B3-4B4C-B993-2E0FABC2686C}" destId="{44121C89-9CAB-4C89-9223-4E46D7EB5452}" srcOrd="1" destOrd="0" presId="urn:microsoft.com/office/officeart/2005/8/layout/hierarchy2"/>
    <dgm:cxn modelId="{A8C8EE63-46E8-43FD-A60E-7408DC67C5B8}" type="presOf" srcId="{88E629E6-E1C0-4EF9-97B5-325C470BB551}" destId="{EE054F72-638C-48B5-834A-D03C2E673A0E}" srcOrd="0" destOrd="0" presId="urn:microsoft.com/office/officeart/2005/8/layout/hierarchy2"/>
    <dgm:cxn modelId="{F4607C67-8F75-4438-8949-3C421A179C58}" type="presOf" srcId="{1EA6E2BF-C00F-4E3D-9F4D-750584CB7C16}" destId="{6DB5A5A8-285A-49F3-9360-076D64BA91AE}" srcOrd="1" destOrd="0" presId="urn:microsoft.com/office/officeart/2005/8/layout/hierarchy2"/>
    <dgm:cxn modelId="{1D49DD68-01C3-4F44-BD63-F15397E8741F}" type="presOf" srcId="{320D49E2-1155-435B-960B-478F5DD3F93C}" destId="{59851303-6278-42ED-A2CE-C7F99DCD12FA}" srcOrd="0" destOrd="0" presId="urn:microsoft.com/office/officeart/2005/8/layout/hierarchy2"/>
    <dgm:cxn modelId="{DBD02A6A-A43D-4F88-8478-82769D7BBDBF}" type="presOf" srcId="{B373B6CD-2D21-4F1B-808A-E73F8F8550A8}" destId="{F6D11BB8-7A0D-460D-B628-36E659A28C4B}" srcOrd="0" destOrd="0" presId="urn:microsoft.com/office/officeart/2005/8/layout/hierarchy2"/>
    <dgm:cxn modelId="{5EDA676A-5479-4C0C-8AC7-B20BCD352ACE}" type="presOf" srcId="{0668BAE2-72A2-4607-AFB9-99C050ED279A}" destId="{1A84CA5D-9E59-4D6C-9AF4-1E24AA6E3239}" srcOrd="0" destOrd="0" presId="urn:microsoft.com/office/officeart/2005/8/layout/hierarchy2"/>
    <dgm:cxn modelId="{89E81073-BC02-486D-ADA0-582BA1CA4D49}" type="presOf" srcId="{9B9B9D39-E2C5-41F7-AE05-923673A1648A}" destId="{2A783B83-785C-4642-A36B-AF4526B1F6A1}" srcOrd="1" destOrd="0" presId="urn:microsoft.com/office/officeart/2005/8/layout/hierarchy2"/>
    <dgm:cxn modelId="{14997C56-AC41-41E3-8635-255C9349B4AF}" type="presOf" srcId="{3E613682-48FB-456E-91DB-8C0058972B35}" destId="{69EFC86E-FB14-4F22-A860-2BD1BCEC2237}" srcOrd="0" destOrd="0" presId="urn:microsoft.com/office/officeart/2005/8/layout/hierarchy2"/>
    <dgm:cxn modelId="{49AC5677-096D-4338-B7D3-9E9CC9E005C5}" type="presOf" srcId="{10AD6D04-1F96-446C-9D6B-934B83F073EE}" destId="{FEBFFE11-7BA4-4E4D-9ED0-F3F014C82753}" srcOrd="0" destOrd="0" presId="urn:microsoft.com/office/officeart/2005/8/layout/hierarchy2"/>
    <dgm:cxn modelId="{90B5B957-9837-4CD3-A848-85273D6A89D0}" srcId="{88E629E6-E1C0-4EF9-97B5-325C470BB551}" destId="{86A88BAA-F78D-4F89-98D5-E97D34793D32}" srcOrd="2" destOrd="0" parTransId="{1EA6E2BF-C00F-4E3D-9F4D-750584CB7C16}" sibTransId="{97E2EC67-4F18-479B-A805-CB462FC3BFD7}"/>
    <dgm:cxn modelId="{A523CB58-EF34-4D43-9ADC-D39DC224CAE8}" type="presOf" srcId="{55815225-F99C-4F51-ADD4-454BE462E3C7}" destId="{F03928C4-8CF9-4272-BC2C-D8D3BA3C1C79}" srcOrd="0" destOrd="0" presId="urn:microsoft.com/office/officeart/2005/8/layout/hierarchy2"/>
    <dgm:cxn modelId="{FBD0947C-8374-4A5E-89CE-B6017DF42439}" srcId="{5AFE294F-2C5A-4855-92D7-D951F2364B24}" destId="{55815225-F99C-4F51-ADD4-454BE462E3C7}" srcOrd="3" destOrd="0" parTransId="{E61AB607-D762-46F4-B750-B4D0C3A344AD}" sibTransId="{8E5530B8-5448-475C-BFC2-70CF55C5F29F}"/>
    <dgm:cxn modelId="{CA15267F-B689-4581-B7B3-E1762267E4FE}" type="presOf" srcId="{E61AB607-D762-46F4-B750-B4D0C3A344AD}" destId="{48B255B3-8C6F-44FE-82E2-D02224D9F84C}" srcOrd="1" destOrd="0" presId="urn:microsoft.com/office/officeart/2005/8/layout/hierarchy2"/>
    <dgm:cxn modelId="{26563084-E3C3-44C5-A4DD-B0405719EAC8}" srcId="{0A03F5A8-F3FD-45D9-9484-B55D868B8EF8}" destId="{5AFE294F-2C5A-4855-92D7-D951F2364B24}" srcOrd="0" destOrd="0" parTransId="{59071923-9C14-4471-B358-4D2ED5014DA0}" sibTransId="{658A2DAE-EECD-4864-AC63-1E03841E93DC}"/>
    <dgm:cxn modelId="{D6DE1885-5B20-4956-B2E5-C25702D79388}" type="presOf" srcId="{9B9B9D39-E2C5-41F7-AE05-923673A1648A}" destId="{BAE0B734-93EA-424E-B571-3999877CFB05}" srcOrd="0" destOrd="0" presId="urn:microsoft.com/office/officeart/2005/8/layout/hierarchy2"/>
    <dgm:cxn modelId="{20A4D887-0836-454D-94C6-610D79B87CF2}" type="presOf" srcId="{830D246C-E2B3-4B4C-B993-2E0FABC2686C}" destId="{07351BC3-1DCF-4CA0-8978-C7C6A8314A80}" srcOrd="0" destOrd="0" presId="urn:microsoft.com/office/officeart/2005/8/layout/hierarchy2"/>
    <dgm:cxn modelId="{33AC6A8B-F393-455E-BE54-4E8ACE32D61E}" srcId="{5AFE294F-2C5A-4855-92D7-D951F2364B24}" destId="{320D49E2-1155-435B-960B-478F5DD3F93C}" srcOrd="4" destOrd="0" parTransId="{74AC7D26-1B03-4D42-8BC3-31AE77BA2302}" sibTransId="{B700B9D0-2220-4E7C-BD02-FEB4AD98D5B9}"/>
    <dgm:cxn modelId="{727BF98C-8BD7-40BD-B09F-E52334EB6183}" type="presOf" srcId="{E61AB607-D762-46F4-B750-B4D0C3A344AD}" destId="{A59584E7-E9E0-4B71-A2F8-6954B0406BCA}" srcOrd="0" destOrd="0" presId="urn:microsoft.com/office/officeart/2005/8/layout/hierarchy2"/>
    <dgm:cxn modelId="{448E0FA7-F579-4225-B869-3C6B8206E342}" type="presOf" srcId="{D4FEC653-CBE1-4896-AA74-B5E1A62A4C97}" destId="{720A30FF-9943-4E9D-855C-FB2B794BA963}" srcOrd="1" destOrd="0" presId="urn:microsoft.com/office/officeart/2005/8/layout/hierarchy2"/>
    <dgm:cxn modelId="{6CE94BA8-AAF2-43B0-8AAE-2E8CB0CFE643}" type="presOf" srcId="{5AFE294F-2C5A-4855-92D7-D951F2364B24}" destId="{72D01C71-4D28-4751-AE67-4DAF562F986E}" srcOrd="0" destOrd="0" presId="urn:microsoft.com/office/officeart/2005/8/layout/hierarchy2"/>
    <dgm:cxn modelId="{A4E1F1B9-C95D-45E2-B6A0-C39D46E8FB6E}" srcId="{5AFE294F-2C5A-4855-92D7-D951F2364B24}" destId="{AA4D55BF-4B3C-401A-9F7A-BC25A75F9B83}" srcOrd="6" destOrd="0" parTransId="{D4FEC653-CBE1-4896-AA74-B5E1A62A4C97}" sibTransId="{2FC15A8F-F584-4588-B9D4-3EE7EFDD465C}"/>
    <dgm:cxn modelId="{352454BD-47D4-46DC-86B6-884FADC75A25}" type="presOf" srcId="{092CFC87-76BE-47C6-AE61-6D5E100329B6}" destId="{FFEB6B91-4E5F-45CE-AAAF-6D5DF7F087BE}" srcOrd="0" destOrd="0" presId="urn:microsoft.com/office/officeart/2005/8/layout/hierarchy2"/>
    <dgm:cxn modelId="{CEDCD0C2-B618-4F18-9BC8-773A36216973}" type="presOf" srcId="{74AC7D26-1B03-4D42-8BC3-31AE77BA2302}" destId="{D60F3045-0E15-4EB0-9282-85B79ACDC073}" srcOrd="0" destOrd="0" presId="urn:microsoft.com/office/officeart/2005/8/layout/hierarchy2"/>
    <dgm:cxn modelId="{264B2FC3-B16D-4D1A-8E7C-3BBED359A91C}" type="presOf" srcId="{59095617-608A-49AE-89F1-E1EB6E845405}" destId="{79BBC604-A12B-4AF8-AEF4-8E62B2AE80FA}" srcOrd="0" destOrd="0" presId="urn:microsoft.com/office/officeart/2005/8/layout/hierarchy2"/>
    <dgm:cxn modelId="{1D0745CA-FAE3-4E64-AFCD-79A77238E8DC}" srcId="{5AFE294F-2C5A-4855-92D7-D951F2364B24}" destId="{10AD6D04-1F96-446C-9D6B-934B83F073EE}" srcOrd="0" destOrd="0" parTransId="{830D246C-E2B3-4B4C-B993-2E0FABC2686C}" sibTransId="{71D29F6D-0616-4931-8E8B-F15609D95926}"/>
    <dgm:cxn modelId="{0C8326CF-F335-4211-914F-4EBF339344BE}" type="presOf" srcId="{86A88BAA-F78D-4F89-98D5-E97D34793D32}" destId="{8CCBE6BB-4028-446B-8065-4C310DBAFE97}" srcOrd="0" destOrd="0" presId="urn:microsoft.com/office/officeart/2005/8/layout/hierarchy2"/>
    <dgm:cxn modelId="{DB44B6D1-3C6A-40D0-8B17-2B3EE1BC6008}" type="presOf" srcId="{7C0ABA15-580C-4310-BB97-6113878727E5}" destId="{9AE0C816-4CA9-4A71-8D9C-6747B8AF5441}" srcOrd="1" destOrd="0" presId="urn:microsoft.com/office/officeart/2005/8/layout/hierarchy2"/>
    <dgm:cxn modelId="{85E5C9D1-B25D-4A96-B88A-533461E997D6}" srcId="{5AFE294F-2C5A-4855-92D7-D951F2364B24}" destId="{B373B6CD-2D21-4F1B-808A-E73F8F8550A8}" srcOrd="2" destOrd="0" parTransId="{16FC9908-4474-4C96-9EE9-A3F5ABBEB4E0}" sibTransId="{10936CB0-43A5-40E3-9531-F515C5892312}"/>
    <dgm:cxn modelId="{B637F4E3-26A6-4F2D-A4FB-96CA97BD30B4}" type="presOf" srcId="{16FC9908-4474-4C96-9EE9-A3F5ABBEB4E0}" destId="{262D4AF0-E33C-4295-823E-D8614F5237EC}" srcOrd="0" destOrd="0" presId="urn:microsoft.com/office/officeart/2005/8/layout/hierarchy2"/>
    <dgm:cxn modelId="{590498E5-13F4-4BFB-9513-03FA52C62489}" type="presOf" srcId="{D8CFFCD1-54AD-4F0B-9A6E-06FA5BC4F375}" destId="{BD76F8FC-A23E-4B40-B4CA-38B0CE6BEF78}" srcOrd="0" destOrd="0" presId="urn:microsoft.com/office/officeart/2005/8/layout/hierarchy2"/>
    <dgm:cxn modelId="{8E9692ED-B24F-4096-A985-9F44D0D9B21D}" srcId="{5AFE294F-2C5A-4855-92D7-D951F2364B24}" destId="{3E613682-48FB-456E-91DB-8C0058972B35}" srcOrd="5" destOrd="0" parTransId="{7C0ABA15-580C-4310-BB97-6113878727E5}" sibTransId="{714249A2-DE77-4BAF-A725-2315E238C802}"/>
    <dgm:cxn modelId="{78670EEF-CFA5-44F3-96C2-C60D568A60D1}" type="presOf" srcId="{59095617-608A-49AE-89F1-E1EB6E845405}" destId="{81A62FAA-3F5E-42AE-ABDE-904CCFD9F02D}" srcOrd="1" destOrd="0" presId="urn:microsoft.com/office/officeart/2005/8/layout/hierarchy2"/>
    <dgm:cxn modelId="{59CCDCEF-6787-4659-B365-DC6CB380BBAA}" type="presOf" srcId="{1EA6E2BF-C00F-4E3D-9F4D-750584CB7C16}" destId="{B130C37E-7F80-491D-B9BD-9C3C6A54B225}" srcOrd="0" destOrd="0" presId="urn:microsoft.com/office/officeart/2005/8/layout/hierarchy2"/>
    <dgm:cxn modelId="{D821C4F0-859D-4E8C-BF2A-DE55364B361B}" type="presOf" srcId="{AA4D55BF-4B3C-401A-9F7A-BC25A75F9B83}" destId="{1B3592ED-7D7F-47BA-87A0-80658E8E7985}" srcOrd="0" destOrd="0" presId="urn:microsoft.com/office/officeart/2005/8/layout/hierarchy2"/>
    <dgm:cxn modelId="{938039F4-2A9F-48FC-BF11-58331340220D}" type="presOf" srcId="{74AC7D26-1B03-4D42-8BC3-31AE77BA2302}" destId="{AC54ADE7-659A-4567-8AA6-4459C7D433A9}" srcOrd="1" destOrd="0" presId="urn:microsoft.com/office/officeart/2005/8/layout/hierarchy2"/>
    <dgm:cxn modelId="{1990E4F5-48A7-4484-8775-E283D33573D6}" srcId="{88E629E6-E1C0-4EF9-97B5-325C470BB551}" destId="{092CFC87-76BE-47C6-AE61-6D5E100329B6}" srcOrd="0" destOrd="0" parTransId="{0668BAE2-72A2-4607-AFB9-99C050ED279A}" sibTransId="{1A01DBD3-6710-4945-AA22-44EB5048E496}"/>
    <dgm:cxn modelId="{E97544FD-8F3B-4CE9-9BF3-593AECFFB964}" type="presOf" srcId="{7C0ABA15-580C-4310-BB97-6113878727E5}" destId="{34BD2122-6A6F-4F36-8346-864177B8A328}" srcOrd="0" destOrd="0" presId="urn:microsoft.com/office/officeart/2005/8/layout/hierarchy2"/>
    <dgm:cxn modelId="{6116232C-A963-4924-A734-79F99530C2E0}" type="presParOf" srcId="{8ABBACE0-D732-48D5-9228-1FF1A0DF6403}" destId="{CBD06B68-7236-46D7-8A9F-F5D93428F9DF}" srcOrd="0" destOrd="0" presId="urn:microsoft.com/office/officeart/2005/8/layout/hierarchy2"/>
    <dgm:cxn modelId="{659F47D1-E3FA-44DF-A271-80298EDE88E6}" type="presParOf" srcId="{CBD06B68-7236-46D7-8A9F-F5D93428F9DF}" destId="{72D01C71-4D28-4751-AE67-4DAF562F986E}" srcOrd="0" destOrd="0" presId="urn:microsoft.com/office/officeart/2005/8/layout/hierarchy2"/>
    <dgm:cxn modelId="{5CDFD209-C95A-4488-BEAE-0BA82080493C}" type="presParOf" srcId="{CBD06B68-7236-46D7-8A9F-F5D93428F9DF}" destId="{80ABE848-A785-474B-8807-22701BB118D9}" srcOrd="1" destOrd="0" presId="urn:microsoft.com/office/officeart/2005/8/layout/hierarchy2"/>
    <dgm:cxn modelId="{0B8CD087-7F52-4A57-A3B5-D57674EEF5A0}" type="presParOf" srcId="{80ABE848-A785-474B-8807-22701BB118D9}" destId="{07351BC3-1DCF-4CA0-8978-C7C6A8314A80}" srcOrd="0" destOrd="0" presId="urn:microsoft.com/office/officeart/2005/8/layout/hierarchy2"/>
    <dgm:cxn modelId="{28DF7AF6-6FCE-4610-8C58-35AD600D738A}" type="presParOf" srcId="{07351BC3-1DCF-4CA0-8978-C7C6A8314A80}" destId="{44121C89-9CAB-4C89-9223-4E46D7EB5452}" srcOrd="0" destOrd="0" presId="urn:microsoft.com/office/officeart/2005/8/layout/hierarchy2"/>
    <dgm:cxn modelId="{E59145C0-C36C-421B-A2EC-D78A41B8320C}" type="presParOf" srcId="{80ABE848-A785-474B-8807-22701BB118D9}" destId="{59D983D6-5902-4FC6-9130-675FA295A1C8}" srcOrd="1" destOrd="0" presId="urn:microsoft.com/office/officeart/2005/8/layout/hierarchy2"/>
    <dgm:cxn modelId="{5144715A-538E-401C-B8C4-96AB4A42EB7D}" type="presParOf" srcId="{59D983D6-5902-4FC6-9130-675FA295A1C8}" destId="{FEBFFE11-7BA4-4E4D-9ED0-F3F014C82753}" srcOrd="0" destOrd="0" presId="urn:microsoft.com/office/officeart/2005/8/layout/hierarchy2"/>
    <dgm:cxn modelId="{D9B165C4-CD3C-4CCA-9186-A20373894A96}" type="presParOf" srcId="{59D983D6-5902-4FC6-9130-675FA295A1C8}" destId="{584A3FF6-58F6-4AA0-8FF8-BB2A2D913D00}" srcOrd="1" destOrd="0" presId="urn:microsoft.com/office/officeart/2005/8/layout/hierarchy2"/>
    <dgm:cxn modelId="{92B0D1E5-0111-438F-84A7-F3DAA50E133A}" type="presParOf" srcId="{80ABE848-A785-474B-8807-22701BB118D9}" destId="{BAE0B734-93EA-424E-B571-3999877CFB05}" srcOrd="2" destOrd="0" presId="urn:microsoft.com/office/officeart/2005/8/layout/hierarchy2"/>
    <dgm:cxn modelId="{5A8E0546-4294-4EF2-9335-2317D8E93797}" type="presParOf" srcId="{BAE0B734-93EA-424E-B571-3999877CFB05}" destId="{2A783B83-785C-4642-A36B-AF4526B1F6A1}" srcOrd="0" destOrd="0" presId="urn:microsoft.com/office/officeart/2005/8/layout/hierarchy2"/>
    <dgm:cxn modelId="{F4B82F32-30FD-4577-AA18-03AACE1BC6E8}" type="presParOf" srcId="{80ABE848-A785-474B-8807-22701BB118D9}" destId="{D98115F9-13E0-4B86-9C11-90E0FE5CC69F}" srcOrd="3" destOrd="0" presId="urn:microsoft.com/office/officeart/2005/8/layout/hierarchy2"/>
    <dgm:cxn modelId="{6B7A50E2-AF39-4648-9B73-FFF17496D676}" type="presParOf" srcId="{D98115F9-13E0-4B86-9C11-90E0FE5CC69F}" destId="{EE054F72-638C-48B5-834A-D03C2E673A0E}" srcOrd="0" destOrd="0" presId="urn:microsoft.com/office/officeart/2005/8/layout/hierarchy2"/>
    <dgm:cxn modelId="{86377649-7C2B-4D25-951D-B91DE91D5B2E}" type="presParOf" srcId="{D98115F9-13E0-4B86-9C11-90E0FE5CC69F}" destId="{819B0848-5B3A-4A38-86CD-29378E8163A2}" srcOrd="1" destOrd="0" presId="urn:microsoft.com/office/officeart/2005/8/layout/hierarchy2"/>
    <dgm:cxn modelId="{77E504CA-B0D2-416A-BB55-CCCEDAFFBA03}" type="presParOf" srcId="{819B0848-5B3A-4A38-86CD-29378E8163A2}" destId="{1A84CA5D-9E59-4D6C-9AF4-1E24AA6E3239}" srcOrd="0" destOrd="0" presId="urn:microsoft.com/office/officeart/2005/8/layout/hierarchy2"/>
    <dgm:cxn modelId="{EBD39735-C520-4509-A843-39A8E8190561}" type="presParOf" srcId="{1A84CA5D-9E59-4D6C-9AF4-1E24AA6E3239}" destId="{70F57CFC-B650-41DA-9315-97CA92339F7E}" srcOrd="0" destOrd="0" presId="urn:microsoft.com/office/officeart/2005/8/layout/hierarchy2"/>
    <dgm:cxn modelId="{B03064B8-9215-41C8-9F8A-E0FD1DE9EF1F}" type="presParOf" srcId="{819B0848-5B3A-4A38-86CD-29378E8163A2}" destId="{A4108810-51D0-4CB5-B4C6-F4F96E172003}" srcOrd="1" destOrd="0" presId="urn:microsoft.com/office/officeart/2005/8/layout/hierarchy2"/>
    <dgm:cxn modelId="{D778A64C-67F3-4A1F-AF24-9209352BD938}" type="presParOf" srcId="{A4108810-51D0-4CB5-B4C6-F4F96E172003}" destId="{FFEB6B91-4E5F-45CE-AAAF-6D5DF7F087BE}" srcOrd="0" destOrd="0" presId="urn:microsoft.com/office/officeart/2005/8/layout/hierarchy2"/>
    <dgm:cxn modelId="{222012F2-230B-48E4-9966-B80D80CF0B08}" type="presParOf" srcId="{A4108810-51D0-4CB5-B4C6-F4F96E172003}" destId="{82993F55-A8F7-4CBB-8603-D9C831DFECB2}" srcOrd="1" destOrd="0" presId="urn:microsoft.com/office/officeart/2005/8/layout/hierarchy2"/>
    <dgm:cxn modelId="{F7162823-A1D1-4990-A1A9-AF9819DC91B7}" type="presParOf" srcId="{819B0848-5B3A-4A38-86CD-29378E8163A2}" destId="{79BBC604-A12B-4AF8-AEF4-8E62B2AE80FA}" srcOrd="2" destOrd="0" presId="urn:microsoft.com/office/officeart/2005/8/layout/hierarchy2"/>
    <dgm:cxn modelId="{9A209928-236E-4C34-9FCD-827383D940CD}" type="presParOf" srcId="{79BBC604-A12B-4AF8-AEF4-8E62B2AE80FA}" destId="{81A62FAA-3F5E-42AE-ABDE-904CCFD9F02D}" srcOrd="0" destOrd="0" presId="urn:microsoft.com/office/officeart/2005/8/layout/hierarchy2"/>
    <dgm:cxn modelId="{9A372AD9-99C8-4C6B-876D-EAD65663F65C}" type="presParOf" srcId="{819B0848-5B3A-4A38-86CD-29378E8163A2}" destId="{29F3A6D1-088C-42E8-8EE7-5F2B3C57AF13}" srcOrd="3" destOrd="0" presId="urn:microsoft.com/office/officeart/2005/8/layout/hierarchy2"/>
    <dgm:cxn modelId="{31008F42-3325-4B65-B687-953EFAD72A47}" type="presParOf" srcId="{29F3A6D1-088C-42E8-8EE7-5F2B3C57AF13}" destId="{BD76F8FC-A23E-4B40-B4CA-38B0CE6BEF78}" srcOrd="0" destOrd="0" presId="urn:microsoft.com/office/officeart/2005/8/layout/hierarchy2"/>
    <dgm:cxn modelId="{1CF5D999-E7C4-45C2-AC5D-03DD289B049E}" type="presParOf" srcId="{29F3A6D1-088C-42E8-8EE7-5F2B3C57AF13}" destId="{A92FD734-E46D-4A0E-85E5-CF82A458E991}" srcOrd="1" destOrd="0" presId="urn:microsoft.com/office/officeart/2005/8/layout/hierarchy2"/>
    <dgm:cxn modelId="{0C337642-35DA-4404-BC9C-AFEA2165D0F9}" type="presParOf" srcId="{819B0848-5B3A-4A38-86CD-29378E8163A2}" destId="{B130C37E-7F80-491D-B9BD-9C3C6A54B225}" srcOrd="4" destOrd="0" presId="urn:microsoft.com/office/officeart/2005/8/layout/hierarchy2"/>
    <dgm:cxn modelId="{E3C1CAFB-3904-4BBA-9FCB-6B52816E2772}" type="presParOf" srcId="{B130C37E-7F80-491D-B9BD-9C3C6A54B225}" destId="{6DB5A5A8-285A-49F3-9360-076D64BA91AE}" srcOrd="0" destOrd="0" presId="urn:microsoft.com/office/officeart/2005/8/layout/hierarchy2"/>
    <dgm:cxn modelId="{E5F5A4EC-222F-43E7-956B-390E20998AC9}" type="presParOf" srcId="{819B0848-5B3A-4A38-86CD-29378E8163A2}" destId="{B7C928D1-C6BE-42C4-85A6-C936E0983440}" srcOrd="5" destOrd="0" presId="urn:microsoft.com/office/officeart/2005/8/layout/hierarchy2"/>
    <dgm:cxn modelId="{0B3DDFD9-1D84-490D-B4B5-D83B7F40E452}" type="presParOf" srcId="{B7C928D1-C6BE-42C4-85A6-C936E0983440}" destId="{8CCBE6BB-4028-446B-8065-4C310DBAFE97}" srcOrd="0" destOrd="0" presId="urn:microsoft.com/office/officeart/2005/8/layout/hierarchy2"/>
    <dgm:cxn modelId="{72C20A11-76ED-4132-956F-7ED388F5A5DF}" type="presParOf" srcId="{B7C928D1-C6BE-42C4-85A6-C936E0983440}" destId="{441ADF94-6270-41FF-8E22-5C1002067972}" srcOrd="1" destOrd="0" presId="urn:microsoft.com/office/officeart/2005/8/layout/hierarchy2"/>
    <dgm:cxn modelId="{35F5070A-D5D3-4617-BAAB-3E6F2BC32C7A}" type="presParOf" srcId="{80ABE848-A785-474B-8807-22701BB118D9}" destId="{262D4AF0-E33C-4295-823E-D8614F5237EC}" srcOrd="4" destOrd="0" presId="urn:microsoft.com/office/officeart/2005/8/layout/hierarchy2"/>
    <dgm:cxn modelId="{DBCAD4A1-FF58-444E-BC78-95C9B67A0202}" type="presParOf" srcId="{262D4AF0-E33C-4295-823E-D8614F5237EC}" destId="{E674CA8B-130C-4F67-8B27-E61FCC381EBF}" srcOrd="0" destOrd="0" presId="urn:microsoft.com/office/officeart/2005/8/layout/hierarchy2"/>
    <dgm:cxn modelId="{09EC651E-4D35-4DDE-8F01-061CDC772A3A}" type="presParOf" srcId="{80ABE848-A785-474B-8807-22701BB118D9}" destId="{FFB3D1A8-6EE4-4DF9-9909-1E4664A2A044}" srcOrd="5" destOrd="0" presId="urn:microsoft.com/office/officeart/2005/8/layout/hierarchy2"/>
    <dgm:cxn modelId="{B9282CE2-4930-4787-A963-D24A58178343}" type="presParOf" srcId="{FFB3D1A8-6EE4-4DF9-9909-1E4664A2A044}" destId="{F6D11BB8-7A0D-460D-B628-36E659A28C4B}" srcOrd="0" destOrd="0" presId="urn:microsoft.com/office/officeart/2005/8/layout/hierarchy2"/>
    <dgm:cxn modelId="{3406BC45-6020-4676-8EFF-09E88E9FB4E5}" type="presParOf" srcId="{FFB3D1A8-6EE4-4DF9-9909-1E4664A2A044}" destId="{5BD82CE2-F90B-4751-B908-BD32A8543B1B}" srcOrd="1" destOrd="0" presId="urn:microsoft.com/office/officeart/2005/8/layout/hierarchy2"/>
    <dgm:cxn modelId="{29DE7E03-C986-4D86-A418-B60B260AF1A4}" type="presParOf" srcId="{80ABE848-A785-474B-8807-22701BB118D9}" destId="{A59584E7-E9E0-4B71-A2F8-6954B0406BCA}" srcOrd="6" destOrd="0" presId="urn:microsoft.com/office/officeart/2005/8/layout/hierarchy2"/>
    <dgm:cxn modelId="{D58CF413-F5C0-46CB-8BFC-B9C78A167C34}" type="presParOf" srcId="{A59584E7-E9E0-4B71-A2F8-6954B0406BCA}" destId="{48B255B3-8C6F-44FE-82E2-D02224D9F84C}" srcOrd="0" destOrd="0" presId="urn:microsoft.com/office/officeart/2005/8/layout/hierarchy2"/>
    <dgm:cxn modelId="{367C611E-B9EC-4610-A816-8861C4BD0E48}" type="presParOf" srcId="{80ABE848-A785-474B-8807-22701BB118D9}" destId="{87921D44-CE0E-4D95-8847-818A2EDCBB61}" srcOrd="7" destOrd="0" presId="urn:microsoft.com/office/officeart/2005/8/layout/hierarchy2"/>
    <dgm:cxn modelId="{D4984D52-A9B2-4679-9182-76FA2AE2FE09}" type="presParOf" srcId="{87921D44-CE0E-4D95-8847-818A2EDCBB61}" destId="{F03928C4-8CF9-4272-BC2C-D8D3BA3C1C79}" srcOrd="0" destOrd="0" presId="urn:microsoft.com/office/officeart/2005/8/layout/hierarchy2"/>
    <dgm:cxn modelId="{9BC3BEE5-2E96-4F4A-8A7A-66C07EF29267}" type="presParOf" srcId="{87921D44-CE0E-4D95-8847-818A2EDCBB61}" destId="{1E037C73-49F7-419D-87E2-CB59CCBB8A03}" srcOrd="1" destOrd="0" presId="urn:microsoft.com/office/officeart/2005/8/layout/hierarchy2"/>
    <dgm:cxn modelId="{C998B7F4-E94D-4BBC-BFAB-8753759EA6C5}" type="presParOf" srcId="{80ABE848-A785-474B-8807-22701BB118D9}" destId="{D60F3045-0E15-4EB0-9282-85B79ACDC073}" srcOrd="8" destOrd="0" presId="urn:microsoft.com/office/officeart/2005/8/layout/hierarchy2"/>
    <dgm:cxn modelId="{6E55F5DD-99E9-4CF1-BD0B-6DB7D976B868}" type="presParOf" srcId="{D60F3045-0E15-4EB0-9282-85B79ACDC073}" destId="{AC54ADE7-659A-4567-8AA6-4459C7D433A9}" srcOrd="0" destOrd="0" presId="urn:microsoft.com/office/officeart/2005/8/layout/hierarchy2"/>
    <dgm:cxn modelId="{3F1C9CE4-200F-415E-B661-5A8DD2592956}" type="presParOf" srcId="{80ABE848-A785-474B-8807-22701BB118D9}" destId="{D6ACF37C-5BEF-479E-89B6-9F8379492FF4}" srcOrd="9" destOrd="0" presId="urn:microsoft.com/office/officeart/2005/8/layout/hierarchy2"/>
    <dgm:cxn modelId="{C40F1F95-7F48-468B-8D49-FACFBEEA027F}" type="presParOf" srcId="{D6ACF37C-5BEF-479E-89B6-9F8379492FF4}" destId="{59851303-6278-42ED-A2CE-C7F99DCD12FA}" srcOrd="0" destOrd="0" presId="urn:microsoft.com/office/officeart/2005/8/layout/hierarchy2"/>
    <dgm:cxn modelId="{318EF876-74CF-4C9A-A104-B90B62537342}" type="presParOf" srcId="{D6ACF37C-5BEF-479E-89B6-9F8379492FF4}" destId="{BA34ABD3-3D13-4BE4-AB9F-F298A5CC2431}" srcOrd="1" destOrd="0" presId="urn:microsoft.com/office/officeart/2005/8/layout/hierarchy2"/>
    <dgm:cxn modelId="{5E2B99E1-02D5-4CC0-92A1-87FAA3DBFCE9}" type="presParOf" srcId="{80ABE848-A785-474B-8807-22701BB118D9}" destId="{34BD2122-6A6F-4F36-8346-864177B8A328}" srcOrd="10" destOrd="0" presId="urn:microsoft.com/office/officeart/2005/8/layout/hierarchy2"/>
    <dgm:cxn modelId="{376B2166-28D2-4E04-8C8F-EBCF383DD76F}" type="presParOf" srcId="{34BD2122-6A6F-4F36-8346-864177B8A328}" destId="{9AE0C816-4CA9-4A71-8D9C-6747B8AF5441}" srcOrd="0" destOrd="0" presId="urn:microsoft.com/office/officeart/2005/8/layout/hierarchy2"/>
    <dgm:cxn modelId="{206F1A55-7E57-42B6-9BB1-FECF1FA78BC5}" type="presParOf" srcId="{80ABE848-A785-474B-8807-22701BB118D9}" destId="{9B6D71F4-F2F5-4F22-86DC-EDDF191E7D30}" srcOrd="11" destOrd="0" presId="urn:microsoft.com/office/officeart/2005/8/layout/hierarchy2"/>
    <dgm:cxn modelId="{E3DCF9D1-3610-4A89-A453-A81B4CE53F20}" type="presParOf" srcId="{9B6D71F4-F2F5-4F22-86DC-EDDF191E7D30}" destId="{69EFC86E-FB14-4F22-A860-2BD1BCEC2237}" srcOrd="0" destOrd="0" presId="urn:microsoft.com/office/officeart/2005/8/layout/hierarchy2"/>
    <dgm:cxn modelId="{66D3775A-62A0-44A2-A0CF-0FF2375713B0}" type="presParOf" srcId="{9B6D71F4-F2F5-4F22-86DC-EDDF191E7D30}" destId="{9AE4DA83-15C0-4EC9-9FC6-B39E74326389}" srcOrd="1" destOrd="0" presId="urn:microsoft.com/office/officeart/2005/8/layout/hierarchy2"/>
    <dgm:cxn modelId="{0B4C4B40-FA3F-4F2D-A0B9-907472A31F93}" type="presParOf" srcId="{80ABE848-A785-474B-8807-22701BB118D9}" destId="{46693A0A-26DA-4777-9BDF-D17FB7DB0DA3}" srcOrd="12" destOrd="0" presId="urn:microsoft.com/office/officeart/2005/8/layout/hierarchy2"/>
    <dgm:cxn modelId="{8330BB0D-31F2-4615-BB41-519E1748B7FF}" type="presParOf" srcId="{46693A0A-26DA-4777-9BDF-D17FB7DB0DA3}" destId="{720A30FF-9943-4E9D-855C-FB2B794BA963}" srcOrd="0" destOrd="0" presId="urn:microsoft.com/office/officeart/2005/8/layout/hierarchy2"/>
    <dgm:cxn modelId="{5E075F05-BD22-4004-A7C1-45C96E9D4EA6}" type="presParOf" srcId="{80ABE848-A785-474B-8807-22701BB118D9}" destId="{649D041D-4C77-4EEC-B12D-E9A3E02D21A3}" srcOrd="13" destOrd="0" presId="urn:microsoft.com/office/officeart/2005/8/layout/hierarchy2"/>
    <dgm:cxn modelId="{A884DAE6-D75E-4E9F-8955-014ED2E02DE1}" type="presParOf" srcId="{649D041D-4C77-4EEC-B12D-E9A3E02D21A3}" destId="{1B3592ED-7D7F-47BA-87A0-80658E8E7985}" srcOrd="0" destOrd="0" presId="urn:microsoft.com/office/officeart/2005/8/layout/hierarchy2"/>
    <dgm:cxn modelId="{17D47C48-6160-4EBE-A8DF-B1DF51D1B6C5}" type="presParOf" srcId="{649D041D-4C77-4EEC-B12D-E9A3E02D21A3}" destId="{B0E6EAC2-A053-4CFD-8657-72242C49BDE9}" srcOrd="1" destOrd="0" presId="urn:microsoft.com/office/officeart/2005/8/layout/hierarchy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40.xml><?xml version="1.0" encoding="utf-8"?>
<dgm:dataModel xmlns:dgm="http://schemas.openxmlformats.org/drawingml/2006/diagram" xmlns:a="http://schemas.openxmlformats.org/drawingml/2006/main">
  <dgm:ptLst>
    <dgm:pt modelId="{0A03F5A8-F3FD-45D9-9484-B55D868B8EF8}" type="doc">
      <dgm:prSet loTypeId="urn:microsoft.com/office/officeart/2005/8/layout/hierarchy2" loCatId="hierarchy" qsTypeId="urn:microsoft.com/office/officeart/2005/8/quickstyle/simple1" qsCatId="simple" csTypeId="urn:microsoft.com/office/officeart/2005/8/colors/colorful4" csCatId="colorful" phldr="1"/>
      <dgm:spPr/>
      <dgm:t>
        <a:bodyPr/>
        <a:lstStyle/>
        <a:p>
          <a:endParaRPr lang="fr-FR"/>
        </a:p>
      </dgm:t>
    </dgm:pt>
    <dgm:pt modelId="{5AFE294F-2C5A-4855-92D7-D951F2364B24}">
      <dgm:prSet phldrT="[Text]"/>
      <dgm:spPr/>
      <dgm:t>
        <a:bodyPr/>
        <a:lstStyle/>
        <a:p>
          <a:r>
            <a:rPr lang="fr-FR" noProof="0"/>
            <a:t>Déclaration Sinistre Auto</a:t>
          </a:r>
        </a:p>
      </dgm:t>
    </dgm:pt>
    <dgm:pt modelId="{59071923-9C14-4471-B358-4D2ED5014DA0}" type="parTrans" cxnId="{26563084-E3C3-44C5-A4DD-B0405719EAC8}">
      <dgm:prSet/>
      <dgm:spPr/>
      <dgm:t>
        <a:bodyPr/>
        <a:lstStyle/>
        <a:p>
          <a:endParaRPr lang="fr-FR"/>
        </a:p>
      </dgm:t>
    </dgm:pt>
    <dgm:pt modelId="{658A2DAE-EECD-4864-AC63-1E03841E93DC}" type="sibTrans" cxnId="{26563084-E3C3-44C5-A4DD-B0405719EAC8}">
      <dgm:prSet/>
      <dgm:spPr/>
      <dgm:t>
        <a:bodyPr/>
        <a:lstStyle/>
        <a:p>
          <a:endParaRPr lang="fr-FR"/>
        </a:p>
      </dgm:t>
    </dgm:pt>
    <dgm:pt modelId="{10AD6D04-1F96-446C-9D6B-934B83F073EE}">
      <dgm:prSet phldrT="[Text]"/>
      <dgm:spPr/>
      <dgm:t>
        <a:bodyPr/>
        <a:lstStyle/>
        <a:p>
          <a:r>
            <a:rPr lang="fr-FR" noProof="0"/>
            <a:t>Login Wac</a:t>
          </a:r>
        </a:p>
      </dgm:t>
    </dgm:pt>
    <dgm:pt modelId="{830D246C-E2B3-4B4C-B993-2E0FABC2686C}" type="parTrans" cxnId="{1D0745CA-FAE3-4E64-AFCD-79A77238E8DC}">
      <dgm:prSet/>
      <dgm:spPr/>
      <dgm:t>
        <a:bodyPr/>
        <a:lstStyle/>
        <a:p>
          <a:endParaRPr lang="fr-FR"/>
        </a:p>
      </dgm:t>
    </dgm:pt>
    <dgm:pt modelId="{71D29F6D-0616-4931-8E8B-F15609D95926}" type="sibTrans" cxnId="{1D0745CA-FAE3-4E64-AFCD-79A77238E8DC}">
      <dgm:prSet/>
      <dgm:spPr/>
      <dgm:t>
        <a:bodyPr/>
        <a:lstStyle/>
        <a:p>
          <a:endParaRPr lang="fr-FR"/>
        </a:p>
      </dgm:t>
    </dgm:pt>
    <dgm:pt modelId="{88E629E6-E1C0-4EF9-97B5-325C470BB551}">
      <dgm:prSet phldrT="[Text]"/>
      <dgm:spPr/>
      <dgm:t>
        <a:bodyPr/>
        <a:lstStyle/>
        <a:p>
          <a:r>
            <a:rPr lang="fr-FR" noProof="0"/>
            <a:t>Nouveau Sinistre Auto</a:t>
          </a:r>
        </a:p>
      </dgm:t>
    </dgm:pt>
    <dgm:pt modelId="{9B9B9D39-E2C5-41F7-AE05-923673A1648A}" type="parTrans" cxnId="{24C5520A-9F72-4651-8071-B18B9233CB1F}">
      <dgm:prSet/>
      <dgm:spPr/>
      <dgm:t>
        <a:bodyPr/>
        <a:lstStyle/>
        <a:p>
          <a:endParaRPr lang="fr-FR"/>
        </a:p>
      </dgm:t>
    </dgm:pt>
    <dgm:pt modelId="{0098208C-12AB-4E3B-B209-464C2E6B34E2}" type="sibTrans" cxnId="{24C5520A-9F72-4651-8071-B18B9233CB1F}">
      <dgm:prSet/>
      <dgm:spPr/>
      <dgm:t>
        <a:bodyPr/>
        <a:lstStyle/>
        <a:p>
          <a:endParaRPr lang="fr-FR"/>
        </a:p>
      </dgm:t>
    </dgm:pt>
    <dgm:pt modelId="{AA4D55BF-4B3C-401A-9F7A-BC25A75F9B83}">
      <dgm:prSet phldrT="[Text]"/>
      <dgm:spPr/>
      <dgm:t>
        <a:bodyPr/>
        <a:lstStyle/>
        <a:p>
          <a:r>
            <a:rPr lang="en-US" noProof="0"/>
            <a:t>Fin Declaration</a:t>
          </a:r>
          <a:endParaRPr lang="fr-FR" noProof="0"/>
        </a:p>
      </dgm:t>
    </dgm:pt>
    <dgm:pt modelId="{D4FEC653-CBE1-4896-AA74-B5E1A62A4C97}" type="parTrans" cxnId="{A4E1F1B9-C95D-45E2-B6A0-C39D46E8FB6E}">
      <dgm:prSet/>
      <dgm:spPr/>
      <dgm:t>
        <a:bodyPr/>
        <a:lstStyle/>
        <a:p>
          <a:endParaRPr lang="fr-FR"/>
        </a:p>
      </dgm:t>
    </dgm:pt>
    <dgm:pt modelId="{2FC15A8F-F584-4588-B9D4-3EE7EFDD465C}" type="sibTrans" cxnId="{A4E1F1B9-C95D-45E2-B6A0-C39D46E8FB6E}">
      <dgm:prSet/>
      <dgm:spPr/>
      <dgm:t>
        <a:bodyPr/>
        <a:lstStyle/>
        <a:p>
          <a:endParaRPr lang="fr-FR"/>
        </a:p>
      </dgm:t>
    </dgm:pt>
    <dgm:pt modelId="{55815225-F99C-4F51-ADD4-454BE462E3C7}">
      <dgm:prSet phldrT="[Text]"/>
      <dgm:spPr/>
      <dgm:t>
        <a:bodyPr/>
        <a:lstStyle/>
        <a:p>
          <a:r>
            <a:rPr lang="fr-FR" noProof="0"/>
            <a:t>Contexte Sinistre Auto</a:t>
          </a:r>
        </a:p>
      </dgm:t>
    </dgm:pt>
    <dgm:pt modelId="{E61AB607-D762-46F4-B750-B4D0C3A344AD}" type="parTrans" cxnId="{FBD0947C-8374-4A5E-89CE-B6017DF42439}">
      <dgm:prSet/>
      <dgm:spPr/>
      <dgm:t>
        <a:bodyPr/>
        <a:lstStyle/>
        <a:p>
          <a:endParaRPr lang="fr-FR"/>
        </a:p>
      </dgm:t>
    </dgm:pt>
    <dgm:pt modelId="{8E5530B8-5448-475C-BFC2-70CF55C5F29F}" type="sibTrans" cxnId="{FBD0947C-8374-4A5E-89CE-B6017DF42439}">
      <dgm:prSet/>
      <dgm:spPr/>
      <dgm:t>
        <a:bodyPr/>
        <a:lstStyle/>
        <a:p>
          <a:endParaRPr lang="fr-FR"/>
        </a:p>
      </dgm:t>
    </dgm:pt>
    <dgm:pt modelId="{320D49E2-1155-435B-960B-478F5DD3F93C}">
      <dgm:prSet phldrT="[Text]"/>
      <dgm:spPr/>
      <dgm:t>
        <a:bodyPr/>
        <a:lstStyle/>
        <a:p>
          <a:r>
            <a:rPr lang="fr-FR" noProof="0"/>
            <a:t>Dommage Assuré</a:t>
          </a:r>
        </a:p>
      </dgm:t>
    </dgm:pt>
    <dgm:pt modelId="{74AC7D26-1B03-4D42-8BC3-31AE77BA2302}" type="parTrans" cxnId="{33AC6A8B-F393-455E-BE54-4E8ACE32D61E}">
      <dgm:prSet/>
      <dgm:spPr/>
      <dgm:t>
        <a:bodyPr/>
        <a:lstStyle/>
        <a:p>
          <a:endParaRPr lang="fr-FR"/>
        </a:p>
      </dgm:t>
    </dgm:pt>
    <dgm:pt modelId="{B700B9D0-2220-4E7C-BD02-FEB4AD98D5B9}" type="sibTrans" cxnId="{33AC6A8B-F393-455E-BE54-4E8ACE32D61E}">
      <dgm:prSet/>
      <dgm:spPr/>
      <dgm:t>
        <a:bodyPr/>
        <a:lstStyle/>
        <a:p>
          <a:endParaRPr lang="fr-FR"/>
        </a:p>
      </dgm:t>
    </dgm:pt>
    <dgm:pt modelId="{3E613682-48FB-456E-91DB-8C0058972B35}">
      <dgm:prSet phldrT="[Text]"/>
      <dgm:spPr/>
      <dgm:t>
        <a:bodyPr/>
        <a:lstStyle/>
        <a:p>
          <a:r>
            <a:rPr lang="fr-FR" noProof="0"/>
            <a:t>Décision Technique</a:t>
          </a:r>
        </a:p>
      </dgm:t>
    </dgm:pt>
    <dgm:pt modelId="{7C0ABA15-580C-4310-BB97-6113878727E5}" type="parTrans" cxnId="{8E9692ED-B24F-4096-A985-9F44D0D9B21D}">
      <dgm:prSet/>
      <dgm:spPr/>
      <dgm:t>
        <a:bodyPr/>
        <a:lstStyle/>
        <a:p>
          <a:endParaRPr lang="fr-FR"/>
        </a:p>
      </dgm:t>
    </dgm:pt>
    <dgm:pt modelId="{714249A2-DE77-4BAF-A725-2315E238C802}" type="sibTrans" cxnId="{8E9692ED-B24F-4096-A985-9F44D0D9B21D}">
      <dgm:prSet/>
      <dgm:spPr/>
      <dgm:t>
        <a:bodyPr/>
        <a:lstStyle/>
        <a:p>
          <a:endParaRPr lang="fr-FR"/>
        </a:p>
      </dgm:t>
    </dgm:pt>
    <dgm:pt modelId="{B373B6CD-2D21-4F1B-808A-E73F8F8550A8}">
      <dgm:prSet phldrT="[Text]"/>
      <dgm:spPr/>
      <dgm:t>
        <a:bodyPr/>
        <a:lstStyle/>
        <a:p>
          <a:r>
            <a:rPr lang="fr-FR" noProof="0"/>
            <a:t>Contexte Client</a:t>
          </a:r>
        </a:p>
      </dgm:t>
    </dgm:pt>
    <dgm:pt modelId="{16FC9908-4474-4C96-9EE9-A3F5ABBEB4E0}" type="parTrans" cxnId="{85E5C9D1-B25D-4A96-B88A-533461E997D6}">
      <dgm:prSet/>
      <dgm:spPr/>
      <dgm:t>
        <a:bodyPr/>
        <a:lstStyle/>
        <a:p>
          <a:endParaRPr lang="fr-FR"/>
        </a:p>
      </dgm:t>
    </dgm:pt>
    <dgm:pt modelId="{10936CB0-43A5-40E3-9531-F515C5892312}" type="sibTrans" cxnId="{85E5C9D1-B25D-4A96-B88A-533461E997D6}">
      <dgm:prSet/>
      <dgm:spPr/>
      <dgm:t>
        <a:bodyPr/>
        <a:lstStyle/>
        <a:p>
          <a:endParaRPr lang="fr-FR"/>
        </a:p>
      </dgm:t>
    </dgm:pt>
    <dgm:pt modelId="{092CFC87-76BE-47C6-AE61-6D5E100329B6}">
      <dgm:prSet phldrT="[Text]"/>
      <dgm:spPr/>
      <dgm:t>
        <a:bodyPr/>
        <a:lstStyle/>
        <a:p>
          <a:r>
            <a:rPr lang="fr-FR" noProof="0"/>
            <a:t>Accident</a:t>
          </a:r>
        </a:p>
      </dgm:t>
    </dgm:pt>
    <dgm:pt modelId="{0668BAE2-72A2-4607-AFB9-99C050ED279A}" type="parTrans" cxnId="{1990E4F5-48A7-4484-8775-E283D33573D6}">
      <dgm:prSet/>
      <dgm:spPr/>
      <dgm:t>
        <a:bodyPr/>
        <a:lstStyle/>
        <a:p>
          <a:endParaRPr lang="fr-FR"/>
        </a:p>
      </dgm:t>
    </dgm:pt>
    <dgm:pt modelId="{1A01DBD3-6710-4945-AA22-44EB5048E496}" type="sibTrans" cxnId="{1990E4F5-48A7-4484-8775-E283D33573D6}">
      <dgm:prSet/>
      <dgm:spPr/>
      <dgm:t>
        <a:bodyPr/>
        <a:lstStyle/>
        <a:p>
          <a:endParaRPr lang="fr-FR"/>
        </a:p>
      </dgm:t>
    </dgm:pt>
    <dgm:pt modelId="{D8CFFCD1-54AD-4F0B-9A6E-06FA5BC4F375}">
      <dgm:prSet phldrT="[Text]"/>
      <dgm:spPr/>
      <dgm:t>
        <a:bodyPr/>
        <a:lstStyle/>
        <a:p>
          <a:r>
            <a:rPr lang="fr-FR" noProof="0"/>
            <a:t>Bris De Glace</a:t>
          </a:r>
        </a:p>
      </dgm:t>
    </dgm:pt>
    <dgm:pt modelId="{59095617-608A-49AE-89F1-E1EB6E845405}" type="parTrans" cxnId="{673B910A-2975-41B1-8DB8-004D70DF5E34}">
      <dgm:prSet/>
      <dgm:spPr/>
      <dgm:t>
        <a:bodyPr/>
        <a:lstStyle/>
        <a:p>
          <a:endParaRPr lang="fr-FR"/>
        </a:p>
      </dgm:t>
    </dgm:pt>
    <dgm:pt modelId="{2B5D7827-C5D1-4E66-BCB5-B95A5114E609}" type="sibTrans" cxnId="{673B910A-2975-41B1-8DB8-004D70DF5E34}">
      <dgm:prSet/>
      <dgm:spPr/>
      <dgm:t>
        <a:bodyPr/>
        <a:lstStyle/>
        <a:p>
          <a:endParaRPr lang="fr-FR"/>
        </a:p>
      </dgm:t>
    </dgm:pt>
    <dgm:pt modelId="{86A88BAA-F78D-4F89-98D5-E97D34793D32}">
      <dgm:prSet phldrT="[Text]"/>
      <dgm:spPr/>
      <dgm:t>
        <a:bodyPr/>
        <a:lstStyle/>
        <a:p>
          <a:r>
            <a:rPr lang="fr-FR" noProof="0"/>
            <a:t>Administrative</a:t>
          </a:r>
        </a:p>
      </dgm:t>
    </dgm:pt>
    <dgm:pt modelId="{1EA6E2BF-C00F-4E3D-9F4D-750584CB7C16}" type="parTrans" cxnId="{90B5B957-9837-4CD3-A848-85273D6A89D0}">
      <dgm:prSet/>
      <dgm:spPr/>
      <dgm:t>
        <a:bodyPr/>
        <a:lstStyle/>
        <a:p>
          <a:endParaRPr lang="fr-FR"/>
        </a:p>
      </dgm:t>
    </dgm:pt>
    <dgm:pt modelId="{97E2EC67-4F18-479B-A805-CB462FC3BFD7}" type="sibTrans" cxnId="{90B5B957-9837-4CD3-A848-85273D6A89D0}">
      <dgm:prSet/>
      <dgm:spPr/>
      <dgm:t>
        <a:bodyPr/>
        <a:lstStyle/>
        <a:p>
          <a:endParaRPr lang="fr-FR"/>
        </a:p>
      </dgm:t>
    </dgm:pt>
    <dgm:pt modelId="{8ABBACE0-D732-48D5-9228-1FF1A0DF6403}" type="pres">
      <dgm:prSet presAssocID="{0A03F5A8-F3FD-45D9-9484-B55D868B8EF8}" presName="diagram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</dgm:pt>
    <dgm:pt modelId="{CBD06B68-7236-46D7-8A9F-F5D93428F9DF}" type="pres">
      <dgm:prSet presAssocID="{5AFE294F-2C5A-4855-92D7-D951F2364B24}" presName="root1" presStyleCnt="0"/>
      <dgm:spPr/>
    </dgm:pt>
    <dgm:pt modelId="{72D01C71-4D28-4751-AE67-4DAF562F986E}" type="pres">
      <dgm:prSet presAssocID="{5AFE294F-2C5A-4855-92D7-D951F2364B24}" presName="LevelOneTextNode" presStyleLbl="node0" presStyleIdx="0" presStyleCnt="1">
        <dgm:presLayoutVars>
          <dgm:chPref val="3"/>
        </dgm:presLayoutVars>
      </dgm:prSet>
      <dgm:spPr/>
    </dgm:pt>
    <dgm:pt modelId="{80ABE848-A785-474B-8807-22701BB118D9}" type="pres">
      <dgm:prSet presAssocID="{5AFE294F-2C5A-4855-92D7-D951F2364B24}" presName="level2hierChild" presStyleCnt="0"/>
      <dgm:spPr/>
    </dgm:pt>
    <dgm:pt modelId="{07351BC3-1DCF-4CA0-8978-C7C6A8314A80}" type="pres">
      <dgm:prSet presAssocID="{830D246C-E2B3-4B4C-B993-2E0FABC2686C}" presName="conn2-1" presStyleLbl="parChTrans1D2" presStyleIdx="0" presStyleCnt="7"/>
      <dgm:spPr/>
    </dgm:pt>
    <dgm:pt modelId="{44121C89-9CAB-4C89-9223-4E46D7EB5452}" type="pres">
      <dgm:prSet presAssocID="{830D246C-E2B3-4B4C-B993-2E0FABC2686C}" presName="connTx" presStyleLbl="parChTrans1D2" presStyleIdx="0" presStyleCnt="7"/>
      <dgm:spPr/>
    </dgm:pt>
    <dgm:pt modelId="{59D983D6-5902-4FC6-9130-675FA295A1C8}" type="pres">
      <dgm:prSet presAssocID="{10AD6D04-1F96-446C-9D6B-934B83F073EE}" presName="root2" presStyleCnt="0"/>
      <dgm:spPr/>
    </dgm:pt>
    <dgm:pt modelId="{FEBFFE11-7BA4-4E4D-9ED0-F3F014C82753}" type="pres">
      <dgm:prSet presAssocID="{10AD6D04-1F96-446C-9D6B-934B83F073EE}" presName="LevelTwoTextNode" presStyleLbl="node2" presStyleIdx="0" presStyleCnt="7">
        <dgm:presLayoutVars>
          <dgm:chPref val="3"/>
        </dgm:presLayoutVars>
      </dgm:prSet>
      <dgm:spPr/>
    </dgm:pt>
    <dgm:pt modelId="{584A3FF6-58F6-4AA0-8FF8-BB2A2D913D00}" type="pres">
      <dgm:prSet presAssocID="{10AD6D04-1F96-446C-9D6B-934B83F073EE}" presName="level3hierChild" presStyleCnt="0"/>
      <dgm:spPr/>
    </dgm:pt>
    <dgm:pt modelId="{BAE0B734-93EA-424E-B571-3999877CFB05}" type="pres">
      <dgm:prSet presAssocID="{9B9B9D39-E2C5-41F7-AE05-923673A1648A}" presName="conn2-1" presStyleLbl="parChTrans1D2" presStyleIdx="1" presStyleCnt="7"/>
      <dgm:spPr/>
    </dgm:pt>
    <dgm:pt modelId="{2A783B83-785C-4642-A36B-AF4526B1F6A1}" type="pres">
      <dgm:prSet presAssocID="{9B9B9D39-E2C5-41F7-AE05-923673A1648A}" presName="connTx" presStyleLbl="parChTrans1D2" presStyleIdx="1" presStyleCnt="7"/>
      <dgm:spPr/>
    </dgm:pt>
    <dgm:pt modelId="{D98115F9-13E0-4B86-9C11-90E0FE5CC69F}" type="pres">
      <dgm:prSet presAssocID="{88E629E6-E1C0-4EF9-97B5-325C470BB551}" presName="root2" presStyleCnt="0"/>
      <dgm:spPr/>
    </dgm:pt>
    <dgm:pt modelId="{EE054F72-638C-48B5-834A-D03C2E673A0E}" type="pres">
      <dgm:prSet presAssocID="{88E629E6-E1C0-4EF9-97B5-325C470BB551}" presName="LevelTwoTextNode" presStyleLbl="node2" presStyleIdx="1" presStyleCnt="7">
        <dgm:presLayoutVars>
          <dgm:chPref val="3"/>
        </dgm:presLayoutVars>
      </dgm:prSet>
      <dgm:spPr/>
    </dgm:pt>
    <dgm:pt modelId="{819B0848-5B3A-4A38-86CD-29378E8163A2}" type="pres">
      <dgm:prSet presAssocID="{88E629E6-E1C0-4EF9-97B5-325C470BB551}" presName="level3hierChild" presStyleCnt="0"/>
      <dgm:spPr/>
    </dgm:pt>
    <dgm:pt modelId="{1A84CA5D-9E59-4D6C-9AF4-1E24AA6E3239}" type="pres">
      <dgm:prSet presAssocID="{0668BAE2-72A2-4607-AFB9-99C050ED279A}" presName="conn2-1" presStyleLbl="parChTrans1D3" presStyleIdx="0" presStyleCnt="3"/>
      <dgm:spPr/>
    </dgm:pt>
    <dgm:pt modelId="{70F57CFC-B650-41DA-9315-97CA92339F7E}" type="pres">
      <dgm:prSet presAssocID="{0668BAE2-72A2-4607-AFB9-99C050ED279A}" presName="connTx" presStyleLbl="parChTrans1D3" presStyleIdx="0" presStyleCnt="3"/>
      <dgm:spPr/>
    </dgm:pt>
    <dgm:pt modelId="{A4108810-51D0-4CB5-B4C6-F4F96E172003}" type="pres">
      <dgm:prSet presAssocID="{092CFC87-76BE-47C6-AE61-6D5E100329B6}" presName="root2" presStyleCnt="0"/>
      <dgm:spPr/>
    </dgm:pt>
    <dgm:pt modelId="{FFEB6B91-4E5F-45CE-AAAF-6D5DF7F087BE}" type="pres">
      <dgm:prSet presAssocID="{092CFC87-76BE-47C6-AE61-6D5E100329B6}" presName="LevelTwoTextNode" presStyleLbl="node3" presStyleIdx="0" presStyleCnt="3">
        <dgm:presLayoutVars>
          <dgm:chPref val="3"/>
        </dgm:presLayoutVars>
      </dgm:prSet>
      <dgm:spPr/>
    </dgm:pt>
    <dgm:pt modelId="{82993F55-A8F7-4CBB-8603-D9C831DFECB2}" type="pres">
      <dgm:prSet presAssocID="{092CFC87-76BE-47C6-AE61-6D5E100329B6}" presName="level3hierChild" presStyleCnt="0"/>
      <dgm:spPr/>
    </dgm:pt>
    <dgm:pt modelId="{79BBC604-A12B-4AF8-AEF4-8E62B2AE80FA}" type="pres">
      <dgm:prSet presAssocID="{59095617-608A-49AE-89F1-E1EB6E845405}" presName="conn2-1" presStyleLbl="parChTrans1D3" presStyleIdx="1" presStyleCnt="3"/>
      <dgm:spPr/>
    </dgm:pt>
    <dgm:pt modelId="{81A62FAA-3F5E-42AE-ABDE-904CCFD9F02D}" type="pres">
      <dgm:prSet presAssocID="{59095617-608A-49AE-89F1-E1EB6E845405}" presName="connTx" presStyleLbl="parChTrans1D3" presStyleIdx="1" presStyleCnt="3"/>
      <dgm:spPr/>
    </dgm:pt>
    <dgm:pt modelId="{29F3A6D1-088C-42E8-8EE7-5F2B3C57AF13}" type="pres">
      <dgm:prSet presAssocID="{D8CFFCD1-54AD-4F0B-9A6E-06FA5BC4F375}" presName="root2" presStyleCnt="0"/>
      <dgm:spPr/>
    </dgm:pt>
    <dgm:pt modelId="{BD76F8FC-A23E-4B40-B4CA-38B0CE6BEF78}" type="pres">
      <dgm:prSet presAssocID="{D8CFFCD1-54AD-4F0B-9A6E-06FA5BC4F375}" presName="LevelTwoTextNode" presStyleLbl="node3" presStyleIdx="1" presStyleCnt="3">
        <dgm:presLayoutVars>
          <dgm:chPref val="3"/>
        </dgm:presLayoutVars>
      </dgm:prSet>
      <dgm:spPr/>
    </dgm:pt>
    <dgm:pt modelId="{A92FD734-E46D-4A0E-85E5-CF82A458E991}" type="pres">
      <dgm:prSet presAssocID="{D8CFFCD1-54AD-4F0B-9A6E-06FA5BC4F375}" presName="level3hierChild" presStyleCnt="0"/>
      <dgm:spPr/>
    </dgm:pt>
    <dgm:pt modelId="{B130C37E-7F80-491D-B9BD-9C3C6A54B225}" type="pres">
      <dgm:prSet presAssocID="{1EA6E2BF-C00F-4E3D-9F4D-750584CB7C16}" presName="conn2-1" presStyleLbl="parChTrans1D3" presStyleIdx="2" presStyleCnt="3"/>
      <dgm:spPr/>
    </dgm:pt>
    <dgm:pt modelId="{6DB5A5A8-285A-49F3-9360-076D64BA91AE}" type="pres">
      <dgm:prSet presAssocID="{1EA6E2BF-C00F-4E3D-9F4D-750584CB7C16}" presName="connTx" presStyleLbl="parChTrans1D3" presStyleIdx="2" presStyleCnt="3"/>
      <dgm:spPr/>
    </dgm:pt>
    <dgm:pt modelId="{B7C928D1-C6BE-42C4-85A6-C936E0983440}" type="pres">
      <dgm:prSet presAssocID="{86A88BAA-F78D-4F89-98D5-E97D34793D32}" presName="root2" presStyleCnt="0"/>
      <dgm:spPr/>
    </dgm:pt>
    <dgm:pt modelId="{8CCBE6BB-4028-446B-8065-4C310DBAFE97}" type="pres">
      <dgm:prSet presAssocID="{86A88BAA-F78D-4F89-98D5-E97D34793D32}" presName="LevelTwoTextNode" presStyleLbl="node3" presStyleIdx="2" presStyleCnt="3">
        <dgm:presLayoutVars>
          <dgm:chPref val="3"/>
        </dgm:presLayoutVars>
      </dgm:prSet>
      <dgm:spPr/>
    </dgm:pt>
    <dgm:pt modelId="{441ADF94-6270-41FF-8E22-5C1002067972}" type="pres">
      <dgm:prSet presAssocID="{86A88BAA-F78D-4F89-98D5-E97D34793D32}" presName="level3hierChild" presStyleCnt="0"/>
      <dgm:spPr/>
    </dgm:pt>
    <dgm:pt modelId="{262D4AF0-E33C-4295-823E-D8614F5237EC}" type="pres">
      <dgm:prSet presAssocID="{16FC9908-4474-4C96-9EE9-A3F5ABBEB4E0}" presName="conn2-1" presStyleLbl="parChTrans1D2" presStyleIdx="2" presStyleCnt="7"/>
      <dgm:spPr/>
    </dgm:pt>
    <dgm:pt modelId="{E674CA8B-130C-4F67-8B27-E61FCC381EBF}" type="pres">
      <dgm:prSet presAssocID="{16FC9908-4474-4C96-9EE9-A3F5ABBEB4E0}" presName="connTx" presStyleLbl="parChTrans1D2" presStyleIdx="2" presStyleCnt="7"/>
      <dgm:spPr/>
    </dgm:pt>
    <dgm:pt modelId="{FFB3D1A8-6EE4-4DF9-9909-1E4664A2A044}" type="pres">
      <dgm:prSet presAssocID="{B373B6CD-2D21-4F1B-808A-E73F8F8550A8}" presName="root2" presStyleCnt="0"/>
      <dgm:spPr/>
    </dgm:pt>
    <dgm:pt modelId="{F6D11BB8-7A0D-460D-B628-36E659A28C4B}" type="pres">
      <dgm:prSet presAssocID="{B373B6CD-2D21-4F1B-808A-E73F8F8550A8}" presName="LevelTwoTextNode" presStyleLbl="node2" presStyleIdx="2" presStyleCnt="7">
        <dgm:presLayoutVars>
          <dgm:chPref val="3"/>
        </dgm:presLayoutVars>
      </dgm:prSet>
      <dgm:spPr/>
    </dgm:pt>
    <dgm:pt modelId="{5BD82CE2-F90B-4751-B908-BD32A8543B1B}" type="pres">
      <dgm:prSet presAssocID="{B373B6CD-2D21-4F1B-808A-E73F8F8550A8}" presName="level3hierChild" presStyleCnt="0"/>
      <dgm:spPr/>
    </dgm:pt>
    <dgm:pt modelId="{A59584E7-E9E0-4B71-A2F8-6954B0406BCA}" type="pres">
      <dgm:prSet presAssocID="{E61AB607-D762-46F4-B750-B4D0C3A344AD}" presName="conn2-1" presStyleLbl="parChTrans1D2" presStyleIdx="3" presStyleCnt="7"/>
      <dgm:spPr/>
    </dgm:pt>
    <dgm:pt modelId="{48B255B3-8C6F-44FE-82E2-D02224D9F84C}" type="pres">
      <dgm:prSet presAssocID="{E61AB607-D762-46F4-B750-B4D0C3A344AD}" presName="connTx" presStyleLbl="parChTrans1D2" presStyleIdx="3" presStyleCnt="7"/>
      <dgm:spPr/>
    </dgm:pt>
    <dgm:pt modelId="{87921D44-CE0E-4D95-8847-818A2EDCBB61}" type="pres">
      <dgm:prSet presAssocID="{55815225-F99C-4F51-ADD4-454BE462E3C7}" presName="root2" presStyleCnt="0"/>
      <dgm:spPr/>
    </dgm:pt>
    <dgm:pt modelId="{F03928C4-8CF9-4272-BC2C-D8D3BA3C1C79}" type="pres">
      <dgm:prSet presAssocID="{55815225-F99C-4F51-ADD4-454BE462E3C7}" presName="LevelTwoTextNode" presStyleLbl="node2" presStyleIdx="3" presStyleCnt="7">
        <dgm:presLayoutVars>
          <dgm:chPref val="3"/>
        </dgm:presLayoutVars>
      </dgm:prSet>
      <dgm:spPr/>
    </dgm:pt>
    <dgm:pt modelId="{1E037C73-49F7-419D-87E2-CB59CCBB8A03}" type="pres">
      <dgm:prSet presAssocID="{55815225-F99C-4F51-ADD4-454BE462E3C7}" presName="level3hierChild" presStyleCnt="0"/>
      <dgm:spPr/>
    </dgm:pt>
    <dgm:pt modelId="{D60F3045-0E15-4EB0-9282-85B79ACDC073}" type="pres">
      <dgm:prSet presAssocID="{74AC7D26-1B03-4D42-8BC3-31AE77BA2302}" presName="conn2-1" presStyleLbl="parChTrans1D2" presStyleIdx="4" presStyleCnt="7"/>
      <dgm:spPr/>
    </dgm:pt>
    <dgm:pt modelId="{AC54ADE7-659A-4567-8AA6-4459C7D433A9}" type="pres">
      <dgm:prSet presAssocID="{74AC7D26-1B03-4D42-8BC3-31AE77BA2302}" presName="connTx" presStyleLbl="parChTrans1D2" presStyleIdx="4" presStyleCnt="7"/>
      <dgm:spPr/>
    </dgm:pt>
    <dgm:pt modelId="{D6ACF37C-5BEF-479E-89B6-9F8379492FF4}" type="pres">
      <dgm:prSet presAssocID="{320D49E2-1155-435B-960B-478F5DD3F93C}" presName="root2" presStyleCnt="0"/>
      <dgm:spPr/>
    </dgm:pt>
    <dgm:pt modelId="{59851303-6278-42ED-A2CE-C7F99DCD12FA}" type="pres">
      <dgm:prSet presAssocID="{320D49E2-1155-435B-960B-478F5DD3F93C}" presName="LevelTwoTextNode" presStyleLbl="node2" presStyleIdx="4" presStyleCnt="7">
        <dgm:presLayoutVars>
          <dgm:chPref val="3"/>
        </dgm:presLayoutVars>
      </dgm:prSet>
      <dgm:spPr/>
    </dgm:pt>
    <dgm:pt modelId="{BA34ABD3-3D13-4BE4-AB9F-F298A5CC2431}" type="pres">
      <dgm:prSet presAssocID="{320D49E2-1155-435B-960B-478F5DD3F93C}" presName="level3hierChild" presStyleCnt="0"/>
      <dgm:spPr/>
    </dgm:pt>
    <dgm:pt modelId="{34BD2122-6A6F-4F36-8346-864177B8A328}" type="pres">
      <dgm:prSet presAssocID="{7C0ABA15-580C-4310-BB97-6113878727E5}" presName="conn2-1" presStyleLbl="parChTrans1D2" presStyleIdx="5" presStyleCnt="7"/>
      <dgm:spPr/>
    </dgm:pt>
    <dgm:pt modelId="{9AE0C816-4CA9-4A71-8D9C-6747B8AF5441}" type="pres">
      <dgm:prSet presAssocID="{7C0ABA15-580C-4310-BB97-6113878727E5}" presName="connTx" presStyleLbl="parChTrans1D2" presStyleIdx="5" presStyleCnt="7"/>
      <dgm:spPr/>
    </dgm:pt>
    <dgm:pt modelId="{9B6D71F4-F2F5-4F22-86DC-EDDF191E7D30}" type="pres">
      <dgm:prSet presAssocID="{3E613682-48FB-456E-91DB-8C0058972B35}" presName="root2" presStyleCnt="0"/>
      <dgm:spPr/>
    </dgm:pt>
    <dgm:pt modelId="{69EFC86E-FB14-4F22-A860-2BD1BCEC2237}" type="pres">
      <dgm:prSet presAssocID="{3E613682-48FB-456E-91DB-8C0058972B35}" presName="LevelTwoTextNode" presStyleLbl="node2" presStyleIdx="5" presStyleCnt="7">
        <dgm:presLayoutVars>
          <dgm:chPref val="3"/>
        </dgm:presLayoutVars>
      </dgm:prSet>
      <dgm:spPr/>
    </dgm:pt>
    <dgm:pt modelId="{9AE4DA83-15C0-4EC9-9FC6-B39E74326389}" type="pres">
      <dgm:prSet presAssocID="{3E613682-48FB-456E-91DB-8C0058972B35}" presName="level3hierChild" presStyleCnt="0"/>
      <dgm:spPr/>
    </dgm:pt>
    <dgm:pt modelId="{46693A0A-26DA-4777-9BDF-D17FB7DB0DA3}" type="pres">
      <dgm:prSet presAssocID="{D4FEC653-CBE1-4896-AA74-B5E1A62A4C97}" presName="conn2-1" presStyleLbl="parChTrans1D2" presStyleIdx="6" presStyleCnt="7"/>
      <dgm:spPr/>
    </dgm:pt>
    <dgm:pt modelId="{720A30FF-9943-4E9D-855C-FB2B794BA963}" type="pres">
      <dgm:prSet presAssocID="{D4FEC653-CBE1-4896-AA74-B5E1A62A4C97}" presName="connTx" presStyleLbl="parChTrans1D2" presStyleIdx="6" presStyleCnt="7"/>
      <dgm:spPr/>
    </dgm:pt>
    <dgm:pt modelId="{649D041D-4C77-4EEC-B12D-E9A3E02D21A3}" type="pres">
      <dgm:prSet presAssocID="{AA4D55BF-4B3C-401A-9F7A-BC25A75F9B83}" presName="root2" presStyleCnt="0"/>
      <dgm:spPr/>
    </dgm:pt>
    <dgm:pt modelId="{1B3592ED-7D7F-47BA-87A0-80658E8E7985}" type="pres">
      <dgm:prSet presAssocID="{AA4D55BF-4B3C-401A-9F7A-BC25A75F9B83}" presName="LevelTwoTextNode" presStyleLbl="node2" presStyleIdx="6" presStyleCnt="7">
        <dgm:presLayoutVars>
          <dgm:chPref val="3"/>
        </dgm:presLayoutVars>
      </dgm:prSet>
      <dgm:spPr/>
    </dgm:pt>
    <dgm:pt modelId="{B0E6EAC2-A053-4CFD-8657-72242C49BDE9}" type="pres">
      <dgm:prSet presAssocID="{AA4D55BF-4B3C-401A-9F7A-BC25A75F9B83}" presName="level3hierChild" presStyleCnt="0"/>
      <dgm:spPr/>
    </dgm:pt>
  </dgm:ptLst>
  <dgm:cxnLst>
    <dgm:cxn modelId="{9DBC5C08-A69A-4D68-A57C-CC16B7A4646E}" type="presOf" srcId="{0668BAE2-72A2-4607-AFB9-99C050ED279A}" destId="{70F57CFC-B650-41DA-9315-97CA92339F7E}" srcOrd="1" destOrd="0" presId="urn:microsoft.com/office/officeart/2005/8/layout/hierarchy2"/>
    <dgm:cxn modelId="{24C5520A-9F72-4651-8071-B18B9233CB1F}" srcId="{5AFE294F-2C5A-4855-92D7-D951F2364B24}" destId="{88E629E6-E1C0-4EF9-97B5-325C470BB551}" srcOrd="1" destOrd="0" parTransId="{9B9B9D39-E2C5-41F7-AE05-923673A1648A}" sibTransId="{0098208C-12AB-4E3B-B209-464C2E6B34E2}"/>
    <dgm:cxn modelId="{673B910A-2975-41B1-8DB8-004D70DF5E34}" srcId="{88E629E6-E1C0-4EF9-97B5-325C470BB551}" destId="{D8CFFCD1-54AD-4F0B-9A6E-06FA5BC4F375}" srcOrd="1" destOrd="0" parTransId="{59095617-608A-49AE-89F1-E1EB6E845405}" sibTransId="{2B5D7827-C5D1-4E66-BCB5-B95A5114E609}"/>
    <dgm:cxn modelId="{1252402C-DA29-4352-A282-7653B46D94AD}" type="presOf" srcId="{16FC9908-4474-4C96-9EE9-A3F5ABBEB4E0}" destId="{E674CA8B-130C-4F67-8B27-E61FCC381EBF}" srcOrd="1" destOrd="0" presId="urn:microsoft.com/office/officeart/2005/8/layout/hierarchy2"/>
    <dgm:cxn modelId="{F5AE942C-C2E2-41CE-A16E-1AB09C09F3EF}" type="presOf" srcId="{0A03F5A8-F3FD-45D9-9484-B55D868B8EF8}" destId="{8ABBACE0-D732-48D5-9228-1FF1A0DF6403}" srcOrd="0" destOrd="0" presId="urn:microsoft.com/office/officeart/2005/8/layout/hierarchy2"/>
    <dgm:cxn modelId="{7C4AED34-8024-4321-ABCE-6026D1524888}" type="presOf" srcId="{D4FEC653-CBE1-4896-AA74-B5E1A62A4C97}" destId="{46693A0A-26DA-4777-9BDF-D17FB7DB0DA3}" srcOrd="0" destOrd="0" presId="urn:microsoft.com/office/officeart/2005/8/layout/hierarchy2"/>
    <dgm:cxn modelId="{83A6F33F-AEAA-4070-B2E4-020994CE9F4F}" type="presOf" srcId="{830D246C-E2B3-4B4C-B993-2E0FABC2686C}" destId="{44121C89-9CAB-4C89-9223-4E46D7EB5452}" srcOrd="1" destOrd="0" presId="urn:microsoft.com/office/officeart/2005/8/layout/hierarchy2"/>
    <dgm:cxn modelId="{A8C8EE63-46E8-43FD-A60E-7408DC67C5B8}" type="presOf" srcId="{88E629E6-E1C0-4EF9-97B5-325C470BB551}" destId="{EE054F72-638C-48B5-834A-D03C2E673A0E}" srcOrd="0" destOrd="0" presId="urn:microsoft.com/office/officeart/2005/8/layout/hierarchy2"/>
    <dgm:cxn modelId="{F4607C67-8F75-4438-8949-3C421A179C58}" type="presOf" srcId="{1EA6E2BF-C00F-4E3D-9F4D-750584CB7C16}" destId="{6DB5A5A8-285A-49F3-9360-076D64BA91AE}" srcOrd="1" destOrd="0" presId="urn:microsoft.com/office/officeart/2005/8/layout/hierarchy2"/>
    <dgm:cxn modelId="{1D49DD68-01C3-4F44-BD63-F15397E8741F}" type="presOf" srcId="{320D49E2-1155-435B-960B-478F5DD3F93C}" destId="{59851303-6278-42ED-A2CE-C7F99DCD12FA}" srcOrd="0" destOrd="0" presId="urn:microsoft.com/office/officeart/2005/8/layout/hierarchy2"/>
    <dgm:cxn modelId="{DBD02A6A-A43D-4F88-8478-82769D7BBDBF}" type="presOf" srcId="{B373B6CD-2D21-4F1B-808A-E73F8F8550A8}" destId="{F6D11BB8-7A0D-460D-B628-36E659A28C4B}" srcOrd="0" destOrd="0" presId="urn:microsoft.com/office/officeart/2005/8/layout/hierarchy2"/>
    <dgm:cxn modelId="{5EDA676A-5479-4C0C-8AC7-B20BCD352ACE}" type="presOf" srcId="{0668BAE2-72A2-4607-AFB9-99C050ED279A}" destId="{1A84CA5D-9E59-4D6C-9AF4-1E24AA6E3239}" srcOrd="0" destOrd="0" presId="urn:microsoft.com/office/officeart/2005/8/layout/hierarchy2"/>
    <dgm:cxn modelId="{89E81073-BC02-486D-ADA0-582BA1CA4D49}" type="presOf" srcId="{9B9B9D39-E2C5-41F7-AE05-923673A1648A}" destId="{2A783B83-785C-4642-A36B-AF4526B1F6A1}" srcOrd="1" destOrd="0" presId="urn:microsoft.com/office/officeart/2005/8/layout/hierarchy2"/>
    <dgm:cxn modelId="{14997C56-AC41-41E3-8635-255C9349B4AF}" type="presOf" srcId="{3E613682-48FB-456E-91DB-8C0058972B35}" destId="{69EFC86E-FB14-4F22-A860-2BD1BCEC2237}" srcOrd="0" destOrd="0" presId="urn:microsoft.com/office/officeart/2005/8/layout/hierarchy2"/>
    <dgm:cxn modelId="{49AC5677-096D-4338-B7D3-9E9CC9E005C5}" type="presOf" srcId="{10AD6D04-1F96-446C-9D6B-934B83F073EE}" destId="{FEBFFE11-7BA4-4E4D-9ED0-F3F014C82753}" srcOrd="0" destOrd="0" presId="urn:microsoft.com/office/officeart/2005/8/layout/hierarchy2"/>
    <dgm:cxn modelId="{90B5B957-9837-4CD3-A848-85273D6A89D0}" srcId="{88E629E6-E1C0-4EF9-97B5-325C470BB551}" destId="{86A88BAA-F78D-4F89-98D5-E97D34793D32}" srcOrd="2" destOrd="0" parTransId="{1EA6E2BF-C00F-4E3D-9F4D-750584CB7C16}" sibTransId="{97E2EC67-4F18-479B-A805-CB462FC3BFD7}"/>
    <dgm:cxn modelId="{A523CB58-EF34-4D43-9ADC-D39DC224CAE8}" type="presOf" srcId="{55815225-F99C-4F51-ADD4-454BE462E3C7}" destId="{F03928C4-8CF9-4272-BC2C-D8D3BA3C1C79}" srcOrd="0" destOrd="0" presId="urn:microsoft.com/office/officeart/2005/8/layout/hierarchy2"/>
    <dgm:cxn modelId="{FBD0947C-8374-4A5E-89CE-B6017DF42439}" srcId="{5AFE294F-2C5A-4855-92D7-D951F2364B24}" destId="{55815225-F99C-4F51-ADD4-454BE462E3C7}" srcOrd="3" destOrd="0" parTransId="{E61AB607-D762-46F4-B750-B4D0C3A344AD}" sibTransId="{8E5530B8-5448-475C-BFC2-70CF55C5F29F}"/>
    <dgm:cxn modelId="{CA15267F-B689-4581-B7B3-E1762267E4FE}" type="presOf" srcId="{E61AB607-D762-46F4-B750-B4D0C3A344AD}" destId="{48B255B3-8C6F-44FE-82E2-D02224D9F84C}" srcOrd="1" destOrd="0" presId="urn:microsoft.com/office/officeart/2005/8/layout/hierarchy2"/>
    <dgm:cxn modelId="{26563084-E3C3-44C5-A4DD-B0405719EAC8}" srcId="{0A03F5A8-F3FD-45D9-9484-B55D868B8EF8}" destId="{5AFE294F-2C5A-4855-92D7-D951F2364B24}" srcOrd="0" destOrd="0" parTransId="{59071923-9C14-4471-B358-4D2ED5014DA0}" sibTransId="{658A2DAE-EECD-4864-AC63-1E03841E93DC}"/>
    <dgm:cxn modelId="{D6DE1885-5B20-4956-B2E5-C25702D79388}" type="presOf" srcId="{9B9B9D39-E2C5-41F7-AE05-923673A1648A}" destId="{BAE0B734-93EA-424E-B571-3999877CFB05}" srcOrd="0" destOrd="0" presId="urn:microsoft.com/office/officeart/2005/8/layout/hierarchy2"/>
    <dgm:cxn modelId="{20A4D887-0836-454D-94C6-610D79B87CF2}" type="presOf" srcId="{830D246C-E2B3-4B4C-B993-2E0FABC2686C}" destId="{07351BC3-1DCF-4CA0-8978-C7C6A8314A80}" srcOrd="0" destOrd="0" presId="urn:microsoft.com/office/officeart/2005/8/layout/hierarchy2"/>
    <dgm:cxn modelId="{33AC6A8B-F393-455E-BE54-4E8ACE32D61E}" srcId="{5AFE294F-2C5A-4855-92D7-D951F2364B24}" destId="{320D49E2-1155-435B-960B-478F5DD3F93C}" srcOrd="4" destOrd="0" parTransId="{74AC7D26-1B03-4D42-8BC3-31AE77BA2302}" sibTransId="{B700B9D0-2220-4E7C-BD02-FEB4AD98D5B9}"/>
    <dgm:cxn modelId="{727BF98C-8BD7-40BD-B09F-E52334EB6183}" type="presOf" srcId="{E61AB607-D762-46F4-B750-B4D0C3A344AD}" destId="{A59584E7-E9E0-4B71-A2F8-6954B0406BCA}" srcOrd="0" destOrd="0" presId="urn:microsoft.com/office/officeart/2005/8/layout/hierarchy2"/>
    <dgm:cxn modelId="{448E0FA7-F579-4225-B869-3C6B8206E342}" type="presOf" srcId="{D4FEC653-CBE1-4896-AA74-B5E1A62A4C97}" destId="{720A30FF-9943-4E9D-855C-FB2B794BA963}" srcOrd="1" destOrd="0" presId="urn:microsoft.com/office/officeart/2005/8/layout/hierarchy2"/>
    <dgm:cxn modelId="{6CE94BA8-AAF2-43B0-8AAE-2E8CB0CFE643}" type="presOf" srcId="{5AFE294F-2C5A-4855-92D7-D951F2364B24}" destId="{72D01C71-4D28-4751-AE67-4DAF562F986E}" srcOrd="0" destOrd="0" presId="urn:microsoft.com/office/officeart/2005/8/layout/hierarchy2"/>
    <dgm:cxn modelId="{A4E1F1B9-C95D-45E2-B6A0-C39D46E8FB6E}" srcId="{5AFE294F-2C5A-4855-92D7-D951F2364B24}" destId="{AA4D55BF-4B3C-401A-9F7A-BC25A75F9B83}" srcOrd="6" destOrd="0" parTransId="{D4FEC653-CBE1-4896-AA74-B5E1A62A4C97}" sibTransId="{2FC15A8F-F584-4588-B9D4-3EE7EFDD465C}"/>
    <dgm:cxn modelId="{352454BD-47D4-46DC-86B6-884FADC75A25}" type="presOf" srcId="{092CFC87-76BE-47C6-AE61-6D5E100329B6}" destId="{FFEB6B91-4E5F-45CE-AAAF-6D5DF7F087BE}" srcOrd="0" destOrd="0" presId="urn:microsoft.com/office/officeart/2005/8/layout/hierarchy2"/>
    <dgm:cxn modelId="{CEDCD0C2-B618-4F18-9BC8-773A36216973}" type="presOf" srcId="{74AC7D26-1B03-4D42-8BC3-31AE77BA2302}" destId="{D60F3045-0E15-4EB0-9282-85B79ACDC073}" srcOrd="0" destOrd="0" presId="urn:microsoft.com/office/officeart/2005/8/layout/hierarchy2"/>
    <dgm:cxn modelId="{264B2FC3-B16D-4D1A-8E7C-3BBED359A91C}" type="presOf" srcId="{59095617-608A-49AE-89F1-E1EB6E845405}" destId="{79BBC604-A12B-4AF8-AEF4-8E62B2AE80FA}" srcOrd="0" destOrd="0" presId="urn:microsoft.com/office/officeart/2005/8/layout/hierarchy2"/>
    <dgm:cxn modelId="{1D0745CA-FAE3-4E64-AFCD-79A77238E8DC}" srcId="{5AFE294F-2C5A-4855-92D7-D951F2364B24}" destId="{10AD6D04-1F96-446C-9D6B-934B83F073EE}" srcOrd="0" destOrd="0" parTransId="{830D246C-E2B3-4B4C-B993-2E0FABC2686C}" sibTransId="{71D29F6D-0616-4931-8E8B-F15609D95926}"/>
    <dgm:cxn modelId="{0C8326CF-F335-4211-914F-4EBF339344BE}" type="presOf" srcId="{86A88BAA-F78D-4F89-98D5-E97D34793D32}" destId="{8CCBE6BB-4028-446B-8065-4C310DBAFE97}" srcOrd="0" destOrd="0" presId="urn:microsoft.com/office/officeart/2005/8/layout/hierarchy2"/>
    <dgm:cxn modelId="{DB44B6D1-3C6A-40D0-8B17-2B3EE1BC6008}" type="presOf" srcId="{7C0ABA15-580C-4310-BB97-6113878727E5}" destId="{9AE0C816-4CA9-4A71-8D9C-6747B8AF5441}" srcOrd="1" destOrd="0" presId="urn:microsoft.com/office/officeart/2005/8/layout/hierarchy2"/>
    <dgm:cxn modelId="{85E5C9D1-B25D-4A96-B88A-533461E997D6}" srcId="{5AFE294F-2C5A-4855-92D7-D951F2364B24}" destId="{B373B6CD-2D21-4F1B-808A-E73F8F8550A8}" srcOrd="2" destOrd="0" parTransId="{16FC9908-4474-4C96-9EE9-A3F5ABBEB4E0}" sibTransId="{10936CB0-43A5-40E3-9531-F515C5892312}"/>
    <dgm:cxn modelId="{B637F4E3-26A6-4F2D-A4FB-96CA97BD30B4}" type="presOf" srcId="{16FC9908-4474-4C96-9EE9-A3F5ABBEB4E0}" destId="{262D4AF0-E33C-4295-823E-D8614F5237EC}" srcOrd="0" destOrd="0" presId="urn:microsoft.com/office/officeart/2005/8/layout/hierarchy2"/>
    <dgm:cxn modelId="{590498E5-13F4-4BFB-9513-03FA52C62489}" type="presOf" srcId="{D8CFFCD1-54AD-4F0B-9A6E-06FA5BC4F375}" destId="{BD76F8FC-A23E-4B40-B4CA-38B0CE6BEF78}" srcOrd="0" destOrd="0" presId="urn:microsoft.com/office/officeart/2005/8/layout/hierarchy2"/>
    <dgm:cxn modelId="{8E9692ED-B24F-4096-A985-9F44D0D9B21D}" srcId="{5AFE294F-2C5A-4855-92D7-D951F2364B24}" destId="{3E613682-48FB-456E-91DB-8C0058972B35}" srcOrd="5" destOrd="0" parTransId="{7C0ABA15-580C-4310-BB97-6113878727E5}" sibTransId="{714249A2-DE77-4BAF-A725-2315E238C802}"/>
    <dgm:cxn modelId="{78670EEF-CFA5-44F3-96C2-C60D568A60D1}" type="presOf" srcId="{59095617-608A-49AE-89F1-E1EB6E845405}" destId="{81A62FAA-3F5E-42AE-ABDE-904CCFD9F02D}" srcOrd="1" destOrd="0" presId="urn:microsoft.com/office/officeart/2005/8/layout/hierarchy2"/>
    <dgm:cxn modelId="{59CCDCEF-6787-4659-B365-DC6CB380BBAA}" type="presOf" srcId="{1EA6E2BF-C00F-4E3D-9F4D-750584CB7C16}" destId="{B130C37E-7F80-491D-B9BD-9C3C6A54B225}" srcOrd="0" destOrd="0" presId="urn:microsoft.com/office/officeart/2005/8/layout/hierarchy2"/>
    <dgm:cxn modelId="{D821C4F0-859D-4E8C-BF2A-DE55364B361B}" type="presOf" srcId="{AA4D55BF-4B3C-401A-9F7A-BC25A75F9B83}" destId="{1B3592ED-7D7F-47BA-87A0-80658E8E7985}" srcOrd="0" destOrd="0" presId="urn:microsoft.com/office/officeart/2005/8/layout/hierarchy2"/>
    <dgm:cxn modelId="{938039F4-2A9F-48FC-BF11-58331340220D}" type="presOf" srcId="{74AC7D26-1B03-4D42-8BC3-31AE77BA2302}" destId="{AC54ADE7-659A-4567-8AA6-4459C7D433A9}" srcOrd="1" destOrd="0" presId="urn:microsoft.com/office/officeart/2005/8/layout/hierarchy2"/>
    <dgm:cxn modelId="{1990E4F5-48A7-4484-8775-E283D33573D6}" srcId="{88E629E6-E1C0-4EF9-97B5-325C470BB551}" destId="{092CFC87-76BE-47C6-AE61-6D5E100329B6}" srcOrd="0" destOrd="0" parTransId="{0668BAE2-72A2-4607-AFB9-99C050ED279A}" sibTransId="{1A01DBD3-6710-4945-AA22-44EB5048E496}"/>
    <dgm:cxn modelId="{E97544FD-8F3B-4CE9-9BF3-593AECFFB964}" type="presOf" srcId="{7C0ABA15-580C-4310-BB97-6113878727E5}" destId="{34BD2122-6A6F-4F36-8346-864177B8A328}" srcOrd="0" destOrd="0" presId="urn:microsoft.com/office/officeart/2005/8/layout/hierarchy2"/>
    <dgm:cxn modelId="{6116232C-A963-4924-A734-79F99530C2E0}" type="presParOf" srcId="{8ABBACE0-D732-48D5-9228-1FF1A0DF6403}" destId="{CBD06B68-7236-46D7-8A9F-F5D93428F9DF}" srcOrd="0" destOrd="0" presId="urn:microsoft.com/office/officeart/2005/8/layout/hierarchy2"/>
    <dgm:cxn modelId="{659F47D1-E3FA-44DF-A271-80298EDE88E6}" type="presParOf" srcId="{CBD06B68-7236-46D7-8A9F-F5D93428F9DF}" destId="{72D01C71-4D28-4751-AE67-4DAF562F986E}" srcOrd="0" destOrd="0" presId="urn:microsoft.com/office/officeart/2005/8/layout/hierarchy2"/>
    <dgm:cxn modelId="{5CDFD209-C95A-4488-BEAE-0BA82080493C}" type="presParOf" srcId="{CBD06B68-7236-46D7-8A9F-F5D93428F9DF}" destId="{80ABE848-A785-474B-8807-22701BB118D9}" srcOrd="1" destOrd="0" presId="urn:microsoft.com/office/officeart/2005/8/layout/hierarchy2"/>
    <dgm:cxn modelId="{0B8CD087-7F52-4A57-A3B5-D57674EEF5A0}" type="presParOf" srcId="{80ABE848-A785-474B-8807-22701BB118D9}" destId="{07351BC3-1DCF-4CA0-8978-C7C6A8314A80}" srcOrd="0" destOrd="0" presId="urn:microsoft.com/office/officeart/2005/8/layout/hierarchy2"/>
    <dgm:cxn modelId="{28DF7AF6-6FCE-4610-8C58-35AD600D738A}" type="presParOf" srcId="{07351BC3-1DCF-4CA0-8978-C7C6A8314A80}" destId="{44121C89-9CAB-4C89-9223-4E46D7EB5452}" srcOrd="0" destOrd="0" presId="urn:microsoft.com/office/officeart/2005/8/layout/hierarchy2"/>
    <dgm:cxn modelId="{E59145C0-C36C-421B-A2EC-D78A41B8320C}" type="presParOf" srcId="{80ABE848-A785-474B-8807-22701BB118D9}" destId="{59D983D6-5902-4FC6-9130-675FA295A1C8}" srcOrd="1" destOrd="0" presId="urn:microsoft.com/office/officeart/2005/8/layout/hierarchy2"/>
    <dgm:cxn modelId="{5144715A-538E-401C-B8C4-96AB4A42EB7D}" type="presParOf" srcId="{59D983D6-5902-4FC6-9130-675FA295A1C8}" destId="{FEBFFE11-7BA4-4E4D-9ED0-F3F014C82753}" srcOrd="0" destOrd="0" presId="urn:microsoft.com/office/officeart/2005/8/layout/hierarchy2"/>
    <dgm:cxn modelId="{D9B165C4-CD3C-4CCA-9186-A20373894A96}" type="presParOf" srcId="{59D983D6-5902-4FC6-9130-675FA295A1C8}" destId="{584A3FF6-58F6-4AA0-8FF8-BB2A2D913D00}" srcOrd="1" destOrd="0" presId="urn:microsoft.com/office/officeart/2005/8/layout/hierarchy2"/>
    <dgm:cxn modelId="{92B0D1E5-0111-438F-84A7-F3DAA50E133A}" type="presParOf" srcId="{80ABE848-A785-474B-8807-22701BB118D9}" destId="{BAE0B734-93EA-424E-B571-3999877CFB05}" srcOrd="2" destOrd="0" presId="urn:microsoft.com/office/officeart/2005/8/layout/hierarchy2"/>
    <dgm:cxn modelId="{5A8E0546-4294-4EF2-9335-2317D8E93797}" type="presParOf" srcId="{BAE0B734-93EA-424E-B571-3999877CFB05}" destId="{2A783B83-785C-4642-A36B-AF4526B1F6A1}" srcOrd="0" destOrd="0" presId="urn:microsoft.com/office/officeart/2005/8/layout/hierarchy2"/>
    <dgm:cxn modelId="{F4B82F32-30FD-4577-AA18-03AACE1BC6E8}" type="presParOf" srcId="{80ABE848-A785-474B-8807-22701BB118D9}" destId="{D98115F9-13E0-4B86-9C11-90E0FE5CC69F}" srcOrd="3" destOrd="0" presId="urn:microsoft.com/office/officeart/2005/8/layout/hierarchy2"/>
    <dgm:cxn modelId="{6B7A50E2-AF39-4648-9B73-FFF17496D676}" type="presParOf" srcId="{D98115F9-13E0-4B86-9C11-90E0FE5CC69F}" destId="{EE054F72-638C-48B5-834A-D03C2E673A0E}" srcOrd="0" destOrd="0" presId="urn:microsoft.com/office/officeart/2005/8/layout/hierarchy2"/>
    <dgm:cxn modelId="{86377649-7C2B-4D25-951D-B91DE91D5B2E}" type="presParOf" srcId="{D98115F9-13E0-4B86-9C11-90E0FE5CC69F}" destId="{819B0848-5B3A-4A38-86CD-29378E8163A2}" srcOrd="1" destOrd="0" presId="urn:microsoft.com/office/officeart/2005/8/layout/hierarchy2"/>
    <dgm:cxn modelId="{77E504CA-B0D2-416A-BB55-CCCEDAFFBA03}" type="presParOf" srcId="{819B0848-5B3A-4A38-86CD-29378E8163A2}" destId="{1A84CA5D-9E59-4D6C-9AF4-1E24AA6E3239}" srcOrd="0" destOrd="0" presId="urn:microsoft.com/office/officeart/2005/8/layout/hierarchy2"/>
    <dgm:cxn modelId="{EBD39735-C520-4509-A843-39A8E8190561}" type="presParOf" srcId="{1A84CA5D-9E59-4D6C-9AF4-1E24AA6E3239}" destId="{70F57CFC-B650-41DA-9315-97CA92339F7E}" srcOrd="0" destOrd="0" presId="urn:microsoft.com/office/officeart/2005/8/layout/hierarchy2"/>
    <dgm:cxn modelId="{B03064B8-9215-41C8-9F8A-E0FD1DE9EF1F}" type="presParOf" srcId="{819B0848-5B3A-4A38-86CD-29378E8163A2}" destId="{A4108810-51D0-4CB5-B4C6-F4F96E172003}" srcOrd="1" destOrd="0" presId="urn:microsoft.com/office/officeart/2005/8/layout/hierarchy2"/>
    <dgm:cxn modelId="{D778A64C-67F3-4A1F-AF24-9209352BD938}" type="presParOf" srcId="{A4108810-51D0-4CB5-B4C6-F4F96E172003}" destId="{FFEB6B91-4E5F-45CE-AAAF-6D5DF7F087BE}" srcOrd="0" destOrd="0" presId="urn:microsoft.com/office/officeart/2005/8/layout/hierarchy2"/>
    <dgm:cxn modelId="{222012F2-230B-48E4-9966-B80D80CF0B08}" type="presParOf" srcId="{A4108810-51D0-4CB5-B4C6-F4F96E172003}" destId="{82993F55-A8F7-4CBB-8603-D9C831DFECB2}" srcOrd="1" destOrd="0" presId="urn:microsoft.com/office/officeart/2005/8/layout/hierarchy2"/>
    <dgm:cxn modelId="{F7162823-A1D1-4990-A1A9-AF9819DC91B7}" type="presParOf" srcId="{819B0848-5B3A-4A38-86CD-29378E8163A2}" destId="{79BBC604-A12B-4AF8-AEF4-8E62B2AE80FA}" srcOrd="2" destOrd="0" presId="urn:microsoft.com/office/officeart/2005/8/layout/hierarchy2"/>
    <dgm:cxn modelId="{9A209928-236E-4C34-9FCD-827383D940CD}" type="presParOf" srcId="{79BBC604-A12B-4AF8-AEF4-8E62B2AE80FA}" destId="{81A62FAA-3F5E-42AE-ABDE-904CCFD9F02D}" srcOrd="0" destOrd="0" presId="urn:microsoft.com/office/officeart/2005/8/layout/hierarchy2"/>
    <dgm:cxn modelId="{9A372AD9-99C8-4C6B-876D-EAD65663F65C}" type="presParOf" srcId="{819B0848-5B3A-4A38-86CD-29378E8163A2}" destId="{29F3A6D1-088C-42E8-8EE7-5F2B3C57AF13}" srcOrd="3" destOrd="0" presId="urn:microsoft.com/office/officeart/2005/8/layout/hierarchy2"/>
    <dgm:cxn modelId="{31008F42-3325-4B65-B687-953EFAD72A47}" type="presParOf" srcId="{29F3A6D1-088C-42E8-8EE7-5F2B3C57AF13}" destId="{BD76F8FC-A23E-4B40-B4CA-38B0CE6BEF78}" srcOrd="0" destOrd="0" presId="urn:microsoft.com/office/officeart/2005/8/layout/hierarchy2"/>
    <dgm:cxn modelId="{1CF5D999-E7C4-45C2-AC5D-03DD289B049E}" type="presParOf" srcId="{29F3A6D1-088C-42E8-8EE7-5F2B3C57AF13}" destId="{A92FD734-E46D-4A0E-85E5-CF82A458E991}" srcOrd="1" destOrd="0" presId="urn:microsoft.com/office/officeart/2005/8/layout/hierarchy2"/>
    <dgm:cxn modelId="{0C337642-35DA-4404-BC9C-AFEA2165D0F9}" type="presParOf" srcId="{819B0848-5B3A-4A38-86CD-29378E8163A2}" destId="{B130C37E-7F80-491D-B9BD-9C3C6A54B225}" srcOrd="4" destOrd="0" presId="urn:microsoft.com/office/officeart/2005/8/layout/hierarchy2"/>
    <dgm:cxn modelId="{E3C1CAFB-3904-4BBA-9FCB-6B52816E2772}" type="presParOf" srcId="{B130C37E-7F80-491D-B9BD-9C3C6A54B225}" destId="{6DB5A5A8-285A-49F3-9360-076D64BA91AE}" srcOrd="0" destOrd="0" presId="urn:microsoft.com/office/officeart/2005/8/layout/hierarchy2"/>
    <dgm:cxn modelId="{E5F5A4EC-222F-43E7-956B-390E20998AC9}" type="presParOf" srcId="{819B0848-5B3A-4A38-86CD-29378E8163A2}" destId="{B7C928D1-C6BE-42C4-85A6-C936E0983440}" srcOrd="5" destOrd="0" presId="urn:microsoft.com/office/officeart/2005/8/layout/hierarchy2"/>
    <dgm:cxn modelId="{0B3DDFD9-1D84-490D-B4B5-D83B7F40E452}" type="presParOf" srcId="{B7C928D1-C6BE-42C4-85A6-C936E0983440}" destId="{8CCBE6BB-4028-446B-8065-4C310DBAFE97}" srcOrd="0" destOrd="0" presId="urn:microsoft.com/office/officeart/2005/8/layout/hierarchy2"/>
    <dgm:cxn modelId="{72C20A11-76ED-4132-956F-7ED388F5A5DF}" type="presParOf" srcId="{B7C928D1-C6BE-42C4-85A6-C936E0983440}" destId="{441ADF94-6270-41FF-8E22-5C1002067972}" srcOrd="1" destOrd="0" presId="urn:microsoft.com/office/officeart/2005/8/layout/hierarchy2"/>
    <dgm:cxn modelId="{35F5070A-D5D3-4617-BAAB-3E6F2BC32C7A}" type="presParOf" srcId="{80ABE848-A785-474B-8807-22701BB118D9}" destId="{262D4AF0-E33C-4295-823E-D8614F5237EC}" srcOrd="4" destOrd="0" presId="urn:microsoft.com/office/officeart/2005/8/layout/hierarchy2"/>
    <dgm:cxn modelId="{DBCAD4A1-FF58-444E-BC78-95C9B67A0202}" type="presParOf" srcId="{262D4AF0-E33C-4295-823E-D8614F5237EC}" destId="{E674CA8B-130C-4F67-8B27-E61FCC381EBF}" srcOrd="0" destOrd="0" presId="urn:microsoft.com/office/officeart/2005/8/layout/hierarchy2"/>
    <dgm:cxn modelId="{09EC651E-4D35-4DDE-8F01-061CDC772A3A}" type="presParOf" srcId="{80ABE848-A785-474B-8807-22701BB118D9}" destId="{FFB3D1A8-6EE4-4DF9-9909-1E4664A2A044}" srcOrd="5" destOrd="0" presId="urn:microsoft.com/office/officeart/2005/8/layout/hierarchy2"/>
    <dgm:cxn modelId="{B9282CE2-4930-4787-A963-D24A58178343}" type="presParOf" srcId="{FFB3D1A8-6EE4-4DF9-9909-1E4664A2A044}" destId="{F6D11BB8-7A0D-460D-B628-36E659A28C4B}" srcOrd="0" destOrd="0" presId="urn:microsoft.com/office/officeart/2005/8/layout/hierarchy2"/>
    <dgm:cxn modelId="{3406BC45-6020-4676-8EFF-09E88E9FB4E5}" type="presParOf" srcId="{FFB3D1A8-6EE4-4DF9-9909-1E4664A2A044}" destId="{5BD82CE2-F90B-4751-B908-BD32A8543B1B}" srcOrd="1" destOrd="0" presId="urn:microsoft.com/office/officeart/2005/8/layout/hierarchy2"/>
    <dgm:cxn modelId="{29DE7E03-C986-4D86-A418-B60B260AF1A4}" type="presParOf" srcId="{80ABE848-A785-474B-8807-22701BB118D9}" destId="{A59584E7-E9E0-4B71-A2F8-6954B0406BCA}" srcOrd="6" destOrd="0" presId="urn:microsoft.com/office/officeart/2005/8/layout/hierarchy2"/>
    <dgm:cxn modelId="{D58CF413-F5C0-46CB-8BFC-B9C78A167C34}" type="presParOf" srcId="{A59584E7-E9E0-4B71-A2F8-6954B0406BCA}" destId="{48B255B3-8C6F-44FE-82E2-D02224D9F84C}" srcOrd="0" destOrd="0" presId="urn:microsoft.com/office/officeart/2005/8/layout/hierarchy2"/>
    <dgm:cxn modelId="{367C611E-B9EC-4610-A816-8861C4BD0E48}" type="presParOf" srcId="{80ABE848-A785-474B-8807-22701BB118D9}" destId="{87921D44-CE0E-4D95-8847-818A2EDCBB61}" srcOrd="7" destOrd="0" presId="urn:microsoft.com/office/officeart/2005/8/layout/hierarchy2"/>
    <dgm:cxn modelId="{D4984D52-A9B2-4679-9182-76FA2AE2FE09}" type="presParOf" srcId="{87921D44-CE0E-4D95-8847-818A2EDCBB61}" destId="{F03928C4-8CF9-4272-BC2C-D8D3BA3C1C79}" srcOrd="0" destOrd="0" presId="urn:microsoft.com/office/officeart/2005/8/layout/hierarchy2"/>
    <dgm:cxn modelId="{9BC3BEE5-2E96-4F4A-8A7A-66C07EF29267}" type="presParOf" srcId="{87921D44-CE0E-4D95-8847-818A2EDCBB61}" destId="{1E037C73-49F7-419D-87E2-CB59CCBB8A03}" srcOrd="1" destOrd="0" presId="urn:microsoft.com/office/officeart/2005/8/layout/hierarchy2"/>
    <dgm:cxn modelId="{C998B7F4-E94D-4BBC-BFAB-8753759EA6C5}" type="presParOf" srcId="{80ABE848-A785-474B-8807-22701BB118D9}" destId="{D60F3045-0E15-4EB0-9282-85B79ACDC073}" srcOrd="8" destOrd="0" presId="urn:microsoft.com/office/officeart/2005/8/layout/hierarchy2"/>
    <dgm:cxn modelId="{6E55F5DD-99E9-4CF1-BD0B-6DB7D976B868}" type="presParOf" srcId="{D60F3045-0E15-4EB0-9282-85B79ACDC073}" destId="{AC54ADE7-659A-4567-8AA6-4459C7D433A9}" srcOrd="0" destOrd="0" presId="urn:microsoft.com/office/officeart/2005/8/layout/hierarchy2"/>
    <dgm:cxn modelId="{3F1C9CE4-200F-415E-B661-5A8DD2592956}" type="presParOf" srcId="{80ABE848-A785-474B-8807-22701BB118D9}" destId="{D6ACF37C-5BEF-479E-89B6-9F8379492FF4}" srcOrd="9" destOrd="0" presId="urn:microsoft.com/office/officeart/2005/8/layout/hierarchy2"/>
    <dgm:cxn modelId="{C40F1F95-7F48-468B-8D49-FACFBEEA027F}" type="presParOf" srcId="{D6ACF37C-5BEF-479E-89B6-9F8379492FF4}" destId="{59851303-6278-42ED-A2CE-C7F99DCD12FA}" srcOrd="0" destOrd="0" presId="urn:microsoft.com/office/officeart/2005/8/layout/hierarchy2"/>
    <dgm:cxn modelId="{318EF876-74CF-4C9A-A104-B90B62537342}" type="presParOf" srcId="{D6ACF37C-5BEF-479E-89B6-9F8379492FF4}" destId="{BA34ABD3-3D13-4BE4-AB9F-F298A5CC2431}" srcOrd="1" destOrd="0" presId="urn:microsoft.com/office/officeart/2005/8/layout/hierarchy2"/>
    <dgm:cxn modelId="{5E2B99E1-02D5-4CC0-92A1-87FAA3DBFCE9}" type="presParOf" srcId="{80ABE848-A785-474B-8807-22701BB118D9}" destId="{34BD2122-6A6F-4F36-8346-864177B8A328}" srcOrd="10" destOrd="0" presId="urn:microsoft.com/office/officeart/2005/8/layout/hierarchy2"/>
    <dgm:cxn modelId="{376B2166-28D2-4E04-8C8F-EBCF383DD76F}" type="presParOf" srcId="{34BD2122-6A6F-4F36-8346-864177B8A328}" destId="{9AE0C816-4CA9-4A71-8D9C-6747B8AF5441}" srcOrd="0" destOrd="0" presId="urn:microsoft.com/office/officeart/2005/8/layout/hierarchy2"/>
    <dgm:cxn modelId="{206F1A55-7E57-42B6-9BB1-FECF1FA78BC5}" type="presParOf" srcId="{80ABE848-A785-474B-8807-22701BB118D9}" destId="{9B6D71F4-F2F5-4F22-86DC-EDDF191E7D30}" srcOrd="11" destOrd="0" presId="urn:microsoft.com/office/officeart/2005/8/layout/hierarchy2"/>
    <dgm:cxn modelId="{E3DCF9D1-3610-4A89-A453-A81B4CE53F20}" type="presParOf" srcId="{9B6D71F4-F2F5-4F22-86DC-EDDF191E7D30}" destId="{69EFC86E-FB14-4F22-A860-2BD1BCEC2237}" srcOrd="0" destOrd="0" presId="urn:microsoft.com/office/officeart/2005/8/layout/hierarchy2"/>
    <dgm:cxn modelId="{66D3775A-62A0-44A2-A0CF-0FF2375713B0}" type="presParOf" srcId="{9B6D71F4-F2F5-4F22-86DC-EDDF191E7D30}" destId="{9AE4DA83-15C0-4EC9-9FC6-B39E74326389}" srcOrd="1" destOrd="0" presId="urn:microsoft.com/office/officeart/2005/8/layout/hierarchy2"/>
    <dgm:cxn modelId="{0B4C4B40-FA3F-4F2D-A0B9-907472A31F93}" type="presParOf" srcId="{80ABE848-A785-474B-8807-22701BB118D9}" destId="{46693A0A-26DA-4777-9BDF-D17FB7DB0DA3}" srcOrd="12" destOrd="0" presId="urn:microsoft.com/office/officeart/2005/8/layout/hierarchy2"/>
    <dgm:cxn modelId="{8330BB0D-31F2-4615-BB41-519E1748B7FF}" type="presParOf" srcId="{46693A0A-26DA-4777-9BDF-D17FB7DB0DA3}" destId="{720A30FF-9943-4E9D-855C-FB2B794BA963}" srcOrd="0" destOrd="0" presId="urn:microsoft.com/office/officeart/2005/8/layout/hierarchy2"/>
    <dgm:cxn modelId="{5E075F05-BD22-4004-A7C1-45C96E9D4EA6}" type="presParOf" srcId="{80ABE848-A785-474B-8807-22701BB118D9}" destId="{649D041D-4C77-4EEC-B12D-E9A3E02D21A3}" srcOrd="13" destOrd="0" presId="urn:microsoft.com/office/officeart/2005/8/layout/hierarchy2"/>
    <dgm:cxn modelId="{A884DAE6-D75E-4E9F-8955-014ED2E02DE1}" type="presParOf" srcId="{649D041D-4C77-4EEC-B12D-E9A3E02D21A3}" destId="{1B3592ED-7D7F-47BA-87A0-80658E8E7985}" srcOrd="0" destOrd="0" presId="urn:microsoft.com/office/officeart/2005/8/layout/hierarchy2"/>
    <dgm:cxn modelId="{17D47C48-6160-4EBE-A8DF-B1DF51D1B6C5}" type="presParOf" srcId="{649D041D-4C77-4EEC-B12D-E9A3E02D21A3}" destId="{B0E6EAC2-A053-4CFD-8657-72242C49BDE9}" srcOrd="1" destOrd="0" presId="urn:microsoft.com/office/officeart/2005/8/layout/hierarchy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0A03F5A8-F3FD-45D9-9484-B55D868B8EF8}" type="doc">
      <dgm:prSet loTypeId="urn:microsoft.com/office/officeart/2005/8/layout/hierarchy2" loCatId="hierarchy" qsTypeId="urn:microsoft.com/office/officeart/2005/8/quickstyle/simple1" qsCatId="simple" csTypeId="urn:microsoft.com/office/officeart/2005/8/colors/colorful4" csCatId="colorful" phldr="1"/>
      <dgm:spPr/>
      <dgm:t>
        <a:bodyPr/>
        <a:lstStyle/>
        <a:p>
          <a:endParaRPr lang="fr-FR"/>
        </a:p>
      </dgm:t>
    </dgm:pt>
    <dgm:pt modelId="{5AFE294F-2C5A-4855-92D7-D951F2364B24}">
      <dgm:prSet phldrT="[Text]"/>
      <dgm:spPr/>
      <dgm:t>
        <a:bodyPr/>
        <a:lstStyle/>
        <a:p>
          <a:r>
            <a:rPr lang="fr-FR" noProof="0"/>
            <a:t>Déclaration Sinistre Auto (phase de login)</a:t>
          </a:r>
        </a:p>
      </dgm:t>
    </dgm:pt>
    <dgm:pt modelId="{59071923-9C14-4471-B358-4D2ED5014DA0}" type="parTrans" cxnId="{26563084-E3C3-44C5-A4DD-B0405719EAC8}">
      <dgm:prSet/>
      <dgm:spPr/>
      <dgm:t>
        <a:bodyPr/>
        <a:lstStyle/>
        <a:p>
          <a:endParaRPr lang="fr-FR"/>
        </a:p>
      </dgm:t>
    </dgm:pt>
    <dgm:pt modelId="{658A2DAE-EECD-4864-AC63-1E03841E93DC}" type="sibTrans" cxnId="{26563084-E3C3-44C5-A4DD-B0405719EAC8}">
      <dgm:prSet/>
      <dgm:spPr/>
      <dgm:t>
        <a:bodyPr/>
        <a:lstStyle/>
        <a:p>
          <a:endParaRPr lang="fr-FR"/>
        </a:p>
      </dgm:t>
    </dgm:pt>
    <dgm:pt modelId="{10AD6D04-1F96-446C-9D6B-934B83F073EE}">
      <dgm:prSet phldrT="[Text]"/>
      <dgm:spPr/>
      <dgm:t>
        <a:bodyPr/>
        <a:lstStyle/>
        <a:p>
          <a:r>
            <a:rPr lang="fr-FR" b="0" i="0" u="none"/>
            <a:t>Ouverture Solaris</a:t>
          </a:r>
          <a:endParaRPr lang="fr-FR" noProof="0"/>
        </a:p>
      </dgm:t>
    </dgm:pt>
    <dgm:pt modelId="{830D246C-E2B3-4B4C-B993-2E0FABC2686C}" type="parTrans" cxnId="{1D0745CA-FAE3-4E64-AFCD-79A77238E8DC}">
      <dgm:prSet/>
      <dgm:spPr/>
      <dgm:t>
        <a:bodyPr/>
        <a:lstStyle/>
        <a:p>
          <a:endParaRPr lang="fr-FR"/>
        </a:p>
      </dgm:t>
    </dgm:pt>
    <dgm:pt modelId="{71D29F6D-0616-4931-8E8B-F15609D95926}" type="sibTrans" cxnId="{1D0745CA-FAE3-4E64-AFCD-79A77238E8DC}">
      <dgm:prSet/>
      <dgm:spPr/>
      <dgm:t>
        <a:bodyPr/>
        <a:lstStyle/>
        <a:p>
          <a:endParaRPr lang="fr-FR"/>
        </a:p>
      </dgm:t>
    </dgm:pt>
    <dgm:pt modelId="{2DA1F265-F105-4FC2-861C-7C452BF54F2D}">
      <dgm:prSet/>
      <dgm:spPr/>
      <dgm:t>
        <a:bodyPr/>
        <a:lstStyle/>
        <a:p>
          <a:r>
            <a:rPr lang="fr-FR" b="0" i="0" u="none"/>
            <a:t>Login</a:t>
          </a:r>
          <a:endParaRPr lang="fr-FR"/>
        </a:p>
      </dgm:t>
    </dgm:pt>
    <dgm:pt modelId="{C598F97A-D53D-4E94-ABF7-0FFD630BB608}" type="parTrans" cxnId="{64AFB837-6297-40BA-B1D7-35F185A74651}">
      <dgm:prSet/>
      <dgm:spPr/>
      <dgm:t>
        <a:bodyPr/>
        <a:lstStyle/>
        <a:p>
          <a:endParaRPr lang="fr-FR"/>
        </a:p>
      </dgm:t>
    </dgm:pt>
    <dgm:pt modelId="{D4E143A5-8672-4B1C-A0A1-00FE069C19CD}" type="sibTrans" cxnId="{64AFB837-6297-40BA-B1D7-35F185A74651}">
      <dgm:prSet/>
      <dgm:spPr/>
      <dgm:t>
        <a:bodyPr/>
        <a:lstStyle/>
        <a:p>
          <a:endParaRPr lang="fr-FR"/>
        </a:p>
      </dgm:t>
    </dgm:pt>
    <dgm:pt modelId="{8428E284-8D55-4248-9061-475BDB6A5A6D}">
      <dgm:prSet/>
      <dgm:spPr/>
      <dgm:t>
        <a:bodyPr/>
        <a:lstStyle/>
        <a:p>
          <a:r>
            <a:rPr lang="fr-FR" b="0" i="0" u="none"/>
            <a:t>Mot de passe</a:t>
          </a:r>
          <a:endParaRPr lang="fr-FR"/>
        </a:p>
      </dgm:t>
    </dgm:pt>
    <dgm:pt modelId="{C1D11A0F-DE91-4DE0-9771-4E233FF0438C}" type="parTrans" cxnId="{D2E6CD28-82C8-4FBE-8BC1-6F8A83516A15}">
      <dgm:prSet/>
      <dgm:spPr/>
      <dgm:t>
        <a:bodyPr/>
        <a:lstStyle/>
        <a:p>
          <a:endParaRPr lang="fr-FR"/>
        </a:p>
      </dgm:t>
    </dgm:pt>
    <dgm:pt modelId="{C9257DB1-0511-46D4-B97D-8846C69536CB}" type="sibTrans" cxnId="{D2E6CD28-82C8-4FBE-8BC1-6F8A83516A15}">
      <dgm:prSet/>
      <dgm:spPr/>
      <dgm:t>
        <a:bodyPr/>
        <a:lstStyle/>
        <a:p>
          <a:endParaRPr lang="fr-FR"/>
        </a:p>
      </dgm:t>
    </dgm:pt>
    <dgm:pt modelId="{61486C40-7D97-49C8-8A96-BD40B321A623}">
      <dgm:prSet/>
      <dgm:spPr/>
      <dgm:t>
        <a:bodyPr/>
        <a:lstStyle/>
        <a:p>
          <a:r>
            <a:rPr lang="fr-FR" b="0" i="0" u="none"/>
            <a:t>Valider</a:t>
          </a:r>
          <a:endParaRPr lang="fr-FR"/>
        </a:p>
      </dgm:t>
    </dgm:pt>
    <dgm:pt modelId="{4C540D36-4F2A-4F22-AD96-669FC773C369}" type="parTrans" cxnId="{1B897BFA-1571-427E-8BE4-FDDB58E9C301}">
      <dgm:prSet/>
      <dgm:spPr/>
      <dgm:t>
        <a:bodyPr/>
        <a:lstStyle/>
        <a:p>
          <a:endParaRPr lang="fr-FR"/>
        </a:p>
      </dgm:t>
    </dgm:pt>
    <dgm:pt modelId="{04936CC4-8C90-43D0-AD1E-62BD62ED5754}" type="sibTrans" cxnId="{1B897BFA-1571-427E-8BE4-FDDB58E9C301}">
      <dgm:prSet/>
      <dgm:spPr/>
      <dgm:t>
        <a:bodyPr/>
        <a:lstStyle/>
        <a:p>
          <a:endParaRPr lang="fr-FR"/>
        </a:p>
      </dgm:t>
    </dgm:pt>
    <dgm:pt modelId="{E1FE6DEB-D733-4C5D-9935-14D400265AD3}">
      <dgm:prSet/>
      <dgm:spPr/>
      <dgm:t>
        <a:bodyPr/>
        <a:lstStyle/>
        <a:p>
          <a:r>
            <a:rPr lang="fr-FR" b="1" i="0" u="none"/>
            <a:t>Etape : Déclaration sinistre RCD</a:t>
          </a:r>
          <a:endParaRPr lang="fr-FR"/>
        </a:p>
      </dgm:t>
    </dgm:pt>
    <dgm:pt modelId="{D8EE14BB-9165-4F90-9B8F-4C3C44C2ED05}" type="parTrans" cxnId="{A4E5E85A-C470-4921-9244-DBDDB6DF3AAC}">
      <dgm:prSet/>
      <dgm:spPr/>
      <dgm:t>
        <a:bodyPr/>
        <a:lstStyle/>
        <a:p>
          <a:endParaRPr lang="fr-FR"/>
        </a:p>
      </dgm:t>
    </dgm:pt>
    <dgm:pt modelId="{ACEA007C-B207-465E-B373-C8FC21C13F9D}" type="sibTrans" cxnId="{A4E5E85A-C470-4921-9244-DBDDB6DF3AAC}">
      <dgm:prSet/>
      <dgm:spPr/>
      <dgm:t>
        <a:bodyPr/>
        <a:lstStyle/>
        <a:p>
          <a:endParaRPr lang="fr-FR"/>
        </a:p>
      </dgm:t>
    </dgm:pt>
    <dgm:pt modelId="{EB2389D9-6A8D-4BF3-8CE6-C71090DE692D}">
      <dgm:prSet/>
      <dgm:spPr/>
      <dgm:t>
        <a:bodyPr/>
        <a:lstStyle/>
        <a:p>
          <a:r>
            <a:rPr lang="fr-FR" b="0" i="0" u="none"/>
            <a:t>Ecran : Ma Corbeille</a:t>
          </a:r>
          <a:endParaRPr lang="fr-FR"/>
        </a:p>
      </dgm:t>
    </dgm:pt>
    <dgm:pt modelId="{2A263EB3-03F7-43B5-AEB3-CCFEA462DC34}" type="parTrans" cxnId="{A8F103E4-DF90-4393-BCED-81D0FEA01869}">
      <dgm:prSet/>
      <dgm:spPr/>
      <dgm:t>
        <a:bodyPr/>
        <a:lstStyle/>
        <a:p>
          <a:endParaRPr lang="fr-FR"/>
        </a:p>
      </dgm:t>
    </dgm:pt>
    <dgm:pt modelId="{33F22608-814B-4F31-957D-D5DA47F39D9F}" type="sibTrans" cxnId="{A8F103E4-DF90-4393-BCED-81D0FEA01869}">
      <dgm:prSet/>
      <dgm:spPr/>
      <dgm:t>
        <a:bodyPr/>
        <a:lstStyle/>
        <a:p>
          <a:endParaRPr lang="fr-FR"/>
        </a:p>
      </dgm:t>
    </dgm:pt>
    <dgm:pt modelId="{99F28AEF-B0EA-445D-817F-368C02C533CD}">
      <dgm:prSet/>
      <dgm:spPr/>
      <dgm:t>
        <a:bodyPr/>
        <a:lstStyle/>
        <a:p>
          <a:r>
            <a:rPr lang="fr-FR" b="0" i="0" u="none"/>
            <a:t>Menu Nouveau sinistre</a:t>
          </a:r>
          <a:endParaRPr lang="fr-FR"/>
        </a:p>
      </dgm:t>
    </dgm:pt>
    <dgm:pt modelId="{0BAE997D-D82F-409F-BEC1-7A28EA04DA51}" type="parTrans" cxnId="{BA4531BA-414C-40B2-80C4-C4FD8EB71381}">
      <dgm:prSet/>
      <dgm:spPr/>
      <dgm:t>
        <a:bodyPr/>
        <a:lstStyle/>
        <a:p>
          <a:endParaRPr lang="fr-FR"/>
        </a:p>
      </dgm:t>
    </dgm:pt>
    <dgm:pt modelId="{169F0F98-6E05-4D08-A116-7FDDD273C081}" type="sibTrans" cxnId="{BA4531BA-414C-40B2-80C4-C4FD8EB71381}">
      <dgm:prSet/>
      <dgm:spPr/>
      <dgm:t>
        <a:bodyPr/>
        <a:lstStyle/>
        <a:p>
          <a:endParaRPr lang="fr-FR"/>
        </a:p>
      </dgm:t>
    </dgm:pt>
    <dgm:pt modelId="{9B2DD209-2A27-4500-8047-784299B5DBB0}">
      <dgm:prSet/>
      <dgm:spPr/>
      <dgm:t>
        <a:bodyPr/>
        <a:lstStyle/>
        <a:p>
          <a:r>
            <a:rPr lang="fr-FR" b="1" i="0" u="none"/>
            <a:t>Ecran : Rechercher ou créer un contrat</a:t>
          </a:r>
          <a:endParaRPr lang="fr-FR"/>
        </a:p>
      </dgm:t>
    </dgm:pt>
    <dgm:pt modelId="{D88346FF-D787-464C-9514-CF332A046C9A}" type="parTrans" cxnId="{00B384C0-0F4B-4FC7-8579-920581D41F72}">
      <dgm:prSet/>
      <dgm:spPr/>
      <dgm:t>
        <a:bodyPr/>
        <a:lstStyle/>
        <a:p>
          <a:endParaRPr lang="fr-FR"/>
        </a:p>
      </dgm:t>
    </dgm:pt>
    <dgm:pt modelId="{78E0706D-2DEA-47ED-B61F-9E9E719642F9}" type="sibTrans" cxnId="{00B384C0-0F4B-4FC7-8579-920581D41F72}">
      <dgm:prSet/>
      <dgm:spPr/>
      <dgm:t>
        <a:bodyPr/>
        <a:lstStyle/>
        <a:p>
          <a:endParaRPr lang="fr-FR"/>
        </a:p>
      </dgm:t>
    </dgm:pt>
    <dgm:pt modelId="{F6107CF0-DA02-4A4A-9E4C-FF1F4C213C96}">
      <dgm:prSet/>
      <dgm:spPr/>
      <dgm:t>
        <a:bodyPr/>
        <a:lstStyle/>
        <a:p>
          <a:r>
            <a:rPr lang="fr-FR" b="0" i="0" u="none"/>
            <a:t>N° de contrat</a:t>
          </a:r>
          <a:endParaRPr lang="fr-FR"/>
        </a:p>
      </dgm:t>
    </dgm:pt>
    <dgm:pt modelId="{B11E0614-2555-4739-9249-277F14142828}" type="parTrans" cxnId="{21559EA0-A189-4FA4-8248-98B1BFD1FF70}">
      <dgm:prSet/>
      <dgm:spPr/>
      <dgm:t>
        <a:bodyPr/>
        <a:lstStyle/>
        <a:p>
          <a:endParaRPr lang="fr-FR"/>
        </a:p>
      </dgm:t>
    </dgm:pt>
    <dgm:pt modelId="{4DCB992D-FE85-4A90-9544-F43C0B328AD0}" type="sibTrans" cxnId="{21559EA0-A189-4FA4-8248-98B1BFD1FF70}">
      <dgm:prSet/>
      <dgm:spPr/>
      <dgm:t>
        <a:bodyPr/>
        <a:lstStyle/>
        <a:p>
          <a:endParaRPr lang="fr-FR"/>
        </a:p>
      </dgm:t>
    </dgm:pt>
    <dgm:pt modelId="{C3DA7711-4146-4ED5-99E8-ECB8D8C4E084}">
      <dgm:prSet/>
      <dgm:spPr/>
      <dgm:t>
        <a:bodyPr/>
        <a:lstStyle/>
        <a:p>
          <a:r>
            <a:rPr lang="fr-FR" b="0" i="0" u="none"/>
            <a:t>Branche</a:t>
          </a:r>
          <a:endParaRPr lang="fr-FR"/>
        </a:p>
      </dgm:t>
    </dgm:pt>
    <dgm:pt modelId="{C1252674-5588-44ED-A301-195B49B39ABC}" type="parTrans" cxnId="{F17C2A9F-556A-45CD-9439-E198A3081C60}">
      <dgm:prSet/>
      <dgm:spPr/>
      <dgm:t>
        <a:bodyPr/>
        <a:lstStyle/>
        <a:p>
          <a:endParaRPr lang="fr-FR"/>
        </a:p>
      </dgm:t>
    </dgm:pt>
    <dgm:pt modelId="{58685D25-2DFC-42CE-8344-C4D3E8113995}" type="sibTrans" cxnId="{F17C2A9F-556A-45CD-9439-E198A3081C60}">
      <dgm:prSet/>
      <dgm:spPr/>
      <dgm:t>
        <a:bodyPr/>
        <a:lstStyle/>
        <a:p>
          <a:endParaRPr lang="fr-FR"/>
        </a:p>
      </dgm:t>
    </dgm:pt>
    <dgm:pt modelId="{B66844B4-5A5B-489E-9CAA-A5FC625662CD}">
      <dgm:prSet/>
      <dgm:spPr/>
      <dgm:t>
        <a:bodyPr/>
        <a:lstStyle/>
        <a:p>
          <a:r>
            <a:rPr lang="fr-FR" b="0" i="0" u="none"/>
            <a:t>Type de contrat</a:t>
          </a:r>
          <a:endParaRPr lang="fr-FR"/>
        </a:p>
      </dgm:t>
    </dgm:pt>
    <dgm:pt modelId="{46408C81-7A19-4103-AAA4-561C29F4466D}" type="parTrans" cxnId="{96AA2F7B-06E5-40E4-8547-171277E0FE16}">
      <dgm:prSet/>
      <dgm:spPr/>
      <dgm:t>
        <a:bodyPr/>
        <a:lstStyle/>
        <a:p>
          <a:endParaRPr lang="fr-FR"/>
        </a:p>
      </dgm:t>
    </dgm:pt>
    <dgm:pt modelId="{9A6E7B7F-616A-4CE7-8DB8-9CA895B9C0DB}" type="sibTrans" cxnId="{96AA2F7B-06E5-40E4-8547-171277E0FE16}">
      <dgm:prSet/>
      <dgm:spPr/>
      <dgm:t>
        <a:bodyPr/>
        <a:lstStyle/>
        <a:p>
          <a:endParaRPr lang="fr-FR"/>
        </a:p>
      </dgm:t>
    </dgm:pt>
    <dgm:pt modelId="{A16FFD84-8D5D-4AD9-8809-36119F5A9DA7}">
      <dgm:prSet/>
      <dgm:spPr/>
      <dgm:t>
        <a:bodyPr/>
        <a:lstStyle/>
        <a:p>
          <a:r>
            <a:rPr lang="fr-FR" b="0" i="0" u="none"/>
            <a:t>Date de réclamation</a:t>
          </a:r>
          <a:endParaRPr lang="fr-FR"/>
        </a:p>
      </dgm:t>
    </dgm:pt>
    <dgm:pt modelId="{DBF5F3E4-71BF-4B92-BDBD-025D458EA76D}" type="parTrans" cxnId="{3508F6C2-4C89-4091-995D-69E6CC3D7A38}">
      <dgm:prSet/>
      <dgm:spPr/>
      <dgm:t>
        <a:bodyPr/>
        <a:lstStyle/>
        <a:p>
          <a:endParaRPr lang="fr-FR"/>
        </a:p>
      </dgm:t>
    </dgm:pt>
    <dgm:pt modelId="{71C1BCDA-9784-4D86-B5D5-115A5B60FF73}" type="sibTrans" cxnId="{3508F6C2-4C89-4091-995D-69E6CC3D7A38}">
      <dgm:prSet/>
      <dgm:spPr/>
      <dgm:t>
        <a:bodyPr/>
        <a:lstStyle/>
        <a:p>
          <a:endParaRPr lang="fr-FR"/>
        </a:p>
      </dgm:t>
    </dgm:pt>
    <dgm:pt modelId="{4FF9B09C-0A12-4073-B109-DF4E36A63318}">
      <dgm:prSet phldrT="[Text]"/>
      <dgm:spPr/>
      <dgm:t>
        <a:bodyPr/>
        <a:lstStyle/>
        <a:p>
          <a:r>
            <a:rPr lang="fr-FR" noProof="0"/>
            <a:t>Phase de login </a:t>
          </a:r>
        </a:p>
      </dgm:t>
    </dgm:pt>
    <dgm:pt modelId="{8A25B504-8368-461D-B01B-C663A94496CA}" type="parTrans" cxnId="{9FD179B3-1441-468B-8572-54088F3631D1}">
      <dgm:prSet/>
      <dgm:spPr/>
      <dgm:t>
        <a:bodyPr/>
        <a:lstStyle/>
        <a:p>
          <a:endParaRPr lang="fr-FR"/>
        </a:p>
      </dgm:t>
    </dgm:pt>
    <dgm:pt modelId="{56ADC892-35F1-4AC9-8148-DD6BFC31F802}" type="sibTrans" cxnId="{9FD179B3-1441-468B-8572-54088F3631D1}">
      <dgm:prSet/>
      <dgm:spPr/>
      <dgm:t>
        <a:bodyPr/>
        <a:lstStyle/>
        <a:p>
          <a:endParaRPr lang="fr-FR"/>
        </a:p>
      </dgm:t>
    </dgm:pt>
    <dgm:pt modelId="{78DB14EC-790E-4608-9336-0DC55DCB3829}">
      <dgm:prSet/>
      <dgm:spPr/>
      <dgm:t>
        <a:bodyPr/>
        <a:lstStyle/>
        <a:p>
          <a:r>
            <a:rPr lang="fr-FR"/>
            <a:t>Suivant</a:t>
          </a:r>
        </a:p>
      </dgm:t>
    </dgm:pt>
    <dgm:pt modelId="{8DB75B09-BA3B-4CFA-A570-486E356A52FA}" type="parTrans" cxnId="{52D9AA1D-6C6F-481D-8F17-F36837A351BE}">
      <dgm:prSet/>
      <dgm:spPr/>
      <dgm:t>
        <a:bodyPr/>
        <a:lstStyle/>
        <a:p>
          <a:endParaRPr lang="fr-FR"/>
        </a:p>
      </dgm:t>
    </dgm:pt>
    <dgm:pt modelId="{FFE7F561-A231-4A99-B0E7-DDB3169D241B}" type="sibTrans" cxnId="{52D9AA1D-6C6F-481D-8F17-F36837A351BE}">
      <dgm:prSet/>
      <dgm:spPr/>
      <dgm:t>
        <a:bodyPr/>
        <a:lstStyle/>
        <a:p>
          <a:endParaRPr lang="fr-FR"/>
        </a:p>
      </dgm:t>
    </dgm:pt>
    <dgm:pt modelId="{FA26F4C0-BD80-4B79-BC13-85B608CA83C1}">
      <dgm:prSet/>
      <dgm:spPr/>
      <dgm:t>
        <a:bodyPr/>
        <a:lstStyle/>
        <a:p>
          <a:r>
            <a:rPr lang="fr-FR" b="0" i="0" u="none"/>
            <a:t>Menu Sinistre</a:t>
          </a:r>
          <a:endParaRPr lang="fr-FR"/>
        </a:p>
      </dgm:t>
    </dgm:pt>
    <dgm:pt modelId="{44C5EAC0-F34F-4008-A6A2-0B63DF196C2B}" type="sibTrans" cxnId="{750D606C-BA94-40EE-B41D-23CB074C4372}">
      <dgm:prSet/>
      <dgm:spPr/>
      <dgm:t>
        <a:bodyPr/>
        <a:lstStyle/>
        <a:p>
          <a:endParaRPr lang="fr-FR"/>
        </a:p>
      </dgm:t>
    </dgm:pt>
    <dgm:pt modelId="{E6546567-B488-4641-9AA3-CED35ED0D688}" type="parTrans" cxnId="{750D606C-BA94-40EE-B41D-23CB074C4372}">
      <dgm:prSet/>
      <dgm:spPr/>
      <dgm:t>
        <a:bodyPr/>
        <a:lstStyle/>
        <a:p>
          <a:endParaRPr lang="fr-FR"/>
        </a:p>
      </dgm:t>
    </dgm:pt>
    <dgm:pt modelId="{8ABBACE0-D732-48D5-9228-1FF1A0DF6403}" type="pres">
      <dgm:prSet presAssocID="{0A03F5A8-F3FD-45D9-9484-B55D868B8EF8}" presName="diagram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</dgm:pt>
    <dgm:pt modelId="{CBD06B68-7236-46D7-8A9F-F5D93428F9DF}" type="pres">
      <dgm:prSet presAssocID="{5AFE294F-2C5A-4855-92D7-D951F2364B24}" presName="root1" presStyleCnt="0"/>
      <dgm:spPr/>
    </dgm:pt>
    <dgm:pt modelId="{72D01C71-4D28-4751-AE67-4DAF562F986E}" type="pres">
      <dgm:prSet presAssocID="{5AFE294F-2C5A-4855-92D7-D951F2364B24}" presName="LevelOneTextNode" presStyleLbl="node0" presStyleIdx="0" presStyleCnt="1">
        <dgm:presLayoutVars>
          <dgm:chPref val="3"/>
        </dgm:presLayoutVars>
      </dgm:prSet>
      <dgm:spPr/>
    </dgm:pt>
    <dgm:pt modelId="{80ABE848-A785-474B-8807-22701BB118D9}" type="pres">
      <dgm:prSet presAssocID="{5AFE294F-2C5A-4855-92D7-D951F2364B24}" presName="level2hierChild" presStyleCnt="0"/>
      <dgm:spPr/>
    </dgm:pt>
    <dgm:pt modelId="{07351BC3-1DCF-4CA0-8978-C7C6A8314A80}" type="pres">
      <dgm:prSet presAssocID="{830D246C-E2B3-4B4C-B993-2E0FABC2686C}" presName="conn2-1" presStyleLbl="parChTrans1D2" presStyleIdx="0" presStyleCnt="3"/>
      <dgm:spPr/>
    </dgm:pt>
    <dgm:pt modelId="{44121C89-9CAB-4C89-9223-4E46D7EB5452}" type="pres">
      <dgm:prSet presAssocID="{830D246C-E2B3-4B4C-B993-2E0FABC2686C}" presName="connTx" presStyleLbl="parChTrans1D2" presStyleIdx="0" presStyleCnt="3"/>
      <dgm:spPr/>
    </dgm:pt>
    <dgm:pt modelId="{59D983D6-5902-4FC6-9130-675FA295A1C8}" type="pres">
      <dgm:prSet presAssocID="{10AD6D04-1F96-446C-9D6B-934B83F073EE}" presName="root2" presStyleCnt="0"/>
      <dgm:spPr/>
    </dgm:pt>
    <dgm:pt modelId="{FEBFFE11-7BA4-4E4D-9ED0-F3F014C82753}" type="pres">
      <dgm:prSet presAssocID="{10AD6D04-1F96-446C-9D6B-934B83F073EE}" presName="LevelTwoTextNode" presStyleLbl="node2" presStyleIdx="0" presStyleCnt="3">
        <dgm:presLayoutVars>
          <dgm:chPref val="3"/>
        </dgm:presLayoutVars>
      </dgm:prSet>
      <dgm:spPr/>
    </dgm:pt>
    <dgm:pt modelId="{584A3FF6-58F6-4AA0-8FF8-BB2A2D913D00}" type="pres">
      <dgm:prSet presAssocID="{10AD6D04-1F96-446C-9D6B-934B83F073EE}" presName="level3hierChild" presStyleCnt="0"/>
      <dgm:spPr/>
    </dgm:pt>
    <dgm:pt modelId="{08D418A6-E399-4806-B873-20C541234562}" type="pres">
      <dgm:prSet presAssocID="{8A25B504-8368-461D-B01B-C663A94496CA}" presName="conn2-1" presStyleLbl="parChTrans1D2" presStyleIdx="1" presStyleCnt="3"/>
      <dgm:spPr/>
    </dgm:pt>
    <dgm:pt modelId="{FB2CF7E5-76B2-43D4-93B3-73B0458981D7}" type="pres">
      <dgm:prSet presAssocID="{8A25B504-8368-461D-B01B-C663A94496CA}" presName="connTx" presStyleLbl="parChTrans1D2" presStyleIdx="1" presStyleCnt="3"/>
      <dgm:spPr/>
    </dgm:pt>
    <dgm:pt modelId="{1031BF2E-A9B1-46A2-A13B-6621C41939C2}" type="pres">
      <dgm:prSet presAssocID="{4FF9B09C-0A12-4073-B109-DF4E36A63318}" presName="root2" presStyleCnt="0"/>
      <dgm:spPr/>
    </dgm:pt>
    <dgm:pt modelId="{FD5D9456-E617-495C-8D9E-0EE1636D7594}" type="pres">
      <dgm:prSet presAssocID="{4FF9B09C-0A12-4073-B109-DF4E36A63318}" presName="LevelTwoTextNode" presStyleLbl="node2" presStyleIdx="1" presStyleCnt="3">
        <dgm:presLayoutVars>
          <dgm:chPref val="3"/>
        </dgm:presLayoutVars>
      </dgm:prSet>
      <dgm:spPr/>
    </dgm:pt>
    <dgm:pt modelId="{60458B42-9FA8-4458-BE0E-66CA9C9B1739}" type="pres">
      <dgm:prSet presAssocID="{4FF9B09C-0A12-4073-B109-DF4E36A63318}" presName="level3hierChild" presStyleCnt="0"/>
      <dgm:spPr/>
    </dgm:pt>
    <dgm:pt modelId="{56425DAF-90DC-43B6-8172-D954D84C523B}" type="pres">
      <dgm:prSet presAssocID="{C598F97A-D53D-4E94-ABF7-0FFD630BB608}" presName="conn2-1" presStyleLbl="parChTrans1D3" presStyleIdx="0" presStyleCnt="5"/>
      <dgm:spPr/>
    </dgm:pt>
    <dgm:pt modelId="{C23A7F23-D5B0-4BDC-944F-B82D8201E8CC}" type="pres">
      <dgm:prSet presAssocID="{C598F97A-D53D-4E94-ABF7-0FFD630BB608}" presName="connTx" presStyleLbl="parChTrans1D3" presStyleIdx="0" presStyleCnt="5"/>
      <dgm:spPr/>
    </dgm:pt>
    <dgm:pt modelId="{FA98B1DC-A662-4AF4-B11A-F3E9C8ABD05A}" type="pres">
      <dgm:prSet presAssocID="{2DA1F265-F105-4FC2-861C-7C452BF54F2D}" presName="root2" presStyleCnt="0"/>
      <dgm:spPr/>
    </dgm:pt>
    <dgm:pt modelId="{9A0D1FD3-CE31-4109-AFCB-132E04B8F5B1}" type="pres">
      <dgm:prSet presAssocID="{2DA1F265-F105-4FC2-861C-7C452BF54F2D}" presName="LevelTwoTextNode" presStyleLbl="node3" presStyleIdx="0" presStyleCnt="5">
        <dgm:presLayoutVars>
          <dgm:chPref val="3"/>
        </dgm:presLayoutVars>
      </dgm:prSet>
      <dgm:spPr/>
    </dgm:pt>
    <dgm:pt modelId="{61F80765-E644-4576-90DD-1850AF3B3F28}" type="pres">
      <dgm:prSet presAssocID="{2DA1F265-F105-4FC2-861C-7C452BF54F2D}" presName="level3hierChild" presStyleCnt="0"/>
      <dgm:spPr/>
    </dgm:pt>
    <dgm:pt modelId="{89F98EE0-37ED-4BC4-A534-17244150EC1A}" type="pres">
      <dgm:prSet presAssocID="{C1D11A0F-DE91-4DE0-9771-4E233FF0438C}" presName="conn2-1" presStyleLbl="parChTrans1D3" presStyleIdx="1" presStyleCnt="5"/>
      <dgm:spPr/>
    </dgm:pt>
    <dgm:pt modelId="{2727FF13-F58C-402E-9674-CC6787A510D4}" type="pres">
      <dgm:prSet presAssocID="{C1D11A0F-DE91-4DE0-9771-4E233FF0438C}" presName="connTx" presStyleLbl="parChTrans1D3" presStyleIdx="1" presStyleCnt="5"/>
      <dgm:spPr/>
    </dgm:pt>
    <dgm:pt modelId="{8705EF60-D732-40C2-942F-53A41988D3C9}" type="pres">
      <dgm:prSet presAssocID="{8428E284-8D55-4248-9061-475BDB6A5A6D}" presName="root2" presStyleCnt="0"/>
      <dgm:spPr/>
    </dgm:pt>
    <dgm:pt modelId="{51F00818-16DA-40AF-9FCE-B69D443DA700}" type="pres">
      <dgm:prSet presAssocID="{8428E284-8D55-4248-9061-475BDB6A5A6D}" presName="LevelTwoTextNode" presStyleLbl="node3" presStyleIdx="1" presStyleCnt="5">
        <dgm:presLayoutVars>
          <dgm:chPref val="3"/>
        </dgm:presLayoutVars>
      </dgm:prSet>
      <dgm:spPr/>
    </dgm:pt>
    <dgm:pt modelId="{DBE397FE-62EA-4740-B02E-CE05A353D04D}" type="pres">
      <dgm:prSet presAssocID="{8428E284-8D55-4248-9061-475BDB6A5A6D}" presName="level3hierChild" presStyleCnt="0"/>
      <dgm:spPr/>
    </dgm:pt>
    <dgm:pt modelId="{C10ABD33-517B-4D7E-B667-3D2B417A3CD8}" type="pres">
      <dgm:prSet presAssocID="{4C540D36-4F2A-4F22-AD96-669FC773C369}" presName="conn2-1" presStyleLbl="parChTrans1D3" presStyleIdx="2" presStyleCnt="5"/>
      <dgm:spPr/>
    </dgm:pt>
    <dgm:pt modelId="{EDFB3CE3-7995-40A8-9D59-26E9FD37E3D0}" type="pres">
      <dgm:prSet presAssocID="{4C540D36-4F2A-4F22-AD96-669FC773C369}" presName="connTx" presStyleLbl="parChTrans1D3" presStyleIdx="2" presStyleCnt="5"/>
      <dgm:spPr/>
    </dgm:pt>
    <dgm:pt modelId="{2B16E2E3-CC3B-4EF7-AB20-5D2380AC94D9}" type="pres">
      <dgm:prSet presAssocID="{61486C40-7D97-49C8-8A96-BD40B321A623}" presName="root2" presStyleCnt="0"/>
      <dgm:spPr/>
    </dgm:pt>
    <dgm:pt modelId="{225494EB-652A-4D65-94D2-83A08C84923D}" type="pres">
      <dgm:prSet presAssocID="{61486C40-7D97-49C8-8A96-BD40B321A623}" presName="LevelTwoTextNode" presStyleLbl="node3" presStyleIdx="2" presStyleCnt="5">
        <dgm:presLayoutVars>
          <dgm:chPref val="3"/>
        </dgm:presLayoutVars>
      </dgm:prSet>
      <dgm:spPr/>
    </dgm:pt>
    <dgm:pt modelId="{A163F39E-8BA9-479E-A39C-8B0760E601DE}" type="pres">
      <dgm:prSet presAssocID="{61486C40-7D97-49C8-8A96-BD40B321A623}" presName="level3hierChild" presStyleCnt="0"/>
      <dgm:spPr/>
    </dgm:pt>
    <dgm:pt modelId="{352B7D5A-C3AA-4756-A02F-24B58CA79E83}" type="pres">
      <dgm:prSet presAssocID="{D8EE14BB-9165-4F90-9B8F-4C3C44C2ED05}" presName="conn2-1" presStyleLbl="parChTrans1D2" presStyleIdx="2" presStyleCnt="3"/>
      <dgm:spPr/>
    </dgm:pt>
    <dgm:pt modelId="{690AD542-D2B3-4DF2-BED6-A5E33BBC133F}" type="pres">
      <dgm:prSet presAssocID="{D8EE14BB-9165-4F90-9B8F-4C3C44C2ED05}" presName="connTx" presStyleLbl="parChTrans1D2" presStyleIdx="2" presStyleCnt="3"/>
      <dgm:spPr/>
    </dgm:pt>
    <dgm:pt modelId="{6C01EF34-D12F-4DA6-9F8B-5330925F2352}" type="pres">
      <dgm:prSet presAssocID="{E1FE6DEB-D733-4C5D-9935-14D400265AD3}" presName="root2" presStyleCnt="0"/>
      <dgm:spPr/>
    </dgm:pt>
    <dgm:pt modelId="{6AF904CB-5748-418D-AEB1-2B12C8C7A098}" type="pres">
      <dgm:prSet presAssocID="{E1FE6DEB-D733-4C5D-9935-14D400265AD3}" presName="LevelTwoTextNode" presStyleLbl="node2" presStyleIdx="2" presStyleCnt="3">
        <dgm:presLayoutVars>
          <dgm:chPref val="3"/>
        </dgm:presLayoutVars>
      </dgm:prSet>
      <dgm:spPr/>
    </dgm:pt>
    <dgm:pt modelId="{600FBFA1-F222-4E9E-ADA9-548D0A9A6E74}" type="pres">
      <dgm:prSet presAssocID="{E1FE6DEB-D733-4C5D-9935-14D400265AD3}" presName="level3hierChild" presStyleCnt="0"/>
      <dgm:spPr/>
    </dgm:pt>
    <dgm:pt modelId="{8C23B94C-3F42-4C5F-B87D-F1F73584C881}" type="pres">
      <dgm:prSet presAssocID="{2A263EB3-03F7-43B5-AEB3-CCFEA462DC34}" presName="conn2-1" presStyleLbl="parChTrans1D3" presStyleIdx="3" presStyleCnt="5"/>
      <dgm:spPr/>
    </dgm:pt>
    <dgm:pt modelId="{FD5557A9-947F-45C0-89EB-48D82A3CE3B8}" type="pres">
      <dgm:prSet presAssocID="{2A263EB3-03F7-43B5-AEB3-CCFEA462DC34}" presName="connTx" presStyleLbl="parChTrans1D3" presStyleIdx="3" presStyleCnt="5"/>
      <dgm:spPr/>
    </dgm:pt>
    <dgm:pt modelId="{95345C08-CDE8-4BA0-8F80-67BBB1312507}" type="pres">
      <dgm:prSet presAssocID="{EB2389D9-6A8D-4BF3-8CE6-C71090DE692D}" presName="root2" presStyleCnt="0"/>
      <dgm:spPr/>
    </dgm:pt>
    <dgm:pt modelId="{21BB043B-00B1-4EE9-899E-4BA8939CEB2D}" type="pres">
      <dgm:prSet presAssocID="{EB2389D9-6A8D-4BF3-8CE6-C71090DE692D}" presName="LevelTwoTextNode" presStyleLbl="node3" presStyleIdx="3" presStyleCnt="5">
        <dgm:presLayoutVars>
          <dgm:chPref val="3"/>
        </dgm:presLayoutVars>
      </dgm:prSet>
      <dgm:spPr/>
    </dgm:pt>
    <dgm:pt modelId="{402EF506-167C-4B6F-B4AB-EB2C43213253}" type="pres">
      <dgm:prSet presAssocID="{EB2389D9-6A8D-4BF3-8CE6-C71090DE692D}" presName="level3hierChild" presStyleCnt="0"/>
      <dgm:spPr/>
    </dgm:pt>
    <dgm:pt modelId="{6A29A97E-6AA2-46D2-9C66-A87B7DF2072A}" type="pres">
      <dgm:prSet presAssocID="{E6546567-B488-4641-9AA3-CED35ED0D688}" presName="conn2-1" presStyleLbl="parChTrans1D4" presStyleIdx="0" presStyleCnt="7"/>
      <dgm:spPr/>
    </dgm:pt>
    <dgm:pt modelId="{88E8CADF-D61C-4963-84B1-D0394159B4E0}" type="pres">
      <dgm:prSet presAssocID="{E6546567-B488-4641-9AA3-CED35ED0D688}" presName="connTx" presStyleLbl="parChTrans1D4" presStyleIdx="0" presStyleCnt="7"/>
      <dgm:spPr/>
    </dgm:pt>
    <dgm:pt modelId="{B4C99511-3E92-49DC-9EC9-7DE1CCCF6BC7}" type="pres">
      <dgm:prSet presAssocID="{FA26F4C0-BD80-4B79-BC13-85B608CA83C1}" presName="root2" presStyleCnt="0"/>
      <dgm:spPr/>
    </dgm:pt>
    <dgm:pt modelId="{C1DBEDB6-0791-496F-AE50-BDBAC17C0C08}" type="pres">
      <dgm:prSet presAssocID="{FA26F4C0-BD80-4B79-BC13-85B608CA83C1}" presName="LevelTwoTextNode" presStyleLbl="node4" presStyleIdx="0" presStyleCnt="7">
        <dgm:presLayoutVars>
          <dgm:chPref val="3"/>
        </dgm:presLayoutVars>
      </dgm:prSet>
      <dgm:spPr/>
    </dgm:pt>
    <dgm:pt modelId="{DAAEBE34-83B2-4820-B4E6-115F83590A48}" type="pres">
      <dgm:prSet presAssocID="{FA26F4C0-BD80-4B79-BC13-85B608CA83C1}" presName="level3hierChild" presStyleCnt="0"/>
      <dgm:spPr/>
    </dgm:pt>
    <dgm:pt modelId="{951D619A-66B4-4E78-B99A-91CF5CF81ABE}" type="pres">
      <dgm:prSet presAssocID="{0BAE997D-D82F-409F-BEC1-7A28EA04DA51}" presName="conn2-1" presStyleLbl="parChTrans1D4" presStyleIdx="1" presStyleCnt="7"/>
      <dgm:spPr/>
    </dgm:pt>
    <dgm:pt modelId="{6493A358-E3AB-4AF4-A773-CC52FF69A528}" type="pres">
      <dgm:prSet presAssocID="{0BAE997D-D82F-409F-BEC1-7A28EA04DA51}" presName="connTx" presStyleLbl="parChTrans1D4" presStyleIdx="1" presStyleCnt="7"/>
      <dgm:spPr/>
    </dgm:pt>
    <dgm:pt modelId="{6ECE6FD7-1DA1-488C-B814-D34956434E45}" type="pres">
      <dgm:prSet presAssocID="{99F28AEF-B0EA-445D-817F-368C02C533CD}" presName="root2" presStyleCnt="0"/>
      <dgm:spPr/>
    </dgm:pt>
    <dgm:pt modelId="{3AA7440C-B955-4225-B8DB-66E5BAC1377C}" type="pres">
      <dgm:prSet presAssocID="{99F28AEF-B0EA-445D-817F-368C02C533CD}" presName="LevelTwoTextNode" presStyleLbl="node4" presStyleIdx="1" presStyleCnt="7">
        <dgm:presLayoutVars>
          <dgm:chPref val="3"/>
        </dgm:presLayoutVars>
      </dgm:prSet>
      <dgm:spPr/>
    </dgm:pt>
    <dgm:pt modelId="{464B43CA-E911-453C-9C21-9F156A464375}" type="pres">
      <dgm:prSet presAssocID="{99F28AEF-B0EA-445D-817F-368C02C533CD}" presName="level3hierChild" presStyleCnt="0"/>
      <dgm:spPr/>
    </dgm:pt>
    <dgm:pt modelId="{88EE9D3B-D7C6-49BD-9A18-6383852EDBBD}" type="pres">
      <dgm:prSet presAssocID="{D88346FF-D787-464C-9514-CF332A046C9A}" presName="conn2-1" presStyleLbl="parChTrans1D3" presStyleIdx="4" presStyleCnt="5"/>
      <dgm:spPr/>
    </dgm:pt>
    <dgm:pt modelId="{A0474BAB-F105-45BA-80D6-8F586820BEE1}" type="pres">
      <dgm:prSet presAssocID="{D88346FF-D787-464C-9514-CF332A046C9A}" presName="connTx" presStyleLbl="parChTrans1D3" presStyleIdx="4" presStyleCnt="5"/>
      <dgm:spPr/>
    </dgm:pt>
    <dgm:pt modelId="{A59A0F37-D22B-4E8D-924C-52FD85687492}" type="pres">
      <dgm:prSet presAssocID="{9B2DD209-2A27-4500-8047-784299B5DBB0}" presName="root2" presStyleCnt="0"/>
      <dgm:spPr/>
    </dgm:pt>
    <dgm:pt modelId="{9852418C-28F9-4D12-9EA1-861B79015588}" type="pres">
      <dgm:prSet presAssocID="{9B2DD209-2A27-4500-8047-784299B5DBB0}" presName="LevelTwoTextNode" presStyleLbl="node3" presStyleIdx="4" presStyleCnt="5">
        <dgm:presLayoutVars>
          <dgm:chPref val="3"/>
        </dgm:presLayoutVars>
      </dgm:prSet>
      <dgm:spPr/>
    </dgm:pt>
    <dgm:pt modelId="{6635B2A9-DA21-4CB6-9228-C294F684853A}" type="pres">
      <dgm:prSet presAssocID="{9B2DD209-2A27-4500-8047-784299B5DBB0}" presName="level3hierChild" presStyleCnt="0"/>
      <dgm:spPr/>
    </dgm:pt>
    <dgm:pt modelId="{28617A9A-B035-4566-88A2-9091D7170B69}" type="pres">
      <dgm:prSet presAssocID="{B11E0614-2555-4739-9249-277F14142828}" presName="conn2-1" presStyleLbl="parChTrans1D4" presStyleIdx="2" presStyleCnt="7"/>
      <dgm:spPr/>
    </dgm:pt>
    <dgm:pt modelId="{9F8811AB-B869-480F-B279-A2112DF9D6B0}" type="pres">
      <dgm:prSet presAssocID="{B11E0614-2555-4739-9249-277F14142828}" presName="connTx" presStyleLbl="parChTrans1D4" presStyleIdx="2" presStyleCnt="7"/>
      <dgm:spPr/>
    </dgm:pt>
    <dgm:pt modelId="{DE35203E-6DCC-46F5-979B-1FAD9A7F77A6}" type="pres">
      <dgm:prSet presAssocID="{F6107CF0-DA02-4A4A-9E4C-FF1F4C213C96}" presName="root2" presStyleCnt="0"/>
      <dgm:spPr/>
    </dgm:pt>
    <dgm:pt modelId="{FA4C0BE7-A7F2-4390-8309-69268E411DCA}" type="pres">
      <dgm:prSet presAssocID="{F6107CF0-DA02-4A4A-9E4C-FF1F4C213C96}" presName="LevelTwoTextNode" presStyleLbl="node4" presStyleIdx="2" presStyleCnt="7">
        <dgm:presLayoutVars>
          <dgm:chPref val="3"/>
        </dgm:presLayoutVars>
      </dgm:prSet>
      <dgm:spPr/>
    </dgm:pt>
    <dgm:pt modelId="{9150DA31-D0CF-453A-AE01-07E0B18217C7}" type="pres">
      <dgm:prSet presAssocID="{F6107CF0-DA02-4A4A-9E4C-FF1F4C213C96}" presName="level3hierChild" presStyleCnt="0"/>
      <dgm:spPr/>
    </dgm:pt>
    <dgm:pt modelId="{5C348736-BFB2-4343-BA48-56B95945530B}" type="pres">
      <dgm:prSet presAssocID="{C1252674-5588-44ED-A301-195B49B39ABC}" presName="conn2-1" presStyleLbl="parChTrans1D4" presStyleIdx="3" presStyleCnt="7"/>
      <dgm:spPr/>
    </dgm:pt>
    <dgm:pt modelId="{1DE68128-9226-40E7-BADF-A0973F6CF436}" type="pres">
      <dgm:prSet presAssocID="{C1252674-5588-44ED-A301-195B49B39ABC}" presName="connTx" presStyleLbl="parChTrans1D4" presStyleIdx="3" presStyleCnt="7"/>
      <dgm:spPr/>
    </dgm:pt>
    <dgm:pt modelId="{C85BA6B8-00D4-4436-B63A-70A5E096DEF7}" type="pres">
      <dgm:prSet presAssocID="{C3DA7711-4146-4ED5-99E8-ECB8D8C4E084}" presName="root2" presStyleCnt="0"/>
      <dgm:spPr/>
    </dgm:pt>
    <dgm:pt modelId="{920BE209-FC72-439E-8655-DD5DBF654EF2}" type="pres">
      <dgm:prSet presAssocID="{C3DA7711-4146-4ED5-99E8-ECB8D8C4E084}" presName="LevelTwoTextNode" presStyleLbl="node4" presStyleIdx="3" presStyleCnt="7">
        <dgm:presLayoutVars>
          <dgm:chPref val="3"/>
        </dgm:presLayoutVars>
      </dgm:prSet>
      <dgm:spPr/>
    </dgm:pt>
    <dgm:pt modelId="{5A681298-6DFB-4B3F-8D68-BE2A94C32382}" type="pres">
      <dgm:prSet presAssocID="{C3DA7711-4146-4ED5-99E8-ECB8D8C4E084}" presName="level3hierChild" presStyleCnt="0"/>
      <dgm:spPr/>
    </dgm:pt>
    <dgm:pt modelId="{0DC454D8-0F98-4EEF-B415-98B30D5A282A}" type="pres">
      <dgm:prSet presAssocID="{46408C81-7A19-4103-AAA4-561C29F4466D}" presName="conn2-1" presStyleLbl="parChTrans1D4" presStyleIdx="4" presStyleCnt="7"/>
      <dgm:spPr/>
    </dgm:pt>
    <dgm:pt modelId="{678FBD4D-035F-4BC6-BDA0-03AA4D8D6692}" type="pres">
      <dgm:prSet presAssocID="{46408C81-7A19-4103-AAA4-561C29F4466D}" presName="connTx" presStyleLbl="parChTrans1D4" presStyleIdx="4" presStyleCnt="7"/>
      <dgm:spPr/>
    </dgm:pt>
    <dgm:pt modelId="{C86CCC31-AFFE-4D57-8989-FEB302C5826F}" type="pres">
      <dgm:prSet presAssocID="{B66844B4-5A5B-489E-9CAA-A5FC625662CD}" presName="root2" presStyleCnt="0"/>
      <dgm:spPr/>
    </dgm:pt>
    <dgm:pt modelId="{60ED3C43-91A0-4C54-BD9F-AF4FB87D4CD2}" type="pres">
      <dgm:prSet presAssocID="{B66844B4-5A5B-489E-9CAA-A5FC625662CD}" presName="LevelTwoTextNode" presStyleLbl="node4" presStyleIdx="4" presStyleCnt="7">
        <dgm:presLayoutVars>
          <dgm:chPref val="3"/>
        </dgm:presLayoutVars>
      </dgm:prSet>
      <dgm:spPr/>
    </dgm:pt>
    <dgm:pt modelId="{2CAF677B-31DD-4954-A249-C4286A7868B5}" type="pres">
      <dgm:prSet presAssocID="{B66844B4-5A5B-489E-9CAA-A5FC625662CD}" presName="level3hierChild" presStyleCnt="0"/>
      <dgm:spPr/>
    </dgm:pt>
    <dgm:pt modelId="{6297D3C2-608E-47D4-B5CE-127D5AE86B70}" type="pres">
      <dgm:prSet presAssocID="{DBF5F3E4-71BF-4B92-BDBD-025D458EA76D}" presName="conn2-1" presStyleLbl="parChTrans1D4" presStyleIdx="5" presStyleCnt="7"/>
      <dgm:spPr/>
    </dgm:pt>
    <dgm:pt modelId="{0021F2AD-9201-433B-A17F-5B7BF402C5CD}" type="pres">
      <dgm:prSet presAssocID="{DBF5F3E4-71BF-4B92-BDBD-025D458EA76D}" presName="connTx" presStyleLbl="parChTrans1D4" presStyleIdx="5" presStyleCnt="7"/>
      <dgm:spPr/>
    </dgm:pt>
    <dgm:pt modelId="{FD908AF9-8759-446B-9B74-8301ADF5B5FF}" type="pres">
      <dgm:prSet presAssocID="{A16FFD84-8D5D-4AD9-8809-36119F5A9DA7}" presName="root2" presStyleCnt="0"/>
      <dgm:spPr/>
    </dgm:pt>
    <dgm:pt modelId="{5D394FF4-6F8A-4A7B-8489-54CED8CD0683}" type="pres">
      <dgm:prSet presAssocID="{A16FFD84-8D5D-4AD9-8809-36119F5A9DA7}" presName="LevelTwoTextNode" presStyleLbl="node4" presStyleIdx="5" presStyleCnt="7">
        <dgm:presLayoutVars>
          <dgm:chPref val="3"/>
        </dgm:presLayoutVars>
      </dgm:prSet>
      <dgm:spPr/>
    </dgm:pt>
    <dgm:pt modelId="{9C737F74-84ED-4102-8280-66EAFB5FD600}" type="pres">
      <dgm:prSet presAssocID="{A16FFD84-8D5D-4AD9-8809-36119F5A9DA7}" presName="level3hierChild" presStyleCnt="0"/>
      <dgm:spPr/>
    </dgm:pt>
    <dgm:pt modelId="{974A5AD1-952D-482F-A478-63D06EF74214}" type="pres">
      <dgm:prSet presAssocID="{8DB75B09-BA3B-4CFA-A570-486E356A52FA}" presName="conn2-1" presStyleLbl="parChTrans1D4" presStyleIdx="6" presStyleCnt="7"/>
      <dgm:spPr/>
    </dgm:pt>
    <dgm:pt modelId="{4C7E4AD9-BD36-4A4B-A11B-809D806995C8}" type="pres">
      <dgm:prSet presAssocID="{8DB75B09-BA3B-4CFA-A570-486E356A52FA}" presName="connTx" presStyleLbl="parChTrans1D4" presStyleIdx="6" presStyleCnt="7"/>
      <dgm:spPr/>
    </dgm:pt>
    <dgm:pt modelId="{E8AB605D-1974-442A-A19C-397E8B2F87C4}" type="pres">
      <dgm:prSet presAssocID="{78DB14EC-790E-4608-9336-0DC55DCB3829}" presName="root2" presStyleCnt="0"/>
      <dgm:spPr/>
    </dgm:pt>
    <dgm:pt modelId="{DAB8A7DA-073C-4DCB-A4ED-11DD0E9749A3}" type="pres">
      <dgm:prSet presAssocID="{78DB14EC-790E-4608-9336-0DC55DCB3829}" presName="LevelTwoTextNode" presStyleLbl="node4" presStyleIdx="6" presStyleCnt="7">
        <dgm:presLayoutVars>
          <dgm:chPref val="3"/>
        </dgm:presLayoutVars>
      </dgm:prSet>
      <dgm:spPr/>
    </dgm:pt>
    <dgm:pt modelId="{E315827A-A2F8-4F71-9F55-FD759F4906A6}" type="pres">
      <dgm:prSet presAssocID="{78DB14EC-790E-4608-9336-0DC55DCB3829}" presName="level3hierChild" presStyleCnt="0"/>
      <dgm:spPr/>
    </dgm:pt>
  </dgm:ptLst>
  <dgm:cxnLst>
    <dgm:cxn modelId="{039D4B00-3CC6-4757-8B9B-5EDD7DD9A686}" type="presOf" srcId="{B66844B4-5A5B-489E-9CAA-A5FC625662CD}" destId="{60ED3C43-91A0-4C54-BD9F-AF4FB87D4CD2}" srcOrd="0" destOrd="0" presId="urn:microsoft.com/office/officeart/2005/8/layout/hierarchy2"/>
    <dgm:cxn modelId="{1186B203-31BB-4F0E-8DD0-BAF4D16DFDE5}" type="presOf" srcId="{8A25B504-8368-461D-B01B-C663A94496CA}" destId="{FB2CF7E5-76B2-43D4-93B3-73B0458981D7}" srcOrd="1" destOrd="0" presId="urn:microsoft.com/office/officeart/2005/8/layout/hierarchy2"/>
    <dgm:cxn modelId="{58641A04-3032-42C4-BB77-DD2FAD742F55}" type="presOf" srcId="{C598F97A-D53D-4E94-ABF7-0FFD630BB608}" destId="{56425DAF-90DC-43B6-8172-D954D84C523B}" srcOrd="0" destOrd="0" presId="urn:microsoft.com/office/officeart/2005/8/layout/hierarchy2"/>
    <dgm:cxn modelId="{D9BC3808-C1DA-4855-A757-F12AFBE82313}" type="presOf" srcId="{4C540D36-4F2A-4F22-AD96-669FC773C369}" destId="{EDFB3CE3-7995-40A8-9D59-26E9FD37E3D0}" srcOrd="1" destOrd="0" presId="urn:microsoft.com/office/officeart/2005/8/layout/hierarchy2"/>
    <dgm:cxn modelId="{7C20BE13-8115-49CC-BBAA-CD47340BA6CB}" type="presOf" srcId="{2A263EB3-03F7-43B5-AEB3-CCFEA462DC34}" destId="{8C23B94C-3F42-4C5F-B87D-F1F73584C881}" srcOrd="0" destOrd="0" presId="urn:microsoft.com/office/officeart/2005/8/layout/hierarchy2"/>
    <dgm:cxn modelId="{DAF83616-5B3C-45FE-8CF4-1241CC0A8E5B}" type="presOf" srcId="{DBF5F3E4-71BF-4B92-BDBD-025D458EA76D}" destId="{0021F2AD-9201-433B-A17F-5B7BF402C5CD}" srcOrd="1" destOrd="0" presId="urn:microsoft.com/office/officeart/2005/8/layout/hierarchy2"/>
    <dgm:cxn modelId="{62B7391B-E560-4861-9EE4-899D3FBFDEFF}" type="presOf" srcId="{D8EE14BB-9165-4F90-9B8F-4C3C44C2ED05}" destId="{690AD542-D2B3-4DF2-BED6-A5E33BBC133F}" srcOrd="1" destOrd="0" presId="urn:microsoft.com/office/officeart/2005/8/layout/hierarchy2"/>
    <dgm:cxn modelId="{C8263D1D-CD91-47DD-AC84-1C61B109C6E5}" type="presOf" srcId="{4C540D36-4F2A-4F22-AD96-669FC773C369}" destId="{C10ABD33-517B-4D7E-B667-3D2B417A3CD8}" srcOrd="0" destOrd="0" presId="urn:microsoft.com/office/officeart/2005/8/layout/hierarchy2"/>
    <dgm:cxn modelId="{52D9AA1D-6C6F-481D-8F17-F36837A351BE}" srcId="{9B2DD209-2A27-4500-8047-784299B5DBB0}" destId="{78DB14EC-790E-4608-9336-0DC55DCB3829}" srcOrd="4" destOrd="0" parTransId="{8DB75B09-BA3B-4CFA-A570-486E356A52FA}" sibTransId="{FFE7F561-A231-4A99-B0E7-DDB3169D241B}"/>
    <dgm:cxn modelId="{26D5481E-4A7D-4FD7-9B0F-790746EDF02B}" type="presOf" srcId="{78DB14EC-790E-4608-9336-0DC55DCB3829}" destId="{DAB8A7DA-073C-4DCB-A4ED-11DD0E9749A3}" srcOrd="0" destOrd="0" presId="urn:microsoft.com/office/officeart/2005/8/layout/hierarchy2"/>
    <dgm:cxn modelId="{207D3222-00FC-408A-BAFB-E2B2642CB5CE}" type="presOf" srcId="{C1D11A0F-DE91-4DE0-9771-4E233FF0438C}" destId="{2727FF13-F58C-402E-9674-CC6787A510D4}" srcOrd="1" destOrd="0" presId="urn:microsoft.com/office/officeart/2005/8/layout/hierarchy2"/>
    <dgm:cxn modelId="{CFDC6C26-4AC5-4CFD-A00C-5DF17C971F51}" type="presOf" srcId="{46408C81-7A19-4103-AAA4-561C29F4466D}" destId="{0DC454D8-0F98-4EEF-B415-98B30D5A282A}" srcOrd="0" destOrd="0" presId="urn:microsoft.com/office/officeart/2005/8/layout/hierarchy2"/>
    <dgm:cxn modelId="{D2E6CD28-82C8-4FBE-8BC1-6F8A83516A15}" srcId="{4FF9B09C-0A12-4073-B109-DF4E36A63318}" destId="{8428E284-8D55-4248-9061-475BDB6A5A6D}" srcOrd="1" destOrd="0" parTransId="{C1D11A0F-DE91-4DE0-9771-4E233FF0438C}" sibTransId="{C9257DB1-0511-46D4-B97D-8846C69536CB}"/>
    <dgm:cxn modelId="{AB8AEE2A-1454-4581-A1A0-176706A776B7}" type="presOf" srcId="{8428E284-8D55-4248-9061-475BDB6A5A6D}" destId="{51F00818-16DA-40AF-9FCE-B69D443DA700}" srcOrd="0" destOrd="0" presId="urn:microsoft.com/office/officeart/2005/8/layout/hierarchy2"/>
    <dgm:cxn modelId="{F44FDF2B-C291-4C6E-8FAF-D1558DA046E3}" type="presOf" srcId="{2DA1F265-F105-4FC2-861C-7C452BF54F2D}" destId="{9A0D1FD3-CE31-4109-AFCB-132E04B8F5B1}" srcOrd="0" destOrd="0" presId="urn:microsoft.com/office/officeart/2005/8/layout/hierarchy2"/>
    <dgm:cxn modelId="{F5AE942C-C2E2-41CE-A16E-1AB09C09F3EF}" type="presOf" srcId="{0A03F5A8-F3FD-45D9-9484-B55D868B8EF8}" destId="{8ABBACE0-D732-48D5-9228-1FF1A0DF6403}" srcOrd="0" destOrd="0" presId="urn:microsoft.com/office/officeart/2005/8/layout/hierarchy2"/>
    <dgm:cxn modelId="{D0F10B2D-9EC7-4613-965E-2AC70153EAEC}" type="presOf" srcId="{8DB75B09-BA3B-4CFA-A570-486E356A52FA}" destId="{4C7E4AD9-BD36-4A4B-A11B-809D806995C8}" srcOrd="1" destOrd="0" presId="urn:microsoft.com/office/officeart/2005/8/layout/hierarchy2"/>
    <dgm:cxn modelId="{D1421631-F275-40F9-AE0B-E500E49E2C3A}" type="presOf" srcId="{8A25B504-8368-461D-B01B-C663A94496CA}" destId="{08D418A6-E399-4806-B873-20C541234562}" srcOrd="0" destOrd="0" presId="urn:microsoft.com/office/officeart/2005/8/layout/hierarchy2"/>
    <dgm:cxn modelId="{863B8434-055C-41AB-8BFE-04863F75373F}" type="presOf" srcId="{D8EE14BB-9165-4F90-9B8F-4C3C44C2ED05}" destId="{352B7D5A-C3AA-4756-A02F-24B58CA79E83}" srcOrd="0" destOrd="0" presId="urn:microsoft.com/office/officeart/2005/8/layout/hierarchy2"/>
    <dgm:cxn modelId="{64AFB837-6297-40BA-B1D7-35F185A74651}" srcId="{4FF9B09C-0A12-4073-B109-DF4E36A63318}" destId="{2DA1F265-F105-4FC2-861C-7C452BF54F2D}" srcOrd="0" destOrd="0" parTransId="{C598F97A-D53D-4E94-ABF7-0FFD630BB608}" sibTransId="{D4E143A5-8672-4B1C-A0A1-00FE069C19CD}"/>
    <dgm:cxn modelId="{0A38DA38-7320-4E0B-8549-56E6ACC54914}" type="presOf" srcId="{0BAE997D-D82F-409F-BEC1-7A28EA04DA51}" destId="{951D619A-66B4-4E78-B99A-91CF5CF81ABE}" srcOrd="0" destOrd="0" presId="urn:microsoft.com/office/officeart/2005/8/layout/hierarchy2"/>
    <dgm:cxn modelId="{96EC7139-84E6-476E-98B5-4A5F958F95D3}" type="presOf" srcId="{C1D11A0F-DE91-4DE0-9771-4E233FF0438C}" destId="{89F98EE0-37ED-4BC4-A534-17244150EC1A}" srcOrd="0" destOrd="0" presId="urn:microsoft.com/office/officeart/2005/8/layout/hierarchy2"/>
    <dgm:cxn modelId="{83A6F33F-AEAA-4070-B2E4-020994CE9F4F}" type="presOf" srcId="{830D246C-E2B3-4B4C-B993-2E0FABC2686C}" destId="{44121C89-9CAB-4C89-9223-4E46D7EB5452}" srcOrd="1" destOrd="0" presId="urn:microsoft.com/office/officeart/2005/8/layout/hierarchy2"/>
    <dgm:cxn modelId="{B6B82165-9903-496A-9009-FF5387116423}" type="presOf" srcId="{F6107CF0-DA02-4A4A-9E4C-FF1F4C213C96}" destId="{FA4C0BE7-A7F2-4390-8309-69268E411DCA}" srcOrd="0" destOrd="0" presId="urn:microsoft.com/office/officeart/2005/8/layout/hierarchy2"/>
    <dgm:cxn modelId="{4F46144C-9A88-47BB-9387-600B94E04E21}" type="presOf" srcId="{99F28AEF-B0EA-445D-817F-368C02C533CD}" destId="{3AA7440C-B955-4225-B8DB-66E5BAC1377C}" srcOrd="0" destOrd="0" presId="urn:microsoft.com/office/officeart/2005/8/layout/hierarchy2"/>
    <dgm:cxn modelId="{750D606C-BA94-40EE-B41D-23CB074C4372}" srcId="{EB2389D9-6A8D-4BF3-8CE6-C71090DE692D}" destId="{FA26F4C0-BD80-4B79-BC13-85B608CA83C1}" srcOrd="0" destOrd="0" parTransId="{E6546567-B488-4641-9AA3-CED35ED0D688}" sibTransId="{44C5EAC0-F34F-4008-A6A2-0B63DF196C2B}"/>
    <dgm:cxn modelId="{328A6C6D-6E5F-4FB1-AF50-DDD8B8DF516E}" type="presOf" srcId="{B11E0614-2555-4739-9249-277F14142828}" destId="{9F8811AB-B869-480F-B279-A2112DF9D6B0}" srcOrd="1" destOrd="0" presId="urn:microsoft.com/office/officeart/2005/8/layout/hierarchy2"/>
    <dgm:cxn modelId="{AFB8DB76-2099-47CF-847B-F95DE00F6929}" type="presOf" srcId="{2A263EB3-03F7-43B5-AEB3-CCFEA462DC34}" destId="{FD5557A9-947F-45C0-89EB-48D82A3CE3B8}" srcOrd="1" destOrd="0" presId="urn:microsoft.com/office/officeart/2005/8/layout/hierarchy2"/>
    <dgm:cxn modelId="{5BEBFE56-B7A3-4678-9BD7-1F7EACB38CAF}" type="presOf" srcId="{C1252674-5588-44ED-A301-195B49B39ABC}" destId="{5C348736-BFB2-4343-BA48-56B95945530B}" srcOrd="0" destOrd="0" presId="urn:microsoft.com/office/officeart/2005/8/layout/hierarchy2"/>
    <dgm:cxn modelId="{49AC5677-096D-4338-B7D3-9E9CC9E005C5}" type="presOf" srcId="{10AD6D04-1F96-446C-9D6B-934B83F073EE}" destId="{FEBFFE11-7BA4-4E4D-9ED0-F3F014C82753}" srcOrd="0" destOrd="0" presId="urn:microsoft.com/office/officeart/2005/8/layout/hierarchy2"/>
    <dgm:cxn modelId="{DF2DF278-9A17-47A1-A407-98DD41D86E22}" type="presOf" srcId="{EB2389D9-6A8D-4BF3-8CE6-C71090DE692D}" destId="{21BB043B-00B1-4EE9-899E-4BA8939CEB2D}" srcOrd="0" destOrd="0" presId="urn:microsoft.com/office/officeart/2005/8/layout/hierarchy2"/>
    <dgm:cxn modelId="{CA075A79-1E54-4703-AF79-51AC16B93C6A}" type="presOf" srcId="{0BAE997D-D82F-409F-BEC1-7A28EA04DA51}" destId="{6493A358-E3AB-4AF4-A773-CC52FF69A528}" srcOrd="1" destOrd="0" presId="urn:microsoft.com/office/officeart/2005/8/layout/hierarchy2"/>
    <dgm:cxn modelId="{4E823F7A-ABD3-434D-A377-BCC58D683DFD}" type="presOf" srcId="{FA26F4C0-BD80-4B79-BC13-85B608CA83C1}" destId="{C1DBEDB6-0791-496F-AE50-BDBAC17C0C08}" srcOrd="0" destOrd="0" presId="urn:microsoft.com/office/officeart/2005/8/layout/hierarchy2"/>
    <dgm:cxn modelId="{432B7A7A-F20A-4FA5-B708-EE53DB4BFE6D}" type="presOf" srcId="{C598F97A-D53D-4E94-ABF7-0FFD630BB608}" destId="{C23A7F23-D5B0-4BDC-944F-B82D8201E8CC}" srcOrd="1" destOrd="0" presId="urn:microsoft.com/office/officeart/2005/8/layout/hierarchy2"/>
    <dgm:cxn modelId="{A4E5E85A-C470-4921-9244-DBDDB6DF3AAC}" srcId="{5AFE294F-2C5A-4855-92D7-D951F2364B24}" destId="{E1FE6DEB-D733-4C5D-9935-14D400265AD3}" srcOrd="2" destOrd="0" parTransId="{D8EE14BB-9165-4F90-9B8F-4C3C44C2ED05}" sibTransId="{ACEA007C-B207-465E-B373-C8FC21C13F9D}"/>
    <dgm:cxn modelId="{96AA2F7B-06E5-40E4-8547-171277E0FE16}" srcId="{9B2DD209-2A27-4500-8047-784299B5DBB0}" destId="{B66844B4-5A5B-489E-9CAA-A5FC625662CD}" srcOrd="2" destOrd="0" parTransId="{46408C81-7A19-4103-AAA4-561C29F4466D}" sibTransId="{9A6E7B7F-616A-4CE7-8DB8-9CA895B9C0DB}"/>
    <dgm:cxn modelId="{26563084-E3C3-44C5-A4DD-B0405719EAC8}" srcId="{0A03F5A8-F3FD-45D9-9484-B55D868B8EF8}" destId="{5AFE294F-2C5A-4855-92D7-D951F2364B24}" srcOrd="0" destOrd="0" parTransId="{59071923-9C14-4471-B358-4D2ED5014DA0}" sibTransId="{658A2DAE-EECD-4864-AC63-1E03841E93DC}"/>
    <dgm:cxn modelId="{20A4D887-0836-454D-94C6-610D79B87CF2}" type="presOf" srcId="{830D246C-E2B3-4B4C-B993-2E0FABC2686C}" destId="{07351BC3-1DCF-4CA0-8978-C7C6A8314A80}" srcOrd="0" destOrd="0" presId="urn:microsoft.com/office/officeart/2005/8/layout/hierarchy2"/>
    <dgm:cxn modelId="{CC98A58B-69D3-4B9B-8168-ABD25B720F0B}" type="presOf" srcId="{E1FE6DEB-D733-4C5D-9935-14D400265AD3}" destId="{6AF904CB-5748-418D-AEB1-2B12C8C7A098}" srcOrd="0" destOrd="0" presId="urn:microsoft.com/office/officeart/2005/8/layout/hierarchy2"/>
    <dgm:cxn modelId="{6B046994-886A-4D49-9850-51AA59EE666C}" type="presOf" srcId="{4FF9B09C-0A12-4073-B109-DF4E36A63318}" destId="{FD5D9456-E617-495C-8D9E-0EE1636D7594}" srcOrd="0" destOrd="0" presId="urn:microsoft.com/office/officeart/2005/8/layout/hierarchy2"/>
    <dgm:cxn modelId="{6389F597-DEC8-405F-876F-B119AA39DF9A}" type="presOf" srcId="{B11E0614-2555-4739-9249-277F14142828}" destId="{28617A9A-B035-4566-88A2-9091D7170B69}" srcOrd="0" destOrd="0" presId="urn:microsoft.com/office/officeart/2005/8/layout/hierarchy2"/>
    <dgm:cxn modelId="{F17C2A9F-556A-45CD-9439-E198A3081C60}" srcId="{9B2DD209-2A27-4500-8047-784299B5DBB0}" destId="{C3DA7711-4146-4ED5-99E8-ECB8D8C4E084}" srcOrd="1" destOrd="0" parTransId="{C1252674-5588-44ED-A301-195B49B39ABC}" sibTransId="{58685D25-2DFC-42CE-8344-C4D3E8113995}"/>
    <dgm:cxn modelId="{21559EA0-A189-4FA4-8248-98B1BFD1FF70}" srcId="{9B2DD209-2A27-4500-8047-784299B5DBB0}" destId="{F6107CF0-DA02-4A4A-9E4C-FF1F4C213C96}" srcOrd="0" destOrd="0" parTransId="{B11E0614-2555-4739-9249-277F14142828}" sibTransId="{4DCB992D-FE85-4A90-9544-F43C0B328AD0}"/>
    <dgm:cxn modelId="{FAB0C7A5-1C86-44FB-8C8C-127070859DAE}" type="presOf" srcId="{46408C81-7A19-4103-AAA4-561C29F4466D}" destId="{678FBD4D-035F-4BC6-BDA0-03AA4D8D6692}" srcOrd="1" destOrd="0" presId="urn:microsoft.com/office/officeart/2005/8/layout/hierarchy2"/>
    <dgm:cxn modelId="{6CE94BA8-AAF2-43B0-8AAE-2E8CB0CFE643}" type="presOf" srcId="{5AFE294F-2C5A-4855-92D7-D951F2364B24}" destId="{72D01C71-4D28-4751-AE67-4DAF562F986E}" srcOrd="0" destOrd="0" presId="urn:microsoft.com/office/officeart/2005/8/layout/hierarchy2"/>
    <dgm:cxn modelId="{C55CF2B2-5091-448F-B55A-FC255A0DE2CA}" type="presOf" srcId="{8DB75B09-BA3B-4CFA-A570-486E356A52FA}" destId="{974A5AD1-952D-482F-A478-63D06EF74214}" srcOrd="0" destOrd="0" presId="urn:microsoft.com/office/officeart/2005/8/layout/hierarchy2"/>
    <dgm:cxn modelId="{9FD179B3-1441-468B-8572-54088F3631D1}" srcId="{5AFE294F-2C5A-4855-92D7-D951F2364B24}" destId="{4FF9B09C-0A12-4073-B109-DF4E36A63318}" srcOrd="1" destOrd="0" parTransId="{8A25B504-8368-461D-B01B-C663A94496CA}" sibTransId="{56ADC892-35F1-4AC9-8148-DD6BFC31F802}"/>
    <dgm:cxn modelId="{0FEC9AB5-42BE-46AF-B70F-632926B0CD1B}" type="presOf" srcId="{9B2DD209-2A27-4500-8047-784299B5DBB0}" destId="{9852418C-28F9-4D12-9EA1-861B79015588}" srcOrd="0" destOrd="0" presId="urn:microsoft.com/office/officeart/2005/8/layout/hierarchy2"/>
    <dgm:cxn modelId="{849A43B9-182A-42BB-BF83-A8333C4F6712}" type="presOf" srcId="{D88346FF-D787-464C-9514-CF332A046C9A}" destId="{A0474BAB-F105-45BA-80D6-8F586820BEE1}" srcOrd="1" destOrd="0" presId="urn:microsoft.com/office/officeart/2005/8/layout/hierarchy2"/>
    <dgm:cxn modelId="{BA4531BA-414C-40B2-80C4-C4FD8EB71381}" srcId="{EB2389D9-6A8D-4BF3-8CE6-C71090DE692D}" destId="{99F28AEF-B0EA-445D-817F-368C02C533CD}" srcOrd="1" destOrd="0" parTransId="{0BAE997D-D82F-409F-BEC1-7A28EA04DA51}" sibTransId="{169F0F98-6E05-4D08-A116-7FDDD273C081}"/>
    <dgm:cxn modelId="{00B384C0-0F4B-4FC7-8579-920581D41F72}" srcId="{E1FE6DEB-D733-4C5D-9935-14D400265AD3}" destId="{9B2DD209-2A27-4500-8047-784299B5DBB0}" srcOrd="1" destOrd="0" parTransId="{D88346FF-D787-464C-9514-CF332A046C9A}" sibTransId="{78E0706D-2DEA-47ED-B61F-9E9E719642F9}"/>
    <dgm:cxn modelId="{3508F6C2-4C89-4091-995D-69E6CC3D7A38}" srcId="{9B2DD209-2A27-4500-8047-784299B5DBB0}" destId="{A16FFD84-8D5D-4AD9-8809-36119F5A9DA7}" srcOrd="3" destOrd="0" parTransId="{DBF5F3E4-71BF-4B92-BDBD-025D458EA76D}" sibTransId="{71C1BCDA-9784-4D86-B5D5-115A5B60FF73}"/>
    <dgm:cxn modelId="{5F2E86C8-4482-4379-B4D9-8A2A1EAE2D43}" type="presOf" srcId="{A16FFD84-8D5D-4AD9-8809-36119F5A9DA7}" destId="{5D394FF4-6F8A-4A7B-8489-54CED8CD0683}" srcOrd="0" destOrd="0" presId="urn:microsoft.com/office/officeart/2005/8/layout/hierarchy2"/>
    <dgm:cxn modelId="{1D0745CA-FAE3-4E64-AFCD-79A77238E8DC}" srcId="{5AFE294F-2C5A-4855-92D7-D951F2364B24}" destId="{10AD6D04-1F96-446C-9D6B-934B83F073EE}" srcOrd="0" destOrd="0" parTransId="{830D246C-E2B3-4B4C-B993-2E0FABC2686C}" sibTransId="{71D29F6D-0616-4931-8E8B-F15609D95926}"/>
    <dgm:cxn modelId="{5CF533D5-472A-4E85-A40F-048B6B209FDC}" type="presOf" srcId="{E6546567-B488-4641-9AA3-CED35ED0D688}" destId="{88E8CADF-D61C-4963-84B1-D0394159B4E0}" srcOrd="1" destOrd="0" presId="urn:microsoft.com/office/officeart/2005/8/layout/hierarchy2"/>
    <dgm:cxn modelId="{EF50E0D9-75C0-4830-A879-4CFC9D87A372}" type="presOf" srcId="{61486C40-7D97-49C8-8A96-BD40B321A623}" destId="{225494EB-652A-4D65-94D2-83A08C84923D}" srcOrd="0" destOrd="0" presId="urn:microsoft.com/office/officeart/2005/8/layout/hierarchy2"/>
    <dgm:cxn modelId="{1CB67EDA-692F-45FD-BF2F-E7435FB18A52}" type="presOf" srcId="{C3DA7711-4146-4ED5-99E8-ECB8D8C4E084}" destId="{920BE209-FC72-439E-8655-DD5DBF654EF2}" srcOrd="0" destOrd="0" presId="urn:microsoft.com/office/officeart/2005/8/layout/hierarchy2"/>
    <dgm:cxn modelId="{4D871DDB-9DA3-4E21-9937-E32B127CF2FC}" type="presOf" srcId="{DBF5F3E4-71BF-4B92-BDBD-025D458EA76D}" destId="{6297D3C2-608E-47D4-B5CE-127D5AE86B70}" srcOrd="0" destOrd="0" presId="urn:microsoft.com/office/officeart/2005/8/layout/hierarchy2"/>
    <dgm:cxn modelId="{54D851DB-BA45-42CD-BFE2-2D9291402369}" type="presOf" srcId="{C1252674-5588-44ED-A301-195B49B39ABC}" destId="{1DE68128-9226-40E7-BADF-A0973F6CF436}" srcOrd="1" destOrd="0" presId="urn:microsoft.com/office/officeart/2005/8/layout/hierarchy2"/>
    <dgm:cxn modelId="{06B909E2-B432-4617-AE03-37E659665320}" type="presOf" srcId="{E6546567-B488-4641-9AA3-CED35ED0D688}" destId="{6A29A97E-6AA2-46D2-9C66-A87B7DF2072A}" srcOrd="0" destOrd="0" presId="urn:microsoft.com/office/officeart/2005/8/layout/hierarchy2"/>
    <dgm:cxn modelId="{A8F103E4-DF90-4393-BCED-81D0FEA01869}" srcId="{E1FE6DEB-D733-4C5D-9935-14D400265AD3}" destId="{EB2389D9-6A8D-4BF3-8CE6-C71090DE692D}" srcOrd="0" destOrd="0" parTransId="{2A263EB3-03F7-43B5-AEB3-CCFEA462DC34}" sibTransId="{33F22608-814B-4F31-957D-D5DA47F39D9F}"/>
    <dgm:cxn modelId="{FB6627E5-FE77-4B26-A58F-633806C09359}" type="presOf" srcId="{D88346FF-D787-464C-9514-CF332A046C9A}" destId="{88EE9D3B-D7C6-49BD-9A18-6383852EDBBD}" srcOrd="0" destOrd="0" presId="urn:microsoft.com/office/officeart/2005/8/layout/hierarchy2"/>
    <dgm:cxn modelId="{1B897BFA-1571-427E-8BE4-FDDB58E9C301}" srcId="{4FF9B09C-0A12-4073-B109-DF4E36A63318}" destId="{61486C40-7D97-49C8-8A96-BD40B321A623}" srcOrd="2" destOrd="0" parTransId="{4C540D36-4F2A-4F22-AD96-669FC773C369}" sibTransId="{04936CC4-8C90-43D0-AD1E-62BD62ED5754}"/>
    <dgm:cxn modelId="{6116232C-A963-4924-A734-79F99530C2E0}" type="presParOf" srcId="{8ABBACE0-D732-48D5-9228-1FF1A0DF6403}" destId="{CBD06B68-7236-46D7-8A9F-F5D93428F9DF}" srcOrd="0" destOrd="0" presId="urn:microsoft.com/office/officeart/2005/8/layout/hierarchy2"/>
    <dgm:cxn modelId="{659F47D1-E3FA-44DF-A271-80298EDE88E6}" type="presParOf" srcId="{CBD06B68-7236-46D7-8A9F-F5D93428F9DF}" destId="{72D01C71-4D28-4751-AE67-4DAF562F986E}" srcOrd="0" destOrd="0" presId="urn:microsoft.com/office/officeart/2005/8/layout/hierarchy2"/>
    <dgm:cxn modelId="{5CDFD209-C95A-4488-BEAE-0BA82080493C}" type="presParOf" srcId="{CBD06B68-7236-46D7-8A9F-F5D93428F9DF}" destId="{80ABE848-A785-474B-8807-22701BB118D9}" srcOrd="1" destOrd="0" presId="urn:microsoft.com/office/officeart/2005/8/layout/hierarchy2"/>
    <dgm:cxn modelId="{0B8CD087-7F52-4A57-A3B5-D57674EEF5A0}" type="presParOf" srcId="{80ABE848-A785-474B-8807-22701BB118D9}" destId="{07351BC3-1DCF-4CA0-8978-C7C6A8314A80}" srcOrd="0" destOrd="0" presId="urn:microsoft.com/office/officeart/2005/8/layout/hierarchy2"/>
    <dgm:cxn modelId="{28DF7AF6-6FCE-4610-8C58-35AD600D738A}" type="presParOf" srcId="{07351BC3-1DCF-4CA0-8978-C7C6A8314A80}" destId="{44121C89-9CAB-4C89-9223-4E46D7EB5452}" srcOrd="0" destOrd="0" presId="urn:microsoft.com/office/officeart/2005/8/layout/hierarchy2"/>
    <dgm:cxn modelId="{E59145C0-C36C-421B-A2EC-D78A41B8320C}" type="presParOf" srcId="{80ABE848-A785-474B-8807-22701BB118D9}" destId="{59D983D6-5902-4FC6-9130-675FA295A1C8}" srcOrd="1" destOrd="0" presId="urn:microsoft.com/office/officeart/2005/8/layout/hierarchy2"/>
    <dgm:cxn modelId="{5144715A-538E-401C-B8C4-96AB4A42EB7D}" type="presParOf" srcId="{59D983D6-5902-4FC6-9130-675FA295A1C8}" destId="{FEBFFE11-7BA4-4E4D-9ED0-F3F014C82753}" srcOrd="0" destOrd="0" presId="urn:microsoft.com/office/officeart/2005/8/layout/hierarchy2"/>
    <dgm:cxn modelId="{D9B165C4-CD3C-4CCA-9186-A20373894A96}" type="presParOf" srcId="{59D983D6-5902-4FC6-9130-675FA295A1C8}" destId="{584A3FF6-58F6-4AA0-8FF8-BB2A2D913D00}" srcOrd="1" destOrd="0" presId="urn:microsoft.com/office/officeart/2005/8/layout/hierarchy2"/>
    <dgm:cxn modelId="{AC521AA6-7B31-4E3F-B560-35CF8F56258B}" type="presParOf" srcId="{80ABE848-A785-474B-8807-22701BB118D9}" destId="{08D418A6-E399-4806-B873-20C541234562}" srcOrd="2" destOrd="0" presId="urn:microsoft.com/office/officeart/2005/8/layout/hierarchy2"/>
    <dgm:cxn modelId="{7556EE8F-41D1-46EF-8768-1AAD24E4BA45}" type="presParOf" srcId="{08D418A6-E399-4806-B873-20C541234562}" destId="{FB2CF7E5-76B2-43D4-93B3-73B0458981D7}" srcOrd="0" destOrd="0" presId="urn:microsoft.com/office/officeart/2005/8/layout/hierarchy2"/>
    <dgm:cxn modelId="{D4B6A8AD-0ED8-4944-8280-B2DC2D390EDD}" type="presParOf" srcId="{80ABE848-A785-474B-8807-22701BB118D9}" destId="{1031BF2E-A9B1-46A2-A13B-6621C41939C2}" srcOrd="3" destOrd="0" presId="urn:microsoft.com/office/officeart/2005/8/layout/hierarchy2"/>
    <dgm:cxn modelId="{9F408260-588D-4259-9A75-26C70F60BED0}" type="presParOf" srcId="{1031BF2E-A9B1-46A2-A13B-6621C41939C2}" destId="{FD5D9456-E617-495C-8D9E-0EE1636D7594}" srcOrd="0" destOrd="0" presId="urn:microsoft.com/office/officeart/2005/8/layout/hierarchy2"/>
    <dgm:cxn modelId="{6750D55F-9D65-438C-A3DC-8D7118A27EB0}" type="presParOf" srcId="{1031BF2E-A9B1-46A2-A13B-6621C41939C2}" destId="{60458B42-9FA8-4458-BE0E-66CA9C9B1739}" srcOrd="1" destOrd="0" presId="urn:microsoft.com/office/officeart/2005/8/layout/hierarchy2"/>
    <dgm:cxn modelId="{E2B98A47-C400-4773-9E3B-A2AEEBB7895B}" type="presParOf" srcId="{60458B42-9FA8-4458-BE0E-66CA9C9B1739}" destId="{56425DAF-90DC-43B6-8172-D954D84C523B}" srcOrd="0" destOrd="0" presId="urn:microsoft.com/office/officeart/2005/8/layout/hierarchy2"/>
    <dgm:cxn modelId="{0A6AC690-3EEB-429D-A469-B3B0E5817218}" type="presParOf" srcId="{56425DAF-90DC-43B6-8172-D954D84C523B}" destId="{C23A7F23-D5B0-4BDC-944F-B82D8201E8CC}" srcOrd="0" destOrd="0" presId="urn:microsoft.com/office/officeart/2005/8/layout/hierarchy2"/>
    <dgm:cxn modelId="{02345229-0BBD-4921-8598-097311E7E528}" type="presParOf" srcId="{60458B42-9FA8-4458-BE0E-66CA9C9B1739}" destId="{FA98B1DC-A662-4AF4-B11A-F3E9C8ABD05A}" srcOrd="1" destOrd="0" presId="urn:microsoft.com/office/officeart/2005/8/layout/hierarchy2"/>
    <dgm:cxn modelId="{5058D46E-2FCD-4DDB-972F-34DA06EF30E1}" type="presParOf" srcId="{FA98B1DC-A662-4AF4-B11A-F3E9C8ABD05A}" destId="{9A0D1FD3-CE31-4109-AFCB-132E04B8F5B1}" srcOrd="0" destOrd="0" presId="urn:microsoft.com/office/officeart/2005/8/layout/hierarchy2"/>
    <dgm:cxn modelId="{D98641AB-30A2-4010-BB90-3E68CBC777B0}" type="presParOf" srcId="{FA98B1DC-A662-4AF4-B11A-F3E9C8ABD05A}" destId="{61F80765-E644-4576-90DD-1850AF3B3F28}" srcOrd="1" destOrd="0" presId="urn:microsoft.com/office/officeart/2005/8/layout/hierarchy2"/>
    <dgm:cxn modelId="{05F11D22-2DED-4056-9D8E-91EA99946A28}" type="presParOf" srcId="{60458B42-9FA8-4458-BE0E-66CA9C9B1739}" destId="{89F98EE0-37ED-4BC4-A534-17244150EC1A}" srcOrd="2" destOrd="0" presId="urn:microsoft.com/office/officeart/2005/8/layout/hierarchy2"/>
    <dgm:cxn modelId="{F9C91945-E973-4088-B8A9-6F2150C3B997}" type="presParOf" srcId="{89F98EE0-37ED-4BC4-A534-17244150EC1A}" destId="{2727FF13-F58C-402E-9674-CC6787A510D4}" srcOrd="0" destOrd="0" presId="urn:microsoft.com/office/officeart/2005/8/layout/hierarchy2"/>
    <dgm:cxn modelId="{778C2E73-6566-45B3-A3D0-7E38363C4297}" type="presParOf" srcId="{60458B42-9FA8-4458-BE0E-66CA9C9B1739}" destId="{8705EF60-D732-40C2-942F-53A41988D3C9}" srcOrd="3" destOrd="0" presId="urn:microsoft.com/office/officeart/2005/8/layout/hierarchy2"/>
    <dgm:cxn modelId="{0E7EB94E-DD52-4335-8BEA-44994623C32F}" type="presParOf" srcId="{8705EF60-D732-40C2-942F-53A41988D3C9}" destId="{51F00818-16DA-40AF-9FCE-B69D443DA700}" srcOrd="0" destOrd="0" presId="urn:microsoft.com/office/officeart/2005/8/layout/hierarchy2"/>
    <dgm:cxn modelId="{3E4C3592-2952-4767-B23B-3D10A4287E90}" type="presParOf" srcId="{8705EF60-D732-40C2-942F-53A41988D3C9}" destId="{DBE397FE-62EA-4740-B02E-CE05A353D04D}" srcOrd="1" destOrd="0" presId="urn:microsoft.com/office/officeart/2005/8/layout/hierarchy2"/>
    <dgm:cxn modelId="{5E40D48F-D279-429D-84E0-45061EDDA2A5}" type="presParOf" srcId="{60458B42-9FA8-4458-BE0E-66CA9C9B1739}" destId="{C10ABD33-517B-4D7E-B667-3D2B417A3CD8}" srcOrd="4" destOrd="0" presId="urn:microsoft.com/office/officeart/2005/8/layout/hierarchy2"/>
    <dgm:cxn modelId="{0652CCF1-B83B-4695-A5B4-0CC11D451672}" type="presParOf" srcId="{C10ABD33-517B-4D7E-B667-3D2B417A3CD8}" destId="{EDFB3CE3-7995-40A8-9D59-26E9FD37E3D0}" srcOrd="0" destOrd="0" presId="urn:microsoft.com/office/officeart/2005/8/layout/hierarchy2"/>
    <dgm:cxn modelId="{41A39F37-24F8-4C3B-B4FE-47F04328AD81}" type="presParOf" srcId="{60458B42-9FA8-4458-BE0E-66CA9C9B1739}" destId="{2B16E2E3-CC3B-4EF7-AB20-5D2380AC94D9}" srcOrd="5" destOrd="0" presId="urn:microsoft.com/office/officeart/2005/8/layout/hierarchy2"/>
    <dgm:cxn modelId="{F0305D61-4CF5-4466-9F3B-95A4C9FE710F}" type="presParOf" srcId="{2B16E2E3-CC3B-4EF7-AB20-5D2380AC94D9}" destId="{225494EB-652A-4D65-94D2-83A08C84923D}" srcOrd="0" destOrd="0" presId="urn:microsoft.com/office/officeart/2005/8/layout/hierarchy2"/>
    <dgm:cxn modelId="{32C89CED-7D1A-45F0-9A2D-5C452768B27E}" type="presParOf" srcId="{2B16E2E3-CC3B-4EF7-AB20-5D2380AC94D9}" destId="{A163F39E-8BA9-479E-A39C-8B0760E601DE}" srcOrd="1" destOrd="0" presId="urn:microsoft.com/office/officeart/2005/8/layout/hierarchy2"/>
    <dgm:cxn modelId="{59ACDC37-1E9C-4DAC-9BF1-7BC8E66F7C7C}" type="presParOf" srcId="{80ABE848-A785-474B-8807-22701BB118D9}" destId="{352B7D5A-C3AA-4756-A02F-24B58CA79E83}" srcOrd="4" destOrd="0" presId="urn:microsoft.com/office/officeart/2005/8/layout/hierarchy2"/>
    <dgm:cxn modelId="{E87F2CEB-406F-4F29-B341-4B65A4A2E4A4}" type="presParOf" srcId="{352B7D5A-C3AA-4756-A02F-24B58CA79E83}" destId="{690AD542-D2B3-4DF2-BED6-A5E33BBC133F}" srcOrd="0" destOrd="0" presId="urn:microsoft.com/office/officeart/2005/8/layout/hierarchy2"/>
    <dgm:cxn modelId="{479E1CBD-BE71-4F14-B9DB-847CDB9B414B}" type="presParOf" srcId="{80ABE848-A785-474B-8807-22701BB118D9}" destId="{6C01EF34-D12F-4DA6-9F8B-5330925F2352}" srcOrd="5" destOrd="0" presId="urn:microsoft.com/office/officeart/2005/8/layout/hierarchy2"/>
    <dgm:cxn modelId="{682F518E-C0B0-46AB-BAD1-A9729A189C79}" type="presParOf" srcId="{6C01EF34-D12F-4DA6-9F8B-5330925F2352}" destId="{6AF904CB-5748-418D-AEB1-2B12C8C7A098}" srcOrd="0" destOrd="0" presId="urn:microsoft.com/office/officeart/2005/8/layout/hierarchy2"/>
    <dgm:cxn modelId="{DC387A3F-69BE-4747-915C-C22DA309E5E0}" type="presParOf" srcId="{6C01EF34-D12F-4DA6-9F8B-5330925F2352}" destId="{600FBFA1-F222-4E9E-ADA9-548D0A9A6E74}" srcOrd="1" destOrd="0" presId="urn:microsoft.com/office/officeart/2005/8/layout/hierarchy2"/>
    <dgm:cxn modelId="{A6185404-3177-4513-AB64-7A0B5DF91CDA}" type="presParOf" srcId="{600FBFA1-F222-4E9E-ADA9-548D0A9A6E74}" destId="{8C23B94C-3F42-4C5F-B87D-F1F73584C881}" srcOrd="0" destOrd="0" presId="urn:microsoft.com/office/officeart/2005/8/layout/hierarchy2"/>
    <dgm:cxn modelId="{536B2962-2224-496E-932C-8DD2EFB6CC67}" type="presParOf" srcId="{8C23B94C-3F42-4C5F-B87D-F1F73584C881}" destId="{FD5557A9-947F-45C0-89EB-48D82A3CE3B8}" srcOrd="0" destOrd="0" presId="urn:microsoft.com/office/officeart/2005/8/layout/hierarchy2"/>
    <dgm:cxn modelId="{C91CBBC2-A529-495D-BF8E-4110B639D3ED}" type="presParOf" srcId="{600FBFA1-F222-4E9E-ADA9-548D0A9A6E74}" destId="{95345C08-CDE8-4BA0-8F80-67BBB1312507}" srcOrd="1" destOrd="0" presId="urn:microsoft.com/office/officeart/2005/8/layout/hierarchy2"/>
    <dgm:cxn modelId="{48E45C1E-F1B1-42DA-98B6-4099104041C6}" type="presParOf" srcId="{95345C08-CDE8-4BA0-8F80-67BBB1312507}" destId="{21BB043B-00B1-4EE9-899E-4BA8939CEB2D}" srcOrd="0" destOrd="0" presId="urn:microsoft.com/office/officeart/2005/8/layout/hierarchy2"/>
    <dgm:cxn modelId="{8D866C01-58C9-4266-86E0-3AD298717F8D}" type="presParOf" srcId="{95345C08-CDE8-4BA0-8F80-67BBB1312507}" destId="{402EF506-167C-4B6F-B4AB-EB2C43213253}" srcOrd="1" destOrd="0" presId="urn:microsoft.com/office/officeart/2005/8/layout/hierarchy2"/>
    <dgm:cxn modelId="{C19D2005-4F52-4A74-B32E-0F895E877B17}" type="presParOf" srcId="{402EF506-167C-4B6F-B4AB-EB2C43213253}" destId="{6A29A97E-6AA2-46D2-9C66-A87B7DF2072A}" srcOrd="0" destOrd="0" presId="urn:microsoft.com/office/officeart/2005/8/layout/hierarchy2"/>
    <dgm:cxn modelId="{947C6067-335C-497E-970E-F017AED8A81B}" type="presParOf" srcId="{6A29A97E-6AA2-46D2-9C66-A87B7DF2072A}" destId="{88E8CADF-D61C-4963-84B1-D0394159B4E0}" srcOrd="0" destOrd="0" presId="urn:microsoft.com/office/officeart/2005/8/layout/hierarchy2"/>
    <dgm:cxn modelId="{5A0B233D-9D58-41CA-B97B-289D49930667}" type="presParOf" srcId="{402EF506-167C-4B6F-B4AB-EB2C43213253}" destId="{B4C99511-3E92-49DC-9EC9-7DE1CCCF6BC7}" srcOrd="1" destOrd="0" presId="urn:microsoft.com/office/officeart/2005/8/layout/hierarchy2"/>
    <dgm:cxn modelId="{79B1FC38-6E59-4F14-8E7A-9E4EA36B1A41}" type="presParOf" srcId="{B4C99511-3E92-49DC-9EC9-7DE1CCCF6BC7}" destId="{C1DBEDB6-0791-496F-AE50-BDBAC17C0C08}" srcOrd="0" destOrd="0" presId="urn:microsoft.com/office/officeart/2005/8/layout/hierarchy2"/>
    <dgm:cxn modelId="{CAEA56D0-C457-44D1-BDCA-22B5D0BE87B3}" type="presParOf" srcId="{B4C99511-3E92-49DC-9EC9-7DE1CCCF6BC7}" destId="{DAAEBE34-83B2-4820-B4E6-115F83590A48}" srcOrd="1" destOrd="0" presId="urn:microsoft.com/office/officeart/2005/8/layout/hierarchy2"/>
    <dgm:cxn modelId="{9822EC48-7576-4C20-B91C-80F33D2FFF6E}" type="presParOf" srcId="{402EF506-167C-4B6F-B4AB-EB2C43213253}" destId="{951D619A-66B4-4E78-B99A-91CF5CF81ABE}" srcOrd="2" destOrd="0" presId="urn:microsoft.com/office/officeart/2005/8/layout/hierarchy2"/>
    <dgm:cxn modelId="{DFEA0B10-BD05-4D4F-B000-5CAC68830090}" type="presParOf" srcId="{951D619A-66B4-4E78-B99A-91CF5CF81ABE}" destId="{6493A358-E3AB-4AF4-A773-CC52FF69A528}" srcOrd="0" destOrd="0" presId="urn:microsoft.com/office/officeart/2005/8/layout/hierarchy2"/>
    <dgm:cxn modelId="{4743800F-4363-436F-8261-C9ADD15B1B18}" type="presParOf" srcId="{402EF506-167C-4B6F-B4AB-EB2C43213253}" destId="{6ECE6FD7-1DA1-488C-B814-D34956434E45}" srcOrd="3" destOrd="0" presId="urn:microsoft.com/office/officeart/2005/8/layout/hierarchy2"/>
    <dgm:cxn modelId="{4298BDD6-C399-4CB6-BE1F-0F8C93F06B44}" type="presParOf" srcId="{6ECE6FD7-1DA1-488C-B814-D34956434E45}" destId="{3AA7440C-B955-4225-B8DB-66E5BAC1377C}" srcOrd="0" destOrd="0" presId="urn:microsoft.com/office/officeart/2005/8/layout/hierarchy2"/>
    <dgm:cxn modelId="{D06489F2-6EFD-4529-BCC3-B62494248E71}" type="presParOf" srcId="{6ECE6FD7-1DA1-488C-B814-D34956434E45}" destId="{464B43CA-E911-453C-9C21-9F156A464375}" srcOrd="1" destOrd="0" presId="urn:microsoft.com/office/officeart/2005/8/layout/hierarchy2"/>
    <dgm:cxn modelId="{7AAC4556-702D-4265-9F1B-FE78BCBDC3D3}" type="presParOf" srcId="{600FBFA1-F222-4E9E-ADA9-548D0A9A6E74}" destId="{88EE9D3B-D7C6-49BD-9A18-6383852EDBBD}" srcOrd="2" destOrd="0" presId="urn:microsoft.com/office/officeart/2005/8/layout/hierarchy2"/>
    <dgm:cxn modelId="{06193649-7A72-4F5B-AFDF-CC9543C6B6B3}" type="presParOf" srcId="{88EE9D3B-D7C6-49BD-9A18-6383852EDBBD}" destId="{A0474BAB-F105-45BA-80D6-8F586820BEE1}" srcOrd="0" destOrd="0" presId="urn:microsoft.com/office/officeart/2005/8/layout/hierarchy2"/>
    <dgm:cxn modelId="{AA41C2FE-4C0B-4878-89B1-6B4A7CD8D7C8}" type="presParOf" srcId="{600FBFA1-F222-4E9E-ADA9-548D0A9A6E74}" destId="{A59A0F37-D22B-4E8D-924C-52FD85687492}" srcOrd="3" destOrd="0" presId="urn:microsoft.com/office/officeart/2005/8/layout/hierarchy2"/>
    <dgm:cxn modelId="{366C69B0-A420-470E-B882-03BFBA2EA136}" type="presParOf" srcId="{A59A0F37-D22B-4E8D-924C-52FD85687492}" destId="{9852418C-28F9-4D12-9EA1-861B79015588}" srcOrd="0" destOrd="0" presId="urn:microsoft.com/office/officeart/2005/8/layout/hierarchy2"/>
    <dgm:cxn modelId="{A1255355-077B-4632-BD71-BF25D27A5CFD}" type="presParOf" srcId="{A59A0F37-D22B-4E8D-924C-52FD85687492}" destId="{6635B2A9-DA21-4CB6-9228-C294F684853A}" srcOrd="1" destOrd="0" presId="urn:microsoft.com/office/officeart/2005/8/layout/hierarchy2"/>
    <dgm:cxn modelId="{0BF22591-26FF-407C-ACFC-3E614FDF2C84}" type="presParOf" srcId="{6635B2A9-DA21-4CB6-9228-C294F684853A}" destId="{28617A9A-B035-4566-88A2-9091D7170B69}" srcOrd="0" destOrd="0" presId="urn:microsoft.com/office/officeart/2005/8/layout/hierarchy2"/>
    <dgm:cxn modelId="{E658BE08-2EAB-4C16-9B82-1E564382A67B}" type="presParOf" srcId="{28617A9A-B035-4566-88A2-9091D7170B69}" destId="{9F8811AB-B869-480F-B279-A2112DF9D6B0}" srcOrd="0" destOrd="0" presId="urn:microsoft.com/office/officeart/2005/8/layout/hierarchy2"/>
    <dgm:cxn modelId="{FB6CB13A-729F-46B5-A475-40492E931859}" type="presParOf" srcId="{6635B2A9-DA21-4CB6-9228-C294F684853A}" destId="{DE35203E-6DCC-46F5-979B-1FAD9A7F77A6}" srcOrd="1" destOrd="0" presId="urn:microsoft.com/office/officeart/2005/8/layout/hierarchy2"/>
    <dgm:cxn modelId="{A58CCE8A-D2F7-4532-A791-495BF42E1174}" type="presParOf" srcId="{DE35203E-6DCC-46F5-979B-1FAD9A7F77A6}" destId="{FA4C0BE7-A7F2-4390-8309-69268E411DCA}" srcOrd="0" destOrd="0" presId="urn:microsoft.com/office/officeart/2005/8/layout/hierarchy2"/>
    <dgm:cxn modelId="{4A840E3E-9C48-4769-BF73-A3D1E5BD78A4}" type="presParOf" srcId="{DE35203E-6DCC-46F5-979B-1FAD9A7F77A6}" destId="{9150DA31-D0CF-453A-AE01-07E0B18217C7}" srcOrd="1" destOrd="0" presId="urn:microsoft.com/office/officeart/2005/8/layout/hierarchy2"/>
    <dgm:cxn modelId="{1ED92B92-250C-4143-96CF-310514E784B7}" type="presParOf" srcId="{6635B2A9-DA21-4CB6-9228-C294F684853A}" destId="{5C348736-BFB2-4343-BA48-56B95945530B}" srcOrd="2" destOrd="0" presId="urn:microsoft.com/office/officeart/2005/8/layout/hierarchy2"/>
    <dgm:cxn modelId="{FD4B63C4-2C95-47D8-A1D7-DD68FD2BAB84}" type="presParOf" srcId="{5C348736-BFB2-4343-BA48-56B95945530B}" destId="{1DE68128-9226-40E7-BADF-A0973F6CF436}" srcOrd="0" destOrd="0" presId="urn:microsoft.com/office/officeart/2005/8/layout/hierarchy2"/>
    <dgm:cxn modelId="{5D53B058-9233-47E1-880B-BF6B116C57B0}" type="presParOf" srcId="{6635B2A9-DA21-4CB6-9228-C294F684853A}" destId="{C85BA6B8-00D4-4436-B63A-70A5E096DEF7}" srcOrd="3" destOrd="0" presId="urn:microsoft.com/office/officeart/2005/8/layout/hierarchy2"/>
    <dgm:cxn modelId="{25F33417-6ED8-43AC-86D1-969062A5EA52}" type="presParOf" srcId="{C85BA6B8-00D4-4436-B63A-70A5E096DEF7}" destId="{920BE209-FC72-439E-8655-DD5DBF654EF2}" srcOrd="0" destOrd="0" presId="urn:microsoft.com/office/officeart/2005/8/layout/hierarchy2"/>
    <dgm:cxn modelId="{96D813A0-6C32-4471-ABB2-2EAD3B0A23D8}" type="presParOf" srcId="{C85BA6B8-00D4-4436-B63A-70A5E096DEF7}" destId="{5A681298-6DFB-4B3F-8D68-BE2A94C32382}" srcOrd="1" destOrd="0" presId="urn:microsoft.com/office/officeart/2005/8/layout/hierarchy2"/>
    <dgm:cxn modelId="{9CED7476-23B4-48EB-BF9A-4F9CC6CAA840}" type="presParOf" srcId="{6635B2A9-DA21-4CB6-9228-C294F684853A}" destId="{0DC454D8-0F98-4EEF-B415-98B30D5A282A}" srcOrd="4" destOrd="0" presId="urn:microsoft.com/office/officeart/2005/8/layout/hierarchy2"/>
    <dgm:cxn modelId="{900E3F79-3A6E-4744-BEA9-FE8575246E17}" type="presParOf" srcId="{0DC454D8-0F98-4EEF-B415-98B30D5A282A}" destId="{678FBD4D-035F-4BC6-BDA0-03AA4D8D6692}" srcOrd="0" destOrd="0" presId="urn:microsoft.com/office/officeart/2005/8/layout/hierarchy2"/>
    <dgm:cxn modelId="{88FA4E2A-9090-4C65-89DD-3E802822E3EF}" type="presParOf" srcId="{6635B2A9-DA21-4CB6-9228-C294F684853A}" destId="{C86CCC31-AFFE-4D57-8989-FEB302C5826F}" srcOrd="5" destOrd="0" presId="urn:microsoft.com/office/officeart/2005/8/layout/hierarchy2"/>
    <dgm:cxn modelId="{0F024E5A-D844-4210-95B8-E9D1A492A67C}" type="presParOf" srcId="{C86CCC31-AFFE-4D57-8989-FEB302C5826F}" destId="{60ED3C43-91A0-4C54-BD9F-AF4FB87D4CD2}" srcOrd="0" destOrd="0" presId="urn:microsoft.com/office/officeart/2005/8/layout/hierarchy2"/>
    <dgm:cxn modelId="{86C90F57-C849-4565-94A4-0DEC92E96A65}" type="presParOf" srcId="{C86CCC31-AFFE-4D57-8989-FEB302C5826F}" destId="{2CAF677B-31DD-4954-A249-C4286A7868B5}" srcOrd="1" destOrd="0" presId="urn:microsoft.com/office/officeart/2005/8/layout/hierarchy2"/>
    <dgm:cxn modelId="{7090D721-5919-462F-AF29-BCFECBCA3FFC}" type="presParOf" srcId="{6635B2A9-DA21-4CB6-9228-C294F684853A}" destId="{6297D3C2-608E-47D4-B5CE-127D5AE86B70}" srcOrd="6" destOrd="0" presId="urn:microsoft.com/office/officeart/2005/8/layout/hierarchy2"/>
    <dgm:cxn modelId="{971D8649-7329-4E7D-BA1A-C0CB129E5840}" type="presParOf" srcId="{6297D3C2-608E-47D4-B5CE-127D5AE86B70}" destId="{0021F2AD-9201-433B-A17F-5B7BF402C5CD}" srcOrd="0" destOrd="0" presId="urn:microsoft.com/office/officeart/2005/8/layout/hierarchy2"/>
    <dgm:cxn modelId="{30E627AF-911E-45E3-A1F7-9CF2593AE37C}" type="presParOf" srcId="{6635B2A9-DA21-4CB6-9228-C294F684853A}" destId="{FD908AF9-8759-446B-9B74-8301ADF5B5FF}" srcOrd="7" destOrd="0" presId="urn:microsoft.com/office/officeart/2005/8/layout/hierarchy2"/>
    <dgm:cxn modelId="{C26E9CEC-67C2-4287-AC32-045C3F94BF32}" type="presParOf" srcId="{FD908AF9-8759-446B-9B74-8301ADF5B5FF}" destId="{5D394FF4-6F8A-4A7B-8489-54CED8CD0683}" srcOrd="0" destOrd="0" presId="urn:microsoft.com/office/officeart/2005/8/layout/hierarchy2"/>
    <dgm:cxn modelId="{EDA6D271-76F9-4B7E-9A73-318CA046DC92}" type="presParOf" srcId="{FD908AF9-8759-446B-9B74-8301ADF5B5FF}" destId="{9C737F74-84ED-4102-8280-66EAFB5FD600}" srcOrd="1" destOrd="0" presId="urn:microsoft.com/office/officeart/2005/8/layout/hierarchy2"/>
    <dgm:cxn modelId="{97C26D77-11CA-4941-B297-241AF5E1E4ED}" type="presParOf" srcId="{6635B2A9-DA21-4CB6-9228-C294F684853A}" destId="{974A5AD1-952D-482F-A478-63D06EF74214}" srcOrd="8" destOrd="0" presId="urn:microsoft.com/office/officeart/2005/8/layout/hierarchy2"/>
    <dgm:cxn modelId="{EE3EB5DF-D351-4954-AFBC-71050BDC035F}" type="presParOf" srcId="{974A5AD1-952D-482F-A478-63D06EF74214}" destId="{4C7E4AD9-BD36-4A4B-A11B-809D806995C8}" srcOrd="0" destOrd="0" presId="urn:microsoft.com/office/officeart/2005/8/layout/hierarchy2"/>
    <dgm:cxn modelId="{E22D58A7-3113-4FDA-AE95-2BD20719884F}" type="presParOf" srcId="{6635B2A9-DA21-4CB6-9228-C294F684853A}" destId="{E8AB605D-1974-442A-A19C-397E8B2F87C4}" srcOrd="9" destOrd="0" presId="urn:microsoft.com/office/officeart/2005/8/layout/hierarchy2"/>
    <dgm:cxn modelId="{C3E32480-8BCD-4501-A430-3CFE5E977EB6}" type="presParOf" srcId="{E8AB605D-1974-442A-A19C-397E8B2F87C4}" destId="{DAB8A7DA-073C-4DCB-A4ED-11DD0E9749A3}" srcOrd="0" destOrd="0" presId="urn:microsoft.com/office/officeart/2005/8/layout/hierarchy2"/>
    <dgm:cxn modelId="{422E0FDB-B75E-4C8B-937D-3955A817A9DE}" type="presParOf" srcId="{E8AB605D-1974-442A-A19C-397E8B2F87C4}" destId="{E315827A-A2F8-4F71-9F55-FD759F4906A6}" srcOrd="1" destOrd="0" presId="urn:microsoft.com/office/officeart/2005/8/layout/hierarchy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50.xml><?xml version="1.0" encoding="utf-8"?>
<dgm:dataModel xmlns:dgm="http://schemas.openxmlformats.org/drawingml/2006/diagram" xmlns:a="http://schemas.openxmlformats.org/drawingml/2006/main">
  <dgm:ptLst>
    <dgm:pt modelId="{0A03F5A8-F3FD-45D9-9484-B55D868B8EF8}" type="doc">
      <dgm:prSet loTypeId="urn:microsoft.com/office/officeart/2005/8/layout/hierarchy2" loCatId="hierarchy" qsTypeId="urn:microsoft.com/office/officeart/2005/8/quickstyle/simple1" qsCatId="simple" csTypeId="urn:microsoft.com/office/officeart/2005/8/colors/colorful4" csCatId="colorful" phldr="1"/>
      <dgm:spPr/>
      <dgm:t>
        <a:bodyPr/>
        <a:lstStyle/>
        <a:p>
          <a:endParaRPr lang="fr-FR"/>
        </a:p>
      </dgm:t>
    </dgm:pt>
    <dgm:pt modelId="{5AFE294F-2C5A-4855-92D7-D951F2364B24}">
      <dgm:prSet phldrT="[Text]"/>
      <dgm:spPr/>
      <dgm:t>
        <a:bodyPr/>
        <a:lstStyle/>
        <a:p>
          <a:r>
            <a:rPr lang="fr-FR" noProof="0"/>
            <a:t>Déclaration Sinistre Auto (phase de login)</a:t>
          </a:r>
        </a:p>
      </dgm:t>
    </dgm:pt>
    <dgm:pt modelId="{59071923-9C14-4471-B358-4D2ED5014DA0}" type="parTrans" cxnId="{26563084-E3C3-44C5-A4DD-B0405719EAC8}">
      <dgm:prSet/>
      <dgm:spPr/>
      <dgm:t>
        <a:bodyPr/>
        <a:lstStyle/>
        <a:p>
          <a:endParaRPr lang="fr-FR"/>
        </a:p>
      </dgm:t>
    </dgm:pt>
    <dgm:pt modelId="{658A2DAE-EECD-4864-AC63-1E03841E93DC}" type="sibTrans" cxnId="{26563084-E3C3-44C5-A4DD-B0405719EAC8}">
      <dgm:prSet/>
      <dgm:spPr/>
      <dgm:t>
        <a:bodyPr/>
        <a:lstStyle/>
        <a:p>
          <a:endParaRPr lang="fr-FR"/>
        </a:p>
      </dgm:t>
    </dgm:pt>
    <dgm:pt modelId="{10AD6D04-1F96-446C-9D6B-934B83F073EE}">
      <dgm:prSet phldrT="[Text]"/>
      <dgm:spPr/>
      <dgm:t>
        <a:bodyPr/>
        <a:lstStyle/>
        <a:p>
          <a:r>
            <a:rPr lang="fr-FR" b="0" i="0" u="none"/>
            <a:t>Ouverture Solaris</a:t>
          </a:r>
          <a:endParaRPr lang="fr-FR" noProof="0"/>
        </a:p>
      </dgm:t>
    </dgm:pt>
    <dgm:pt modelId="{830D246C-E2B3-4B4C-B993-2E0FABC2686C}" type="parTrans" cxnId="{1D0745CA-FAE3-4E64-AFCD-79A77238E8DC}">
      <dgm:prSet/>
      <dgm:spPr/>
      <dgm:t>
        <a:bodyPr/>
        <a:lstStyle/>
        <a:p>
          <a:endParaRPr lang="fr-FR"/>
        </a:p>
      </dgm:t>
    </dgm:pt>
    <dgm:pt modelId="{71D29F6D-0616-4931-8E8B-F15609D95926}" type="sibTrans" cxnId="{1D0745CA-FAE3-4E64-AFCD-79A77238E8DC}">
      <dgm:prSet/>
      <dgm:spPr/>
      <dgm:t>
        <a:bodyPr/>
        <a:lstStyle/>
        <a:p>
          <a:endParaRPr lang="fr-FR"/>
        </a:p>
      </dgm:t>
    </dgm:pt>
    <dgm:pt modelId="{2DA1F265-F105-4FC2-861C-7C452BF54F2D}">
      <dgm:prSet/>
      <dgm:spPr/>
      <dgm:t>
        <a:bodyPr/>
        <a:lstStyle/>
        <a:p>
          <a:r>
            <a:rPr lang="fr-FR" b="0" i="0" u="none"/>
            <a:t>Login</a:t>
          </a:r>
          <a:endParaRPr lang="fr-FR"/>
        </a:p>
      </dgm:t>
    </dgm:pt>
    <dgm:pt modelId="{C598F97A-D53D-4E94-ABF7-0FFD630BB608}" type="parTrans" cxnId="{64AFB837-6297-40BA-B1D7-35F185A74651}">
      <dgm:prSet/>
      <dgm:spPr/>
      <dgm:t>
        <a:bodyPr/>
        <a:lstStyle/>
        <a:p>
          <a:endParaRPr lang="fr-FR"/>
        </a:p>
      </dgm:t>
    </dgm:pt>
    <dgm:pt modelId="{D4E143A5-8672-4B1C-A0A1-00FE069C19CD}" type="sibTrans" cxnId="{64AFB837-6297-40BA-B1D7-35F185A74651}">
      <dgm:prSet/>
      <dgm:spPr/>
      <dgm:t>
        <a:bodyPr/>
        <a:lstStyle/>
        <a:p>
          <a:endParaRPr lang="fr-FR"/>
        </a:p>
      </dgm:t>
    </dgm:pt>
    <dgm:pt modelId="{8428E284-8D55-4248-9061-475BDB6A5A6D}">
      <dgm:prSet/>
      <dgm:spPr/>
      <dgm:t>
        <a:bodyPr/>
        <a:lstStyle/>
        <a:p>
          <a:r>
            <a:rPr lang="fr-FR" b="0" i="0" u="none"/>
            <a:t>Mot de passe</a:t>
          </a:r>
          <a:endParaRPr lang="fr-FR"/>
        </a:p>
      </dgm:t>
    </dgm:pt>
    <dgm:pt modelId="{C1D11A0F-DE91-4DE0-9771-4E233FF0438C}" type="parTrans" cxnId="{D2E6CD28-82C8-4FBE-8BC1-6F8A83516A15}">
      <dgm:prSet/>
      <dgm:spPr/>
      <dgm:t>
        <a:bodyPr/>
        <a:lstStyle/>
        <a:p>
          <a:endParaRPr lang="fr-FR"/>
        </a:p>
      </dgm:t>
    </dgm:pt>
    <dgm:pt modelId="{C9257DB1-0511-46D4-B97D-8846C69536CB}" type="sibTrans" cxnId="{D2E6CD28-82C8-4FBE-8BC1-6F8A83516A15}">
      <dgm:prSet/>
      <dgm:spPr/>
      <dgm:t>
        <a:bodyPr/>
        <a:lstStyle/>
        <a:p>
          <a:endParaRPr lang="fr-FR"/>
        </a:p>
      </dgm:t>
    </dgm:pt>
    <dgm:pt modelId="{61486C40-7D97-49C8-8A96-BD40B321A623}">
      <dgm:prSet/>
      <dgm:spPr/>
      <dgm:t>
        <a:bodyPr/>
        <a:lstStyle/>
        <a:p>
          <a:r>
            <a:rPr lang="fr-FR" b="0" i="0" u="none"/>
            <a:t>Valider</a:t>
          </a:r>
          <a:endParaRPr lang="fr-FR"/>
        </a:p>
      </dgm:t>
    </dgm:pt>
    <dgm:pt modelId="{4C540D36-4F2A-4F22-AD96-669FC773C369}" type="parTrans" cxnId="{1B897BFA-1571-427E-8BE4-FDDB58E9C301}">
      <dgm:prSet/>
      <dgm:spPr/>
      <dgm:t>
        <a:bodyPr/>
        <a:lstStyle/>
        <a:p>
          <a:endParaRPr lang="fr-FR"/>
        </a:p>
      </dgm:t>
    </dgm:pt>
    <dgm:pt modelId="{04936CC4-8C90-43D0-AD1E-62BD62ED5754}" type="sibTrans" cxnId="{1B897BFA-1571-427E-8BE4-FDDB58E9C301}">
      <dgm:prSet/>
      <dgm:spPr/>
      <dgm:t>
        <a:bodyPr/>
        <a:lstStyle/>
        <a:p>
          <a:endParaRPr lang="fr-FR"/>
        </a:p>
      </dgm:t>
    </dgm:pt>
    <dgm:pt modelId="{E1FE6DEB-D733-4C5D-9935-14D400265AD3}">
      <dgm:prSet/>
      <dgm:spPr/>
      <dgm:t>
        <a:bodyPr/>
        <a:lstStyle/>
        <a:p>
          <a:r>
            <a:rPr lang="fr-FR" b="1" i="0" u="none"/>
            <a:t>Etape : Déclaration sinistre RCD</a:t>
          </a:r>
          <a:endParaRPr lang="fr-FR"/>
        </a:p>
      </dgm:t>
    </dgm:pt>
    <dgm:pt modelId="{D8EE14BB-9165-4F90-9B8F-4C3C44C2ED05}" type="parTrans" cxnId="{A4E5E85A-C470-4921-9244-DBDDB6DF3AAC}">
      <dgm:prSet/>
      <dgm:spPr/>
      <dgm:t>
        <a:bodyPr/>
        <a:lstStyle/>
        <a:p>
          <a:endParaRPr lang="fr-FR"/>
        </a:p>
      </dgm:t>
    </dgm:pt>
    <dgm:pt modelId="{ACEA007C-B207-465E-B373-C8FC21C13F9D}" type="sibTrans" cxnId="{A4E5E85A-C470-4921-9244-DBDDB6DF3AAC}">
      <dgm:prSet/>
      <dgm:spPr/>
      <dgm:t>
        <a:bodyPr/>
        <a:lstStyle/>
        <a:p>
          <a:endParaRPr lang="fr-FR"/>
        </a:p>
      </dgm:t>
    </dgm:pt>
    <dgm:pt modelId="{EB2389D9-6A8D-4BF3-8CE6-C71090DE692D}">
      <dgm:prSet/>
      <dgm:spPr/>
      <dgm:t>
        <a:bodyPr/>
        <a:lstStyle/>
        <a:p>
          <a:r>
            <a:rPr lang="fr-FR" b="0" i="0" u="none"/>
            <a:t>Ecran : Ma Corbeille</a:t>
          </a:r>
          <a:endParaRPr lang="fr-FR"/>
        </a:p>
      </dgm:t>
    </dgm:pt>
    <dgm:pt modelId="{2A263EB3-03F7-43B5-AEB3-CCFEA462DC34}" type="parTrans" cxnId="{A8F103E4-DF90-4393-BCED-81D0FEA01869}">
      <dgm:prSet/>
      <dgm:spPr/>
      <dgm:t>
        <a:bodyPr/>
        <a:lstStyle/>
        <a:p>
          <a:endParaRPr lang="fr-FR"/>
        </a:p>
      </dgm:t>
    </dgm:pt>
    <dgm:pt modelId="{33F22608-814B-4F31-957D-D5DA47F39D9F}" type="sibTrans" cxnId="{A8F103E4-DF90-4393-BCED-81D0FEA01869}">
      <dgm:prSet/>
      <dgm:spPr/>
      <dgm:t>
        <a:bodyPr/>
        <a:lstStyle/>
        <a:p>
          <a:endParaRPr lang="fr-FR"/>
        </a:p>
      </dgm:t>
    </dgm:pt>
    <dgm:pt modelId="{99F28AEF-B0EA-445D-817F-368C02C533CD}">
      <dgm:prSet/>
      <dgm:spPr/>
      <dgm:t>
        <a:bodyPr/>
        <a:lstStyle/>
        <a:p>
          <a:r>
            <a:rPr lang="fr-FR" b="0" i="0" u="none"/>
            <a:t>Menu Nouveau sinistre</a:t>
          </a:r>
          <a:endParaRPr lang="fr-FR"/>
        </a:p>
      </dgm:t>
    </dgm:pt>
    <dgm:pt modelId="{0BAE997D-D82F-409F-BEC1-7A28EA04DA51}" type="parTrans" cxnId="{BA4531BA-414C-40B2-80C4-C4FD8EB71381}">
      <dgm:prSet/>
      <dgm:spPr/>
      <dgm:t>
        <a:bodyPr/>
        <a:lstStyle/>
        <a:p>
          <a:endParaRPr lang="fr-FR"/>
        </a:p>
      </dgm:t>
    </dgm:pt>
    <dgm:pt modelId="{169F0F98-6E05-4D08-A116-7FDDD273C081}" type="sibTrans" cxnId="{BA4531BA-414C-40B2-80C4-C4FD8EB71381}">
      <dgm:prSet/>
      <dgm:spPr/>
      <dgm:t>
        <a:bodyPr/>
        <a:lstStyle/>
        <a:p>
          <a:endParaRPr lang="fr-FR"/>
        </a:p>
      </dgm:t>
    </dgm:pt>
    <dgm:pt modelId="{9B2DD209-2A27-4500-8047-784299B5DBB0}">
      <dgm:prSet/>
      <dgm:spPr/>
      <dgm:t>
        <a:bodyPr/>
        <a:lstStyle/>
        <a:p>
          <a:r>
            <a:rPr lang="fr-FR" b="1" i="0" u="none"/>
            <a:t>Ecran : Rechercher ou créer un contrat</a:t>
          </a:r>
          <a:endParaRPr lang="fr-FR"/>
        </a:p>
      </dgm:t>
    </dgm:pt>
    <dgm:pt modelId="{D88346FF-D787-464C-9514-CF332A046C9A}" type="parTrans" cxnId="{00B384C0-0F4B-4FC7-8579-920581D41F72}">
      <dgm:prSet/>
      <dgm:spPr/>
      <dgm:t>
        <a:bodyPr/>
        <a:lstStyle/>
        <a:p>
          <a:endParaRPr lang="fr-FR"/>
        </a:p>
      </dgm:t>
    </dgm:pt>
    <dgm:pt modelId="{78E0706D-2DEA-47ED-B61F-9E9E719642F9}" type="sibTrans" cxnId="{00B384C0-0F4B-4FC7-8579-920581D41F72}">
      <dgm:prSet/>
      <dgm:spPr/>
      <dgm:t>
        <a:bodyPr/>
        <a:lstStyle/>
        <a:p>
          <a:endParaRPr lang="fr-FR"/>
        </a:p>
      </dgm:t>
    </dgm:pt>
    <dgm:pt modelId="{F6107CF0-DA02-4A4A-9E4C-FF1F4C213C96}">
      <dgm:prSet/>
      <dgm:spPr/>
      <dgm:t>
        <a:bodyPr/>
        <a:lstStyle/>
        <a:p>
          <a:r>
            <a:rPr lang="fr-FR" b="0" i="0" u="none"/>
            <a:t>N° de contrat</a:t>
          </a:r>
          <a:endParaRPr lang="fr-FR"/>
        </a:p>
      </dgm:t>
    </dgm:pt>
    <dgm:pt modelId="{B11E0614-2555-4739-9249-277F14142828}" type="parTrans" cxnId="{21559EA0-A189-4FA4-8248-98B1BFD1FF70}">
      <dgm:prSet/>
      <dgm:spPr/>
      <dgm:t>
        <a:bodyPr/>
        <a:lstStyle/>
        <a:p>
          <a:endParaRPr lang="fr-FR"/>
        </a:p>
      </dgm:t>
    </dgm:pt>
    <dgm:pt modelId="{4DCB992D-FE85-4A90-9544-F43C0B328AD0}" type="sibTrans" cxnId="{21559EA0-A189-4FA4-8248-98B1BFD1FF70}">
      <dgm:prSet/>
      <dgm:spPr/>
      <dgm:t>
        <a:bodyPr/>
        <a:lstStyle/>
        <a:p>
          <a:endParaRPr lang="fr-FR"/>
        </a:p>
      </dgm:t>
    </dgm:pt>
    <dgm:pt modelId="{C3DA7711-4146-4ED5-99E8-ECB8D8C4E084}">
      <dgm:prSet/>
      <dgm:spPr/>
      <dgm:t>
        <a:bodyPr/>
        <a:lstStyle/>
        <a:p>
          <a:r>
            <a:rPr lang="fr-FR" b="0" i="0" u="none"/>
            <a:t>Branche</a:t>
          </a:r>
          <a:endParaRPr lang="fr-FR"/>
        </a:p>
      </dgm:t>
    </dgm:pt>
    <dgm:pt modelId="{C1252674-5588-44ED-A301-195B49B39ABC}" type="parTrans" cxnId="{F17C2A9F-556A-45CD-9439-E198A3081C60}">
      <dgm:prSet/>
      <dgm:spPr/>
      <dgm:t>
        <a:bodyPr/>
        <a:lstStyle/>
        <a:p>
          <a:endParaRPr lang="fr-FR"/>
        </a:p>
      </dgm:t>
    </dgm:pt>
    <dgm:pt modelId="{58685D25-2DFC-42CE-8344-C4D3E8113995}" type="sibTrans" cxnId="{F17C2A9F-556A-45CD-9439-E198A3081C60}">
      <dgm:prSet/>
      <dgm:spPr/>
      <dgm:t>
        <a:bodyPr/>
        <a:lstStyle/>
        <a:p>
          <a:endParaRPr lang="fr-FR"/>
        </a:p>
      </dgm:t>
    </dgm:pt>
    <dgm:pt modelId="{B66844B4-5A5B-489E-9CAA-A5FC625662CD}">
      <dgm:prSet/>
      <dgm:spPr/>
      <dgm:t>
        <a:bodyPr/>
        <a:lstStyle/>
        <a:p>
          <a:r>
            <a:rPr lang="fr-FR" b="0" i="0" u="none"/>
            <a:t>Type de contrat</a:t>
          </a:r>
          <a:endParaRPr lang="fr-FR"/>
        </a:p>
      </dgm:t>
    </dgm:pt>
    <dgm:pt modelId="{46408C81-7A19-4103-AAA4-561C29F4466D}" type="parTrans" cxnId="{96AA2F7B-06E5-40E4-8547-171277E0FE16}">
      <dgm:prSet/>
      <dgm:spPr/>
      <dgm:t>
        <a:bodyPr/>
        <a:lstStyle/>
        <a:p>
          <a:endParaRPr lang="fr-FR"/>
        </a:p>
      </dgm:t>
    </dgm:pt>
    <dgm:pt modelId="{9A6E7B7F-616A-4CE7-8DB8-9CA895B9C0DB}" type="sibTrans" cxnId="{96AA2F7B-06E5-40E4-8547-171277E0FE16}">
      <dgm:prSet/>
      <dgm:spPr/>
      <dgm:t>
        <a:bodyPr/>
        <a:lstStyle/>
        <a:p>
          <a:endParaRPr lang="fr-FR"/>
        </a:p>
      </dgm:t>
    </dgm:pt>
    <dgm:pt modelId="{A16FFD84-8D5D-4AD9-8809-36119F5A9DA7}">
      <dgm:prSet/>
      <dgm:spPr/>
      <dgm:t>
        <a:bodyPr/>
        <a:lstStyle/>
        <a:p>
          <a:r>
            <a:rPr lang="fr-FR" b="0" i="0" u="none"/>
            <a:t>Date de réclamation</a:t>
          </a:r>
          <a:endParaRPr lang="fr-FR"/>
        </a:p>
      </dgm:t>
    </dgm:pt>
    <dgm:pt modelId="{DBF5F3E4-71BF-4B92-BDBD-025D458EA76D}" type="parTrans" cxnId="{3508F6C2-4C89-4091-995D-69E6CC3D7A38}">
      <dgm:prSet/>
      <dgm:spPr/>
      <dgm:t>
        <a:bodyPr/>
        <a:lstStyle/>
        <a:p>
          <a:endParaRPr lang="fr-FR"/>
        </a:p>
      </dgm:t>
    </dgm:pt>
    <dgm:pt modelId="{71C1BCDA-9784-4D86-B5D5-115A5B60FF73}" type="sibTrans" cxnId="{3508F6C2-4C89-4091-995D-69E6CC3D7A38}">
      <dgm:prSet/>
      <dgm:spPr/>
      <dgm:t>
        <a:bodyPr/>
        <a:lstStyle/>
        <a:p>
          <a:endParaRPr lang="fr-FR"/>
        </a:p>
      </dgm:t>
    </dgm:pt>
    <dgm:pt modelId="{4FF9B09C-0A12-4073-B109-DF4E36A63318}">
      <dgm:prSet phldrT="[Text]"/>
      <dgm:spPr/>
      <dgm:t>
        <a:bodyPr/>
        <a:lstStyle/>
        <a:p>
          <a:r>
            <a:rPr lang="fr-FR" noProof="0"/>
            <a:t>Phase de login </a:t>
          </a:r>
        </a:p>
      </dgm:t>
    </dgm:pt>
    <dgm:pt modelId="{8A25B504-8368-461D-B01B-C663A94496CA}" type="parTrans" cxnId="{9FD179B3-1441-468B-8572-54088F3631D1}">
      <dgm:prSet/>
      <dgm:spPr/>
      <dgm:t>
        <a:bodyPr/>
        <a:lstStyle/>
        <a:p>
          <a:endParaRPr lang="fr-FR"/>
        </a:p>
      </dgm:t>
    </dgm:pt>
    <dgm:pt modelId="{56ADC892-35F1-4AC9-8148-DD6BFC31F802}" type="sibTrans" cxnId="{9FD179B3-1441-468B-8572-54088F3631D1}">
      <dgm:prSet/>
      <dgm:spPr/>
      <dgm:t>
        <a:bodyPr/>
        <a:lstStyle/>
        <a:p>
          <a:endParaRPr lang="fr-FR"/>
        </a:p>
      </dgm:t>
    </dgm:pt>
    <dgm:pt modelId="{78DB14EC-790E-4608-9336-0DC55DCB3829}">
      <dgm:prSet/>
      <dgm:spPr/>
      <dgm:t>
        <a:bodyPr/>
        <a:lstStyle/>
        <a:p>
          <a:r>
            <a:rPr lang="fr-FR"/>
            <a:t>Suivant</a:t>
          </a:r>
        </a:p>
      </dgm:t>
    </dgm:pt>
    <dgm:pt modelId="{8DB75B09-BA3B-4CFA-A570-486E356A52FA}" type="parTrans" cxnId="{52D9AA1D-6C6F-481D-8F17-F36837A351BE}">
      <dgm:prSet/>
      <dgm:spPr/>
      <dgm:t>
        <a:bodyPr/>
        <a:lstStyle/>
        <a:p>
          <a:endParaRPr lang="fr-FR"/>
        </a:p>
      </dgm:t>
    </dgm:pt>
    <dgm:pt modelId="{FFE7F561-A231-4A99-B0E7-DDB3169D241B}" type="sibTrans" cxnId="{52D9AA1D-6C6F-481D-8F17-F36837A351BE}">
      <dgm:prSet/>
      <dgm:spPr/>
      <dgm:t>
        <a:bodyPr/>
        <a:lstStyle/>
        <a:p>
          <a:endParaRPr lang="fr-FR"/>
        </a:p>
      </dgm:t>
    </dgm:pt>
    <dgm:pt modelId="{FA26F4C0-BD80-4B79-BC13-85B608CA83C1}">
      <dgm:prSet/>
      <dgm:spPr/>
      <dgm:t>
        <a:bodyPr/>
        <a:lstStyle/>
        <a:p>
          <a:r>
            <a:rPr lang="fr-FR" b="0" i="0" u="none"/>
            <a:t>Menu Sinistre</a:t>
          </a:r>
          <a:endParaRPr lang="fr-FR"/>
        </a:p>
      </dgm:t>
    </dgm:pt>
    <dgm:pt modelId="{44C5EAC0-F34F-4008-A6A2-0B63DF196C2B}" type="sibTrans" cxnId="{750D606C-BA94-40EE-B41D-23CB074C4372}">
      <dgm:prSet/>
      <dgm:spPr/>
      <dgm:t>
        <a:bodyPr/>
        <a:lstStyle/>
        <a:p>
          <a:endParaRPr lang="fr-FR"/>
        </a:p>
      </dgm:t>
    </dgm:pt>
    <dgm:pt modelId="{E6546567-B488-4641-9AA3-CED35ED0D688}" type="parTrans" cxnId="{750D606C-BA94-40EE-B41D-23CB074C4372}">
      <dgm:prSet/>
      <dgm:spPr/>
      <dgm:t>
        <a:bodyPr/>
        <a:lstStyle/>
        <a:p>
          <a:endParaRPr lang="fr-FR"/>
        </a:p>
      </dgm:t>
    </dgm:pt>
    <dgm:pt modelId="{8ABBACE0-D732-48D5-9228-1FF1A0DF6403}" type="pres">
      <dgm:prSet presAssocID="{0A03F5A8-F3FD-45D9-9484-B55D868B8EF8}" presName="diagram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</dgm:pt>
    <dgm:pt modelId="{CBD06B68-7236-46D7-8A9F-F5D93428F9DF}" type="pres">
      <dgm:prSet presAssocID="{5AFE294F-2C5A-4855-92D7-D951F2364B24}" presName="root1" presStyleCnt="0"/>
      <dgm:spPr/>
    </dgm:pt>
    <dgm:pt modelId="{72D01C71-4D28-4751-AE67-4DAF562F986E}" type="pres">
      <dgm:prSet presAssocID="{5AFE294F-2C5A-4855-92D7-D951F2364B24}" presName="LevelOneTextNode" presStyleLbl="node0" presStyleIdx="0" presStyleCnt="1">
        <dgm:presLayoutVars>
          <dgm:chPref val="3"/>
        </dgm:presLayoutVars>
      </dgm:prSet>
      <dgm:spPr/>
    </dgm:pt>
    <dgm:pt modelId="{80ABE848-A785-474B-8807-22701BB118D9}" type="pres">
      <dgm:prSet presAssocID="{5AFE294F-2C5A-4855-92D7-D951F2364B24}" presName="level2hierChild" presStyleCnt="0"/>
      <dgm:spPr/>
    </dgm:pt>
    <dgm:pt modelId="{07351BC3-1DCF-4CA0-8978-C7C6A8314A80}" type="pres">
      <dgm:prSet presAssocID="{830D246C-E2B3-4B4C-B993-2E0FABC2686C}" presName="conn2-1" presStyleLbl="parChTrans1D2" presStyleIdx="0" presStyleCnt="3"/>
      <dgm:spPr/>
    </dgm:pt>
    <dgm:pt modelId="{44121C89-9CAB-4C89-9223-4E46D7EB5452}" type="pres">
      <dgm:prSet presAssocID="{830D246C-E2B3-4B4C-B993-2E0FABC2686C}" presName="connTx" presStyleLbl="parChTrans1D2" presStyleIdx="0" presStyleCnt="3"/>
      <dgm:spPr/>
    </dgm:pt>
    <dgm:pt modelId="{59D983D6-5902-4FC6-9130-675FA295A1C8}" type="pres">
      <dgm:prSet presAssocID="{10AD6D04-1F96-446C-9D6B-934B83F073EE}" presName="root2" presStyleCnt="0"/>
      <dgm:spPr/>
    </dgm:pt>
    <dgm:pt modelId="{FEBFFE11-7BA4-4E4D-9ED0-F3F014C82753}" type="pres">
      <dgm:prSet presAssocID="{10AD6D04-1F96-446C-9D6B-934B83F073EE}" presName="LevelTwoTextNode" presStyleLbl="node2" presStyleIdx="0" presStyleCnt="3">
        <dgm:presLayoutVars>
          <dgm:chPref val="3"/>
        </dgm:presLayoutVars>
      </dgm:prSet>
      <dgm:spPr/>
    </dgm:pt>
    <dgm:pt modelId="{584A3FF6-58F6-4AA0-8FF8-BB2A2D913D00}" type="pres">
      <dgm:prSet presAssocID="{10AD6D04-1F96-446C-9D6B-934B83F073EE}" presName="level3hierChild" presStyleCnt="0"/>
      <dgm:spPr/>
    </dgm:pt>
    <dgm:pt modelId="{08D418A6-E399-4806-B873-20C541234562}" type="pres">
      <dgm:prSet presAssocID="{8A25B504-8368-461D-B01B-C663A94496CA}" presName="conn2-1" presStyleLbl="parChTrans1D2" presStyleIdx="1" presStyleCnt="3"/>
      <dgm:spPr/>
    </dgm:pt>
    <dgm:pt modelId="{FB2CF7E5-76B2-43D4-93B3-73B0458981D7}" type="pres">
      <dgm:prSet presAssocID="{8A25B504-8368-461D-B01B-C663A94496CA}" presName="connTx" presStyleLbl="parChTrans1D2" presStyleIdx="1" presStyleCnt="3"/>
      <dgm:spPr/>
    </dgm:pt>
    <dgm:pt modelId="{1031BF2E-A9B1-46A2-A13B-6621C41939C2}" type="pres">
      <dgm:prSet presAssocID="{4FF9B09C-0A12-4073-B109-DF4E36A63318}" presName="root2" presStyleCnt="0"/>
      <dgm:spPr/>
    </dgm:pt>
    <dgm:pt modelId="{FD5D9456-E617-495C-8D9E-0EE1636D7594}" type="pres">
      <dgm:prSet presAssocID="{4FF9B09C-0A12-4073-B109-DF4E36A63318}" presName="LevelTwoTextNode" presStyleLbl="node2" presStyleIdx="1" presStyleCnt="3">
        <dgm:presLayoutVars>
          <dgm:chPref val="3"/>
        </dgm:presLayoutVars>
      </dgm:prSet>
      <dgm:spPr/>
    </dgm:pt>
    <dgm:pt modelId="{60458B42-9FA8-4458-BE0E-66CA9C9B1739}" type="pres">
      <dgm:prSet presAssocID="{4FF9B09C-0A12-4073-B109-DF4E36A63318}" presName="level3hierChild" presStyleCnt="0"/>
      <dgm:spPr/>
    </dgm:pt>
    <dgm:pt modelId="{56425DAF-90DC-43B6-8172-D954D84C523B}" type="pres">
      <dgm:prSet presAssocID="{C598F97A-D53D-4E94-ABF7-0FFD630BB608}" presName="conn2-1" presStyleLbl="parChTrans1D3" presStyleIdx="0" presStyleCnt="5"/>
      <dgm:spPr/>
    </dgm:pt>
    <dgm:pt modelId="{C23A7F23-D5B0-4BDC-944F-B82D8201E8CC}" type="pres">
      <dgm:prSet presAssocID="{C598F97A-D53D-4E94-ABF7-0FFD630BB608}" presName="connTx" presStyleLbl="parChTrans1D3" presStyleIdx="0" presStyleCnt="5"/>
      <dgm:spPr/>
    </dgm:pt>
    <dgm:pt modelId="{FA98B1DC-A662-4AF4-B11A-F3E9C8ABD05A}" type="pres">
      <dgm:prSet presAssocID="{2DA1F265-F105-4FC2-861C-7C452BF54F2D}" presName="root2" presStyleCnt="0"/>
      <dgm:spPr/>
    </dgm:pt>
    <dgm:pt modelId="{9A0D1FD3-CE31-4109-AFCB-132E04B8F5B1}" type="pres">
      <dgm:prSet presAssocID="{2DA1F265-F105-4FC2-861C-7C452BF54F2D}" presName="LevelTwoTextNode" presStyleLbl="node3" presStyleIdx="0" presStyleCnt="5">
        <dgm:presLayoutVars>
          <dgm:chPref val="3"/>
        </dgm:presLayoutVars>
      </dgm:prSet>
      <dgm:spPr/>
    </dgm:pt>
    <dgm:pt modelId="{61F80765-E644-4576-90DD-1850AF3B3F28}" type="pres">
      <dgm:prSet presAssocID="{2DA1F265-F105-4FC2-861C-7C452BF54F2D}" presName="level3hierChild" presStyleCnt="0"/>
      <dgm:spPr/>
    </dgm:pt>
    <dgm:pt modelId="{89F98EE0-37ED-4BC4-A534-17244150EC1A}" type="pres">
      <dgm:prSet presAssocID="{C1D11A0F-DE91-4DE0-9771-4E233FF0438C}" presName="conn2-1" presStyleLbl="parChTrans1D3" presStyleIdx="1" presStyleCnt="5"/>
      <dgm:spPr/>
    </dgm:pt>
    <dgm:pt modelId="{2727FF13-F58C-402E-9674-CC6787A510D4}" type="pres">
      <dgm:prSet presAssocID="{C1D11A0F-DE91-4DE0-9771-4E233FF0438C}" presName="connTx" presStyleLbl="parChTrans1D3" presStyleIdx="1" presStyleCnt="5"/>
      <dgm:spPr/>
    </dgm:pt>
    <dgm:pt modelId="{8705EF60-D732-40C2-942F-53A41988D3C9}" type="pres">
      <dgm:prSet presAssocID="{8428E284-8D55-4248-9061-475BDB6A5A6D}" presName="root2" presStyleCnt="0"/>
      <dgm:spPr/>
    </dgm:pt>
    <dgm:pt modelId="{51F00818-16DA-40AF-9FCE-B69D443DA700}" type="pres">
      <dgm:prSet presAssocID="{8428E284-8D55-4248-9061-475BDB6A5A6D}" presName="LevelTwoTextNode" presStyleLbl="node3" presStyleIdx="1" presStyleCnt="5">
        <dgm:presLayoutVars>
          <dgm:chPref val="3"/>
        </dgm:presLayoutVars>
      </dgm:prSet>
      <dgm:spPr/>
    </dgm:pt>
    <dgm:pt modelId="{DBE397FE-62EA-4740-B02E-CE05A353D04D}" type="pres">
      <dgm:prSet presAssocID="{8428E284-8D55-4248-9061-475BDB6A5A6D}" presName="level3hierChild" presStyleCnt="0"/>
      <dgm:spPr/>
    </dgm:pt>
    <dgm:pt modelId="{C10ABD33-517B-4D7E-B667-3D2B417A3CD8}" type="pres">
      <dgm:prSet presAssocID="{4C540D36-4F2A-4F22-AD96-669FC773C369}" presName="conn2-1" presStyleLbl="parChTrans1D3" presStyleIdx="2" presStyleCnt="5"/>
      <dgm:spPr/>
    </dgm:pt>
    <dgm:pt modelId="{EDFB3CE3-7995-40A8-9D59-26E9FD37E3D0}" type="pres">
      <dgm:prSet presAssocID="{4C540D36-4F2A-4F22-AD96-669FC773C369}" presName="connTx" presStyleLbl="parChTrans1D3" presStyleIdx="2" presStyleCnt="5"/>
      <dgm:spPr/>
    </dgm:pt>
    <dgm:pt modelId="{2B16E2E3-CC3B-4EF7-AB20-5D2380AC94D9}" type="pres">
      <dgm:prSet presAssocID="{61486C40-7D97-49C8-8A96-BD40B321A623}" presName="root2" presStyleCnt="0"/>
      <dgm:spPr/>
    </dgm:pt>
    <dgm:pt modelId="{225494EB-652A-4D65-94D2-83A08C84923D}" type="pres">
      <dgm:prSet presAssocID="{61486C40-7D97-49C8-8A96-BD40B321A623}" presName="LevelTwoTextNode" presStyleLbl="node3" presStyleIdx="2" presStyleCnt="5">
        <dgm:presLayoutVars>
          <dgm:chPref val="3"/>
        </dgm:presLayoutVars>
      </dgm:prSet>
      <dgm:spPr/>
    </dgm:pt>
    <dgm:pt modelId="{A163F39E-8BA9-479E-A39C-8B0760E601DE}" type="pres">
      <dgm:prSet presAssocID="{61486C40-7D97-49C8-8A96-BD40B321A623}" presName="level3hierChild" presStyleCnt="0"/>
      <dgm:spPr/>
    </dgm:pt>
    <dgm:pt modelId="{352B7D5A-C3AA-4756-A02F-24B58CA79E83}" type="pres">
      <dgm:prSet presAssocID="{D8EE14BB-9165-4F90-9B8F-4C3C44C2ED05}" presName="conn2-1" presStyleLbl="parChTrans1D2" presStyleIdx="2" presStyleCnt="3"/>
      <dgm:spPr/>
    </dgm:pt>
    <dgm:pt modelId="{690AD542-D2B3-4DF2-BED6-A5E33BBC133F}" type="pres">
      <dgm:prSet presAssocID="{D8EE14BB-9165-4F90-9B8F-4C3C44C2ED05}" presName="connTx" presStyleLbl="parChTrans1D2" presStyleIdx="2" presStyleCnt="3"/>
      <dgm:spPr/>
    </dgm:pt>
    <dgm:pt modelId="{6C01EF34-D12F-4DA6-9F8B-5330925F2352}" type="pres">
      <dgm:prSet presAssocID="{E1FE6DEB-D733-4C5D-9935-14D400265AD3}" presName="root2" presStyleCnt="0"/>
      <dgm:spPr/>
    </dgm:pt>
    <dgm:pt modelId="{6AF904CB-5748-418D-AEB1-2B12C8C7A098}" type="pres">
      <dgm:prSet presAssocID="{E1FE6DEB-D733-4C5D-9935-14D400265AD3}" presName="LevelTwoTextNode" presStyleLbl="node2" presStyleIdx="2" presStyleCnt="3">
        <dgm:presLayoutVars>
          <dgm:chPref val="3"/>
        </dgm:presLayoutVars>
      </dgm:prSet>
      <dgm:spPr/>
    </dgm:pt>
    <dgm:pt modelId="{600FBFA1-F222-4E9E-ADA9-548D0A9A6E74}" type="pres">
      <dgm:prSet presAssocID="{E1FE6DEB-D733-4C5D-9935-14D400265AD3}" presName="level3hierChild" presStyleCnt="0"/>
      <dgm:spPr/>
    </dgm:pt>
    <dgm:pt modelId="{8C23B94C-3F42-4C5F-B87D-F1F73584C881}" type="pres">
      <dgm:prSet presAssocID="{2A263EB3-03F7-43B5-AEB3-CCFEA462DC34}" presName="conn2-1" presStyleLbl="parChTrans1D3" presStyleIdx="3" presStyleCnt="5"/>
      <dgm:spPr/>
    </dgm:pt>
    <dgm:pt modelId="{FD5557A9-947F-45C0-89EB-48D82A3CE3B8}" type="pres">
      <dgm:prSet presAssocID="{2A263EB3-03F7-43B5-AEB3-CCFEA462DC34}" presName="connTx" presStyleLbl="parChTrans1D3" presStyleIdx="3" presStyleCnt="5"/>
      <dgm:spPr/>
    </dgm:pt>
    <dgm:pt modelId="{95345C08-CDE8-4BA0-8F80-67BBB1312507}" type="pres">
      <dgm:prSet presAssocID="{EB2389D9-6A8D-4BF3-8CE6-C71090DE692D}" presName="root2" presStyleCnt="0"/>
      <dgm:spPr/>
    </dgm:pt>
    <dgm:pt modelId="{21BB043B-00B1-4EE9-899E-4BA8939CEB2D}" type="pres">
      <dgm:prSet presAssocID="{EB2389D9-6A8D-4BF3-8CE6-C71090DE692D}" presName="LevelTwoTextNode" presStyleLbl="node3" presStyleIdx="3" presStyleCnt="5">
        <dgm:presLayoutVars>
          <dgm:chPref val="3"/>
        </dgm:presLayoutVars>
      </dgm:prSet>
      <dgm:spPr/>
    </dgm:pt>
    <dgm:pt modelId="{402EF506-167C-4B6F-B4AB-EB2C43213253}" type="pres">
      <dgm:prSet presAssocID="{EB2389D9-6A8D-4BF3-8CE6-C71090DE692D}" presName="level3hierChild" presStyleCnt="0"/>
      <dgm:spPr/>
    </dgm:pt>
    <dgm:pt modelId="{6A29A97E-6AA2-46D2-9C66-A87B7DF2072A}" type="pres">
      <dgm:prSet presAssocID="{E6546567-B488-4641-9AA3-CED35ED0D688}" presName="conn2-1" presStyleLbl="parChTrans1D4" presStyleIdx="0" presStyleCnt="7"/>
      <dgm:spPr/>
    </dgm:pt>
    <dgm:pt modelId="{88E8CADF-D61C-4963-84B1-D0394159B4E0}" type="pres">
      <dgm:prSet presAssocID="{E6546567-B488-4641-9AA3-CED35ED0D688}" presName="connTx" presStyleLbl="parChTrans1D4" presStyleIdx="0" presStyleCnt="7"/>
      <dgm:spPr/>
    </dgm:pt>
    <dgm:pt modelId="{B4C99511-3E92-49DC-9EC9-7DE1CCCF6BC7}" type="pres">
      <dgm:prSet presAssocID="{FA26F4C0-BD80-4B79-BC13-85B608CA83C1}" presName="root2" presStyleCnt="0"/>
      <dgm:spPr/>
    </dgm:pt>
    <dgm:pt modelId="{C1DBEDB6-0791-496F-AE50-BDBAC17C0C08}" type="pres">
      <dgm:prSet presAssocID="{FA26F4C0-BD80-4B79-BC13-85B608CA83C1}" presName="LevelTwoTextNode" presStyleLbl="node4" presStyleIdx="0" presStyleCnt="7">
        <dgm:presLayoutVars>
          <dgm:chPref val="3"/>
        </dgm:presLayoutVars>
      </dgm:prSet>
      <dgm:spPr/>
    </dgm:pt>
    <dgm:pt modelId="{DAAEBE34-83B2-4820-B4E6-115F83590A48}" type="pres">
      <dgm:prSet presAssocID="{FA26F4C0-BD80-4B79-BC13-85B608CA83C1}" presName="level3hierChild" presStyleCnt="0"/>
      <dgm:spPr/>
    </dgm:pt>
    <dgm:pt modelId="{951D619A-66B4-4E78-B99A-91CF5CF81ABE}" type="pres">
      <dgm:prSet presAssocID="{0BAE997D-D82F-409F-BEC1-7A28EA04DA51}" presName="conn2-1" presStyleLbl="parChTrans1D4" presStyleIdx="1" presStyleCnt="7"/>
      <dgm:spPr/>
    </dgm:pt>
    <dgm:pt modelId="{6493A358-E3AB-4AF4-A773-CC52FF69A528}" type="pres">
      <dgm:prSet presAssocID="{0BAE997D-D82F-409F-BEC1-7A28EA04DA51}" presName="connTx" presStyleLbl="parChTrans1D4" presStyleIdx="1" presStyleCnt="7"/>
      <dgm:spPr/>
    </dgm:pt>
    <dgm:pt modelId="{6ECE6FD7-1DA1-488C-B814-D34956434E45}" type="pres">
      <dgm:prSet presAssocID="{99F28AEF-B0EA-445D-817F-368C02C533CD}" presName="root2" presStyleCnt="0"/>
      <dgm:spPr/>
    </dgm:pt>
    <dgm:pt modelId="{3AA7440C-B955-4225-B8DB-66E5BAC1377C}" type="pres">
      <dgm:prSet presAssocID="{99F28AEF-B0EA-445D-817F-368C02C533CD}" presName="LevelTwoTextNode" presStyleLbl="node4" presStyleIdx="1" presStyleCnt="7">
        <dgm:presLayoutVars>
          <dgm:chPref val="3"/>
        </dgm:presLayoutVars>
      </dgm:prSet>
      <dgm:spPr/>
    </dgm:pt>
    <dgm:pt modelId="{464B43CA-E911-453C-9C21-9F156A464375}" type="pres">
      <dgm:prSet presAssocID="{99F28AEF-B0EA-445D-817F-368C02C533CD}" presName="level3hierChild" presStyleCnt="0"/>
      <dgm:spPr/>
    </dgm:pt>
    <dgm:pt modelId="{88EE9D3B-D7C6-49BD-9A18-6383852EDBBD}" type="pres">
      <dgm:prSet presAssocID="{D88346FF-D787-464C-9514-CF332A046C9A}" presName="conn2-1" presStyleLbl="parChTrans1D3" presStyleIdx="4" presStyleCnt="5"/>
      <dgm:spPr/>
    </dgm:pt>
    <dgm:pt modelId="{A0474BAB-F105-45BA-80D6-8F586820BEE1}" type="pres">
      <dgm:prSet presAssocID="{D88346FF-D787-464C-9514-CF332A046C9A}" presName="connTx" presStyleLbl="parChTrans1D3" presStyleIdx="4" presStyleCnt="5"/>
      <dgm:spPr/>
    </dgm:pt>
    <dgm:pt modelId="{A59A0F37-D22B-4E8D-924C-52FD85687492}" type="pres">
      <dgm:prSet presAssocID="{9B2DD209-2A27-4500-8047-784299B5DBB0}" presName="root2" presStyleCnt="0"/>
      <dgm:spPr/>
    </dgm:pt>
    <dgm:pt modelId="{9852418C-28F9-4D12-9EA1-861B79015588}" type="pres">
      <dgm:prSet presAssocID="{9B2DD209-2A27-4500-8047-784299B5DBB0}" presName="LevelTwoTextNode" presStyleLbl="node3" presStyleIdx="4" presStyleCnt="5">
        <dgm:presLayoutVars>
          <dgm:chPref val="3"/>
        </dgm:presLayoutVars>
      </dgm:prSet>
      <dgm:spPr/>
    </dgm:pt>
    <dgm:pt modelId="{6635B2A9-DA21-4CB6-9228-C294F684853A}" type="pres">
      <dgm:prSet presAssocID="{9B2DD209-2A27-4500-8047-784299B5DBB0}" presName="level3hierChild" presStyleCnt="0"/>
      <dgm:spPr/>
    </dgm:pt>
    <dgm:pt modelId="{28617A9A-B035-4566-88A2-9091D7170B69}" type="pres">
      <dgm:prSet presAssocID="{B11E0614-2555-4739-9249-277F14142828}" presName="conn2-1" presStyleLbl="parChTrans1D4" presStyleIdx="2" presStyleCnt="7"/>
      <dgm:spPr/>
    </dgm:pt>
    <dgm:pt modelId="{9F8811AB-B869-480F-B279-A2112DF9D6B0}" type="pres">
      <dgm:prSet presAssocID="{B11E0614-2555-4739-9249-277F14142828}" presName="connTx" presStyleLbl="parChTrans1D4" presStyleIdx="2" presStyleCnt="7"/>
      <dgm:spPr/>
    </dgm:pt>
    <dgm:pt modelId="{DE35203E-6DCC-46F5-979B-1FAD9A7F77A6}" type="pres">
      <dgm:prSet presAssocID="{F6107CF0-DA02-4A4A-9E4C-FF1F4C213C96}" presName="root2" presStyleCnt="0"/>
      <dgm:spPr/>
    </dgm:pt>
    <dgm:pt modelId="{FA4C0BE7-A7F2-4390-8309-69268E411DCA}" type="pres">
      <dgm:prSet presAssocID="{F6107CF0-DA02-4A4A-9E4C-FF1F4C213C96}" presName="LevelTwoTextNode" presStyleLbl="node4" presStyleIdx="2" presStyleCnt="7">
        <dgm:presLayoutVars>
          <dgm:chPref val="3"/>
        </dgm:presLayoutVars>
      </dgm:prSet>
      <dgm:spPr/>
    </dgm:pt>
    <dgm:pt modelId="{9150DA31-D0CF-453A-AE01-07E0B18217C7}" type="pres">
      <dgm:prSet presAssocID="{F6107CF0-DA02-4A4A-9E4C-FF1F4C213C96}" presName="level3hierChild" presStyleCnt="0"/>
      <dgm:spPr/>
    </dgm:pt>
    <dgm:pt modelId="{5C348736-BFB2-4343-BA48-56B95945530B}" type="pres">
      <dgm:prSet presAssocID="{C1252674-5588-44ED-A301-195B49B39ABC}" presName="conn2-1" presStyleLbl="parChTrans1D4" presStyleIdx="3" presStyleCnt="7"/>
      <dgm:spPr/>
    </dgm:pt>
    <dgm:pt modelId="{1DE68128-9226-40E7-BADF-A0973F6CF436}" type="pres">
      <dgm:prSet presAssocID="{C1252674-5588-44ED-A301-195B49B39ABC}" presName="connTx" presStyleLbl="parChTrans1D4" presStyleIdx="3" presStyleCnt="7"/>
      <dgm:spPr/>
    </dgm:pt>
    <dgm:pt modelId="{C85BA6B8-00D4-4436-B63A-70A5E096DEF7}" type="pres">
      <dgm:prSet presAssocID="{C3DA7711-4146-4ED5-99E8-ECB8D8C4E084}" presName="root2" presStyleCnt="0"/>
      <dgm:spPr/>
    </dgm:pt>
    <dgm:pt modelId="{920BE209-FC72-439E-8655-DD5DBF654EF2}" type="pres">
      <dgm:prSet presAssocID="{C3DA7711-4146-4ED5-99E8-ECB8D8C4E084}" presName="LevelTwoTextNode" presStyleLbl="node4" presStyleIdx="3" presStyleCnt="7">
        <dgm:presLayoutVars>
          <dgm:chPref val="3"/>
        </dgm:presLayoutVars>
      </dgm:prSet>
      <dgm:spPr/>
    </dgm:pt>
    <dgm:pt modelId="{5A681298-6DFB-4B3F-8D68-BE2A94C32382}" type="pres">
      <dgm:prSet presAssocID="{C3DA7711-4146-4ED5-99E8-ECB8D8C4E084}" presName="level3hierChild" presStyleCnt="0"/>
      <dgm:spPr/>
    </dgm:pt>
    <dgm:pt modelId="{0DC454D8-0F98-4EEF-B415-98B30D5A282A}" type="pres">
      <dgm:prSet presAssocID="{46408C81-7A19-4103-AAA4-561C29F4466D}" presName="conn2-1" presStyleLbl="parChTrans1D4" presStyleIdx="4" presStyleCnt="7"/>
      <dgm:spPr/>
    </dgm:pt>
    <dgm:pt modelId="{678FBD4D-035F-4BC6-BDA0-03AA4D8D6692}" type="pres">
      <dgm:prSet presAssocID="{46408C81-7A19-4103-AAA4-561C29F4466D}" presName="connTx" presStyleLbl="parChTrans1D4" presStyleIdx="4" presStyleCnt="7"/>
      <dgm:spPr/>
    </dgm:pt>
    <dgm:pt modelId="{C86CCC31-AFFE-4D57-8989-FEB302C5826F}" type="pres">
      <dgm:prSet presAssocID="{B66844B4-5A5B-489E-9CAA-A5FC625662CD}" presName="root2" presStyleCnt="0"/>
      <dgm:spPr/>
    </dgm:pt>
    <dgm:pt modelId="{60ED3C43-91A0-4C54-BD9F-AF4FB87D4CD2}" type="pres">
      <dgm:prSet presAssocID="{B66844B4-5A5B-489E-9CAA-A5FC625662CD}" presName="LevelTwoTextNode" presStyleLbl="node4" presStyleIdx="4" presStyleCnt="7">
        <dgm:presLayoutVars>
          <dgm:chPref val="3"/>
        </dgm:presLayoutVars>
      </dgm:prSet>
      <dgm:spPr/>
    </dgm:pt>
    <dgm:pt modelId="{2CAF677B-31DD-4954-A249-C4286A7868B5}" type="pres">
      <dgm:prSet presAssocID="{B66844B4-5A5B-489E-9CAA-A5FC625662CD}" presName="level3hierChild" presStyleCnt="0"/>
      <dgm:spPr/>
    </dgm:pt>
    <dgm:pt modelId="{6297D3C2-608E-47D4-B5CE-127D5AE86B70}" type="pres">
      <dgm:prSet presAssocID="{DBF5F3E4-71BF-4B92-BDBD-025D458EA76D}" presName="conn2-1" presStyleLbl="parChTrans1D4" presStyleIdx="5" presStyleCnt="7"/>
      <dgm:spPr/>
    </dgm:pt>
    <dgm:pt modelId="{0021F2AD-9201-433B-A17F-5B7BF402C5CD}" type="pres">
      <dgm:prSet presAssocID="{DBF5F3E4-71BF-4B92-BDBD-025D458EA76D}" presName="connTx" presStyleLbl="parChTrans1D4" presStyleIdx="5" presStyleCnt="7"/>
      <dgm:spPr/>
    </dgm:pt>
    <dgm:pt modelId="{FD908AF9-8759-446B-9B74-8301ADF5B5FF}" type="pres">
      <dgm:prSet presAssocID="{A16FFD84-8D5D-4AD9-8809-36119F5A9DA7}" presName="root2" presStyleCnt="0"/>
      <dgm:spPr/>
    </dgm:pt>
    <dgm:pt modelId="{5D394FF4-6F8A-4A7B-8489-54CED8CD0683}" type="pres">
      <dgm:prSet presAssocID="{A16FFD84-8D5D-4AD9-8809-36119F5A9DA7}" presName="LevelTwoTextNode" presStyleLbl="node4" presStyleIdx="5" presStyleCnt="7">
        <dgm:presLayoutVars>
          <dgm:chPref val="3"/>
        </dgm:presLayoutVars>
      </dgm:prSet>
      <dgm:spPr/>
    </dgm:pt>
    <dgm:pt modelId="{9C737F74-84ED-4102-8280-66EAFB5FD600}" type="pres">
      <dgm:prSet presAssocID="{A16FFD84-8D5D-4AD9-8809-36119F5A9DA7}" presName="level3hierChild" presStyleCnt="0"/>
      <dgm:spPr/>
    </dgm:pt>
    <dgm:pt modelId="{974A5AD1-952D-482F-A478-63D06EF74214}" type="pres">
      <dgm:prSet presAssocID="{8DB75B09-BA3B-4CFA-A570-486E356A52FA}" presName="conn2-1" presStyleLbl="parChTrans1D4" presStyleIdx="6" presStyleCnt="7"/>
      <dgm:spPr/>
    </dgm:pt>
    <dgm:pt modelId="{4C7E4AD9-BD36-4A4B-A11B-809D806995C8}" type="pres">
      <dgm:prSet presAssocID="{8DB75B09-BA3B-4CFA-A570-486E356A52FA}" presName="connTx" presStyleLbl="parChTrans1D4" presStyleIdx="6" presStyleCnt="7"/>
      <dgm:spPr/>
    </dgm:pt>
    <dgm:pt modelId="{E8AB605D-1974-442A-A19C-397E8B2F87C4}" type="pres">
      <dgm:prSet presAssocID="{78DB14EC-790E-4608-9336-0DC55DCB3829}" presName="root2" presStyleCnt="0"/>
      <dgm:spPr/>
    </dgm:pt>
    <dgm:pt modelId="{DAB8A7DA-073C-4DCB-A4ED-11DD0E9749A3}" type="pres">
      <dgm:prSet presAssocID="{78DB14EC-790E-4608-9336-0DC55DCB3829}" presName="LevelTwoTextNode" presStyleLbl="node4" presStyleIdx="6" presStyleCnt="7">
        <dgm:presLayoutVars>
          <dgm:chPref val="3"/>
        </dgm:presLayoutVars>
      </dgm:prSet>
      <dgm:spPr/>
    </dgm:pt>
    <dgm:pt modelId="{E315827A-A2F8-4F71-9F55-FD759F4906A6}" type="pres">
      <dgm:prSet presAssocID="{78DB14EC-790E-4608-9336-0DC55DCB3829}" presName="level3hierChild" presStyleCnt="0"/>
      <dgm:spPr/>
    </dgm:pt>
  </dgm:ptLst>
  <dgm:cxnLst>
    <dgm:cxn modelId="{039D4B00-3CC6-4757-8B9B-5EDD7DD9A686}" type="presOf" srcId="{B66844B4-5A5B-489E-9CAA-A5FC625662CD}" destId="{60ED3C43-91A0-4C54-BD9F-AF4FB87D4CD2}" srcOrd="0" destOrd="0" presId="urn:microsoft.com/office/officeart/2005/8/layout/hierarchy2"/>
    <dgm:cxn modelId="{1186B203-31BB-4F0E-8DD0-BAF4D16DFDE5}" type="presOf" srcId="{8A25B504-8368-461D-B01B-C663A94496CA}" destId="{FB2CF7E5-76B2-43D4-93B3-73B0458981D7}" srcOrd="1" destOrd="0" presId="urn:microsoft.com/office/officeart/2005/8/layout/hierarchy2"/>
    <dgm:cxn modelId="{58641A04-3032-42C4-BB77-DD2FAD742F55}" type="presOf" srcId="{C598F97A-D53D-4E94-ABF7-0FFD630BB608}" destId="{56425DAF-90DC-43B6-8172-D954D84C523B}" srcOrd="0" destOrd="0" presId="urn:microsoft.com/office/officeart/2005/8/layout/hierarchy2"/>
    <dgm:cxn modelId="{D9BC3808-C1DA-4855-A757-F12AFBE82313}" type="presOf" srcId="{4C540D36-4F2A-4F22-AD96-669FC773C369}" destId="{EDFB3CE3-7995-40A8-9D59-26E9FD37E3D0}" srcOrd="1" destOrd="0" presId="urn:microsoft.com/office/officeart/2005/8/layout/hierarchy2"/>
    <dgm:cxn modelId="{7C20BE13-8115-49CC-BBAA-CD47340BA6CB}" type="presOf" srcId="{2A263EB3-03F7-43B5-AEB3-CCFEA462DC34}" destId="{8C23B94C-3F42-4C5F-B87D-F1F73584C881}" srcOrd="0" destOrd="0" presId="urn:microsoft.com/office/officeart/2005/8/layout/hierarchy2"/>
    <dgm:cxn modelId="{DAF83616-5B3C-45FE-8CF4-1241CC0A8E5B}" type="presOf" srcId="{DBF5F3E4-71BF-4B92-BDBD-025D458EA76D}" destId="{0021F2AD-9201-433B-A17F-5B7BF402C5CD}" srcOrd="1" destOrd="0" presId="urn:microsoft.com/office/officeart/2005/8/layout/hierarchy2"/>
    <dgm:cxn modelId="{62B7391B-E560-4861-9EE4-899D3FBFDEFF}" type="presOf" srcId="{D8EE14BB-9165-4F90-9B8F-4C3C44C2ED05}" destId="{690AD542-D2B3-4DF2-BED6-A5E33BBC133F}" srcOrd="1" destOrd="0" presId="urn:microsoft.com/office/officeart/2005/8/layout/hierarchy2"/>
    <dgm:cxn modelId="{C8263D1D-CD91-47DD-AC84-1C61B109C6E5}" type="presOf" srcId="{4C540D36-4F2A-4F22-AD96-669FC773C369}" destId="{C10ABD33-517B-4D7E-B667-3D2B417A3CD8}" srcOrd="0" destOrd="0" presId="urn:microsoft.com/office/officeart/2005/8/layout/hierarchy2"/>
    <dgm:cxn modelId="{52D9AA1D-6C6F-481D-8F17-F36837A351BE}" srcId="{9B2DD209-2A27-4500-8047-784299B5DBB0}" destId="{78DB14EC-790E-4608-9336-0DC55DCB3829}" srcOrd="4" destOrd="0" parTransId="{8DB75B09-BA3B-4CFA-A570-486E356A52FA}" sibTransId="{FFE7F561-A231-4A99-B0E7-DDB3169D241B}"/>
    <dgm:cxn modelId="{26D5481E-4A7D-4FD7-9B0F-790746EDF02B}" type="presOf" srcId="{78DB14EC-790E-4608-9336-0DC55DCB3829}" destId="{DAB8A7DA-073C-4DCB-A4ED-11DD0E9749A3}" srcOrd="0" destOrd="0" presId="urn:microsoft.com/office/officeart/2005/8/layout/hierarchy2"/>
    <dgm:cxn modelId="{207D3222-00FC-408A-BAFB-E2B2642CB5CE}" type="presOf" srcId="{C1D11A0F-DE91-4DE0-9771-4E233FF0438C}" destId="{2727FF13-F58C-402E-9674-CC6787A510D4}" srcOrd="1" destOrd="0" presId="urn:microsoft.com/office/officeart/2005/8/layout/hierarchy2"/>
    <dgm:cxn modelId="{CFDC6C26-4AC5-4CFD-A00C-5DF17C971F51}" type="presOf" srcId="{46408C81-7A19-4103-AAA4-561C29F4466D}" destId="{0DC454D8-0F98-4EEF-B415-98B30D5A282A}" srcOrd="0" destOrd="0" presId="urn:microsoft.com/office/officeart/2005/8/layout/hierarchy2"/>
    <dgm:cxn modelId="{D2E6CD28-82C8-4FBE-8BC1-6F8A83516A15}" srcId="{4FF9B09C-0A12-4073-B109-DF4E36A63318}" destId="{8428E284-8D55-4248-9061-475BDB6A5A6D}" srcOrd="1" destOrd="0" parTransId="{C1D11A0F-DE91-4DE0-9771-4E233FF0438C}" sibTransId="{C9257DB1-0511-46D4-B97D-8846C69536CB}"/>
    <dgm:cxn modelId="{AB8AEE2A-1454-4581-A1A0-176706A776B7}" type="presOf" srcId="{8428E284-8D55-4248-9061-475BDB6A5A6D}" destId="{51F00818-16DA-40AF-9FCE-B69D443DA700}" srcOrd="0" destOrd="0" presId="urn:microsoft.com/office/officeart/2005/8/layout/hierarchy2"/>
    <dgm:cxn modelId="{F44FDF2B-C291-4C6E-8FAF-D1558DA046E3}" type="presOf" srcId="{2DA1F265-F105-4FC2-861C-7C452BF54F2D}" destId="{9A0D1FD3-CE31-4109-AFCB-132E04B8F5B1}" srcOrd="0" destOrd="0" presId="urn:microsoft.com/office/officeart/2005/8/layout/hierarchy2"/>
    <dgm:cxn modelId="{F5AE942C-C2E2-41CE-A16E-1AB09C09F3EF}" type="presOf" srcId="{0A03F5A8-F3FD-45D9-9484-B55D868B8EF8}" destId="{8ABBACE0-D732-48D5-9228-1FF1A0DF6403}" srcOrd="0" destOrd="0" presId="urn:microsoft.com/office/officeart/2005/8/layout/hierarchy2"/>
    <dgm:cxn modelId="{D0F10B2D-9EC7-4613-965E-2AC70153EAEC}" type="presOf" srcId="{8DB75B09-BA3B-4CFA-A570-486E356A52FA}" destId="{4C7E4AD9-BD36-4A4B-A11B-809D806995C8}" srcOrd="1" destOrd="0" presId="urn:microsoft.com/office/officeart/2005/8/layout/hierarchy2"/>
    <dgm:cxn modelId="{D1421631-F275-40F9-AE0B-E500E49E2C3A}" type="presOf" srcId="{8A25B504-8368-461D-B01B-C663A94496CA}" destId="{08D418A6-E399-4806-B873-20C541234562}" srcOrd="0" destOrd="0" presId="urn:microsoft.com/office/officeart/2005/8/layout/hierarchy2"/>
    <dgm:cxn modelId="{863B8434-055C-41AB-8BFE-04863F75373F}" type="presOf" srcId="{D8EE14BB-9165-4F90-9B8F-4C3C44C2ED05}" destId="{352B7D5A-C3AA-4756-A02F-24B58CA79E83}" srcOrd="0" destOrd="0" presId="urn:microsoft.com/office/officeart/2005/8/layout/hierarchy2"/>
    <dgm:cxn modelId="{64AFB837-6297-40BA-B1D7-35F185A74651}" srcId="{4FF9B09C-0A12-4073-B109-DF4E36A63318}" destId="{2DA1F265-F105-4FC2-861C-7C452BF54F2D}" srcOrd="0" destOrd="0" parTransId="{C598F97A-D53D-4E94-ABF7-0FFD630BB608}" sibTransId="{D4E143A5-8672-4B1C-A0A1-00FE069C19CD}"/>
    <dgm:cxn modelId="{0A38DA38-7320-4E0B-8549-56E6ACC54914}" type="presOf" srcId="{0BAE997D-D82F-409F-BEC1-7A28EA04DA51}" destId="{951D619A-66B4-4E78-B99A-91CF5CF81ABE}" srcOrd="0" destOrd="0" presId="urn:microsoft.com/office/officeart/2005/8/layout/hierarchy2"/>
    <dgm:cxn modelId="{96EC7139-84E6-476E-98B5-4A5F958F95D3}" type="presOf" srcId="{C1D11A0F-DE91-4DE0-9771-4E233FF0438C}" destId="{89F98EE0-37ED-4BC4-A534-17244150EC1A}" srcOrd="0" destOrd="0" presId="urn:microsoft.com/office/officeart/2005/8/layout/hierarchy2"/>
    <dgm:cxn modelId="{83A6F33F-AEAA-4070-B2E4-020994CE9F4F}" type="presOf" srcId="{830D246C-E2B3-4B4C-B993-2E0FABC2686C}" destId="{44121C89-9CAB-4C89-9223-4E46D7EB5452}" srcOrd="1" destOrd="0" presId="urn:microsoft.com/office/officeart/2005/8/layout/hierarchy2"/>
    <dgm:cxn modelId="{B6B82165-9903-496A-9009-FF5387116423}" type="presOf" srcId="{F6107CF0-DA02-4A4A-9E4C-FF1F4C213C96}" destId="{FA4C0BE7-A7F2-4390-8309-69268E411DCA}" srcOrd="0" destOrd="0" presId="urn:microsoft.com/office/officeart/2005/8/layout/hierarchy2"/>
    <dgm:cxn modelId="{4F46144C-9A88-47BB-9387-600B94E04E21}" type="presOf" srcId="{99F28AEF-B0EA-445D-817F-368C02C533CD}" destId="{3AA7440C-B955-4225-B8DB-66E5BAC1377C}" srcOrd="0" destOrd="0" presId="urn:microsoft.com/office/officeart/2005/8/layout/hierarchy2"/>
    <dgm:cxn modelId="{750D606C-BA94-40EE-B41D-23CB074C4372}" srcId="{EB2389D9-6A8D-4BF3-8CE6-C71090DE692D}" destId="{FA26F4C0-BD80-4B79-BC13-85B608CA83C1}" srcOrd="0" destOrd="0" parTransId="{E6546567-B488-4641-9AA3-CED35ED0D688}" sibTransId="{44C5EAC0-F34F-4008-A6A2-0B63DF196C2B}"/>
    <dgm:cxn modelId="{328A6C6D-6E5F-4FB1-AF50-DDD8B8DF516E}" type="presOf" srcId="{B11E0614-2555-4739-9249-277F14142828}" destId="{9F8811AB-B869-480F-B279-A2112DF9D6B0}" srcOrd="1" destOrd="0" presId="urn:microsoft.com/office/officeart/2005/8/layout/hierarchy2"/>
    <dgm:cxn modelId="{AFB8DB76-2099-47CF-847B-F95DE00F6929}" type="presOf" srcId="{2A263EB3-03F7-43B5-AEB3-CCFEA462DC34}" destId="{FD5557A9-947F-45C0-89EB-48D82A3CE3B8}" srcOrd="1" destOrd="0" presId="urn:microsoft.com/office/officeart/2005/8/layout/hierarchy2"/>
    <dgm:cxn modelId="{5BEBFE56-B7A3-4678-9BD7-1F7EACB38CAF}" type="presOf" srcId="{C1252674-5588-44ED-A301-195B49B39ABC}" destId="{5C348736-BFB2-4343-BA48-56B95945530B}" srcOrd="0" destOrd="0" presId="urn:microsoft.com/office/officeart/2005/8/layout/hierarchy2"/>
    <dgm:cxn modelId="{49AC5677-096D-4338-B7D3-9E9CC9E005C5}" type="presOf" srcId="{10AD6D04-1F96-446C-9D6B-934B83F073EE}" destId="{FEBFFE11-7BA4-4E4D-9ED0-F3F014C82753}" srcOrd="0" destOrd="0" presId="urn:microsoft.com/office/officeart/2005/8/layout/hierarchy2"/>
    <dgm:cxn modelId="{DF2DF278-9A17-47A1-A407-98DD41D86E22}" type="presOf" srcId="{EB2389D9-6A8D-4BF3-8CE6-C71090DE692D}" destId="{21BB043B-00B1-4EE9-899E-4BA8939CEB2D}" srcOrd="0" destOrd="0" presId="urn:microsoft.com/office/officeart/2005/8/layout/hierarchy2"/>
    <dgm:cxn modelId="{CA075A79-1E54-4703-AF79-51AC16B93C6A}" type="presOf" srcId="{0BAE997D-D82F-409F-BEC1-7A28EA04DA51}" destId="{6493A358-E3AB-4AF4-A773-CC52FF69A528}" srcOrd="1" destOrd="0" presId="urn:microsoft.com/office/officeart/2005/8/layout/hierarchy2"/>
    <dgm:cxn modelId="{4E823F7A-ABD3-434D-A377-BCC58D683DFD}" type="presOf" srcId="{FA26F4C0-BD80-4B79-BC13-85B608CA83C1}" destId="{C1DBEDB6-0791-496F-AE50-BDBAC17C0C08}" srcOrd="0" destOrd="0" presId="urn:microsoft.com/office/officeart/2005/8/layout/hierarchy2"/>
    <dgm:cxn modelId="{432B7A7A-F20A-4FA5-B708-EE53DB4BFE6D}" type="presOf" srcId="{C598F97A-D53D-4E94-ABF7-0FFD630BB608}" destId="{C23A7F23-D5B0-4BDC-944F-B82D8201E8CC}" srcOrd="1" destOrd="0" presId="urn:microsoft.com/office/officeart/2005/8/layout/hierarchy2"/>
    <dgm:cxn modelId="{A4E5E85A-C470-4921-9244-DBDDB6DF3AAC}" srcId="{5AFE294F-2C5A-4855-92D7-D951F2364B24}" destId="{E1FE6DEB-D733-4C5D-9935-14D400265AD3}" srcOrd="2" destOrd="0" parTransId="{D8EE14BB-9165-4F90-9B8F-4C3C44C2ED05}" sibTransId="{ACEA007C-B207-465E-B373-C8FC21C13F9D}"/>
    <dgm:cxn modelId="{96AA2F7B-06E5-40E4-8547-171277E0FE16}" srcId="{9B2DD209-2A27-4500-8047-784299B5DBB0}" destId="{B66844B4-5A5B-489E-9CAA-A5FC625662CD}" srcOrd="2" destOrd="0" parTransId="{46408C81-7A19-4103-AAA4-561C29F4466D}" sibTransId="{9A6E7B7F-616A-4CE7-8DB8-9CA895B9C0DB}"/>
    <dgm:cxn modelId="{26563084-E3C3-44C5-A4DD-B0405719EAC8}" srcId="{0A03F5A8-F3FD-45D9-9484-B55D868B8EF8}" destId="{5AFE294F-2C5A-4855-92D7-D951F2364B24}" srcOrd="0" destOrd="0" parTransId="{59071923-9C14-4471-B358-4D2ED5014DA0}" sibTransId="{658A2DAE-EECD-4864-AC63-1E03841E93DC}"/>
    <dgm:cxn modelId="{20A4D887-0836-454D-94C6-610D79B87CF2}" type="presOf" srcId="{830D246C-E2B3-4B4C-B993-2E0FABC2686C}" destId="{07351BC3-1DCF-4CA0-8978-C7C6A8314A80}" srcOrd="0" destOrd="0" presId="urn:microsoft.com/office/officeart/2005/8/layout/hierarchy2"/>
    <dgm:cxn modelId="{CC98A58B-69D3-4B9B-8168-ABD25B720F0B}" type="presOf" srcId="{E1FE6DEB-D733-4C5D-9935-14D400265AD3}" destId="{6AF904CB-5748-418D-AEB1-2B12C8C7A098}" srcOrd="0" destOrd="0" presId="urn:microsoft.com/office/officeart/2005/8/layout/hierarchy2"/>
    <dgm:cxn modelId="{6B046994-886A-4D49-9850-51AA59EE666C}" type="presOf" srcId="{4FF9B09C-0A12-4073-B109-DF4E36A63318}" destId="{FD5D9456-E617-495C-8D9E-0EE1636D7594}" srcOrd="0" destOrd="0" presId="urn:microsoft.com/office/officeart/2005/8/layout/hierarchy2"/>
    <dgm:cxn modelId="{6389F597-DEC8-405F-876F-B119AA39DF9A}" type="presOf" srcId="{B11E0614-2555-4739-9249-277F14142828}" destId="{28617A9A-B035-4566-88A2-9091D7170B69}" srcOrd="0" destOrd="0" presId="urn:microsoft.com/office/officeart/2005/8/layout/hierarchy2"/>
    <dgm:cxn modelId="{F17C2A9F-556A-45CD-9439-E198A3081C60}" srcId="{9B2DD209-2A27-4500-8047-784299B5DBB0}" destId="{C3DA7711-4146-4ED5-99E8-ECB8D8C4E084}" srcOrd="1" destOrd="0" parTransId="{C1252674-5588-44ED-A301-195B49B39ABC}" sibTransId="{58685D25-2DFC-42CE-8344-C4D3E8113995}"/>
    <dgm:cxn modelId="{21559EA0-A189-4FA4-8248-98B1BFD1FF70}" srcId="{9B2DD209-2A27-4500-8047-784299B5DBB0}" destId="{F6107CF0-DA02-4A4A-9E4C-FF1F4C213C96}" srcOrd="0" destOrd="0" parTransId="{B11E0614-2555-4739-9249-277F14142828}" sibTransId="{4DCB992D-FE85-4A90-9544-F43C0B328AD0}"/>
    <dgm:cxn modelId="{FAB0C7A5-1C86-44FB-8C8C-127070859DAE}" type="presOf" srcId="{46408C81-7A19-4103-AAA4-561C29F4466D}" destId="{678FBD4D-035F-4BC6-BDA0-03AA4D8D6692}" srcOrd="1" destOrd="0" presId="urn:microsoft.com/office/officeart/2005/8/layout/hierarchy2"/>
    <dgm:cxn modelId="{6CE94BA8-AAF2-43B0-8AAE-2E8CB0CFE643}" type="presOf" srcId="{5AFE294F-2C5A-4855-92D7-D951F2364B24}" destId="{72D01C71-4D28-4751-AE67-4DAF562F986E}" srcOrd="0" destOrd="0" presId="urn:microsoft.com/office/officeart/2005/8/layout/hierarchy2"/>
    <dgm:cxn modelId="{C55CF2B2-5091-448F-B55A-FC255A0DE2CA}" type="presOf" srcId="{8DB75B09-BA3B-4CFA-A570-486E356A52FA}" destId="{974A5AD1-952D-482F-A478-63D06EF74214}" srcOrd="0" destOrd="0" presId="urn:microsoft.com/office/officeart/2005/8/layout/hierarchy2"/>
    <dgm:cxn modelId="{9FD179B3-1441-468B-8572-54088F3631D1}" srcId="{5AFE294F-2C5A-4855-92D7-D951F2364B24}" destId="{4FF9B09C-0A12-4073-B109-DF4E36A63318}" srcOrd="1" destOrd="0" parTransId="{8A25B504-8368-461D-B01B-C663A94496CA}" sibTransId="{56ADC892-35F1-4AC9-8148-DD6BFC31F802}"/>
    <dgm:cxn modelId="{0FEC9AB5-42BE-46AF-B70F-632926B0CD1B}" type="presOf" srcId="{9B2DD209-2A27-4500-8047-784299B5DBB0}" destId="{9852418C-28F9-4D12-9EA1-861B79015588}" srcOrd="0" destOrd="0" presId="urn:microsoft.com/office/officeart/2005/8/layout/hierarchy2"/>
    <dgm:cxn modelId="{849A43B9-182A-42BB-BF83-A8333C4F6712}" type="presOf" srcId="{D88346FF-D787-464C-9514-CF332A046C9A}" destId="{A0474BAB-F105-45BA-80D6-8F586820BEE1}" srcOrd="1" destOrd="0" presId="urn:microsoft.com/office/officeart/2005/8/layout/hierarchy2"/>
    <dgm:cxn modelId="{BA4531BA-414C-40B2-80C4-C4FD8EB71381}" srcId="{EB2389D9-6A8D-4BF3-8CE6-C71090DE692D}" destId="{99F28AEF-B0EA-445D-817F-368C02C533CD}" srcOrd="1" destOrd="0" parTransId="{0BAE997D-D82F-409F-BEC1-7A28EA04DA51}" sibTransId="{169F0F98-6E05-4D08-A116-7FDDD273C081}"/>
    <dgm:cxn modelId="{00B384C0-0F4B-4FC7-8579-920581D41F72}" srcId="{E1FE6DEB-D733-4C5D-9935-14D400265AD3}" destId="{9B2DD209-2A27-4500-8047-784299B5DBB0}" srcOrd="1" destOrd="0" parTransId="{D88346FF-D787-464C-9514-CF332A046C9A}" sibTransId="{78E0706D-2DEA-47ED-B61F-9E9E719642F9}"/>
    <dgm:cxn modelId="{3508F6C2-4C89-4091-995D-69E6CC3D7A38}" srcId="{9B2DD209-2A27-4500-8047-784299B5DBB0}" destId="{A16FFD84-8D5D-4AD9-8809-36119F5A9DA7}" srcOrd="3" destOrd="0" parTransId="{DBF5F3E4-71BF-4B92-BDBD-025D458EA76D}" sibTransId="{71C1BCDA-9784-4D86-B5D5-115A5B60FF73}"/>
    <dgm:cxn modelId="{5F2E86C8-4482-4379-B4D9-8A2A1EAE2D43}" type="presOf" srcId="{A16FFD84-8D5D-4AD9-8809-36119F5A9DA7}" destId="{5D394FF4-6F8A-4A7B-8489-54CED8CD0683}" srcOrd="0" destOrd="0" presId="urn:microsoft.com/office/officeart/2005/8/layout/hierarchy2"/>
    <dgm:cxn modelId="{1D0745CA-FAE3-4E64-AFCD-79A77238E8DC}" srcId="{5AFE294F-2C5A-4855-92D7-D951F2364B24}" destId="{10AD6D04-1F96-446C-9D6B-934B83F073EE}" srcOrd="0" destOrd="0" parTransId="{830D246C-E2B3-4B4C-B993-2E0FABC2686C}" sibTransId="{71D29F6D-0616-4931-8E8B-F15609D95926}"/>
    <dgm:cxn modelId="{5CF533D5-472A-4E85-A40F-048B6B209FDC}" type="presOf" srcId="{E6546567-B488-4641-9AA3-CED35ED0D688}" destId="{88E8CADF-D61C-4963-84B1-D0394159B4E0}" srcOrd="1" destOrd="0" presId="urn:microsoft.com/office/officeart/2005/8/layout/hierarchy2"/>
    <dgm:cxn modelId="{EF50E0D9-75C0-4830-A879-4CFC9D87A372}" type="presOf" srcId="{61486C40-7D97-49C8-8A96-BD40B321A623}" destId="{225494EB-652A-4D65-94D2-83A08C84923D}" srcOrd="0" destOrd="0" presId="urn:microsoft.com/office/officeart/2005/8/layout/hierarchy2"/>
    <dgm:cxn modelId="{1CB67EDA-692F-45FD-BF2F-E7435FB18A52}" type="presOf" srcId="{C3DA7711-4146-4ED5-99E8-ECB8D8C4E084}" destId="{920BE209-FC72-439E-8655-DD5DBF654EF2}" srcOrd="0" destOrd="0" presId="urn:microsoft.com/office/officeart/2005/8/layout/hierarchy2"/>
    <dgm:cxn modelId="{4D871DDB-9DA3-4E21-9937-E32B127CF2FC}" type="presOf" srcId="{DBF5F3E4-71BF-4B92-BDBD-025D458EA76D}" destId="{6297D3C2-608E-47D4-B5CE-127D5AE86B70}" srcOrd="0" destOrd="0" presId="urn:microsoft.com/office/officeart/2005/8/layout/hierarchy2"/>
    <dgm:cxn modelId="{54D851DB-BA45-42CD-BFE2-2D9291402369}" type="presOf" srcId="{C1252674-5588-44ED-A301-195B49B39ABC}" destId="{1DE68128-9226-40E7-BADF-A0973F6CF436}" srcOrd="1" destOrd="0" presId="urn:microsoft.com/office/officeart/2005/8/layout/hierarchy2"/>
    <dgm:cxn modelId="{06B909E2-B432-4617-AE03-37E659665320}" type="presOf" srcId="{E6546567-B488-4641-9AA3-CED35ED0D688}" destId="{6A29A97E-6AA2-46D2-9C66-A87B7DF2072A}" srcOrd="0" destOrd="0" presId="urn:microsoft.com/office/officeart/2005/8/layout/hierarchy2"/>
    <dgm:cxn modelId="{A8F103E4-DF90-4393-BCED-81D0FEA01869}" srcId="{E1FE6DEB-D733-4C5D-9935-14D400265AD3}" destId="{EB2389D9-6A8D-4BF3-8CE6-C71090DE692D}" srcOrd="0" destOrd="0" parTransId="{2A263EB3-03F7-43B5-AEB3-CCFEA462DC34}" sibTransId="{33F22608-814B-4F31-957D-D5DA47F39D9F}"/>
    <dgm:cxn modelId="{FB6627E5-FE77-4B26-A58F-633806C09359}" type="presOf" srcId="{D88346FF-D787-464C-9514-CF332A046C9A}" destId="{88EE9D3B-D7C6-49BD-9A18-6383852EDBBD}" srcOrd="0" destOrd="0" presId="urn:microsoft.com/office/officeart/2005/8/layout/hierarchy2"/>
    <dgm:cxn modelId="{1B897BFA-1571-427E-8BE4-FDDB58E9C301}" srcId="{4FF9B09C-0A12-4073-B109-DF4E36A63318}" destId="{61486C40-7D97-49C8-8A96-BD40B321A623}" srcOrd="2" destOrd="0" parTransId="{4C540D36-4F2A-4F22-AD96-669FC773C369}" sibTransId="{04936CC4-8C90-43D0-AD1E-62BD62ED5754}"/>
    <dgm:cxn modelId="{6116232C-A963-4924-A734-79F99530C2E0}" type="presParOf" srcId="{8ABBACE0-D732-48D5-9228-1FF1A0DF6403}" destId="{CBD06B68-7236-46D7-8A9F-F5D93428F9DF}" srcOrd="0" destOrd="0" presId="urn:microsoft.com/office/officeart/2005/8/layout/hierarchy2"/>
    <dgm:cxn modelId="{659F47D1-E3FA-44DF-A271-80298EDE88E6}" type="presParOf" srcId="{CBD06B68-7236-46D7-8A9F-F5D93428F9DF}" destId="{72D01C71-4D28-4751-AE67-4DAF562F986E}" srcOrd="0" destOrd="0" presId="urn:microsoft.com/office/officeart/2005/8/layout/hierarchy2"/>
    <dgm:cxn modelId="{5CDFD209-C95A-4488-BEAE-0BA82080493C}" type="presParOf" srcId="{CBD06B68-7236-46D7-8A9F-F5D93428F9DF}" destId="{80ABE848-A785-474B-8807-22701BB118D9}" srcOrd="1" destOrd="0" presId="urn:microsoft.com/office/officeart/2005/8/layout/hierarchy2"/>
    <dgm:cxn modelId="{0B8CD087-7F52-4A57-A3B5-D57674EEF5A0}" type="presParOf" srcId="{80ABE848-A785-474B-8807-22701BB118D9}" destId="{07351BC3-1DCF-4CA0-8978-C7C6A8314A80}" srcOrd="0" destOrd="0" presId="urn:microsoft.com/office/officeart/2005/8/layout/hierarchy2"/>
    <dgm:cxn modelId="{28DF7AF6-6FCE-4610-8C58-35AD600D738A}" type="presParOf" srcId="{07351BC3-1DCF-4CA0-8978-C7C6A8314A80}" destId="{44121C89-9CAB-4C89-9223-4E46D7EB5452}" srcOrd="0" destOrd="0" presId="urn:microsoft.com/office/officeart/2005/8/layout/hierarchy2"/>
    <dgm:cxn modelId="{E59145C0-C36C-421B-A2EC-D78A41B8320C}" type="presParOf" srcId="{80ABE848-A785-474B-8807-22701BB118D9}" destId="{59D983D6-5902-4FC6-9130-675FA295A1C8}" srcOrd="1" destOrd="0" presId="urn:microsoft.com/office/officeart/2005/8/layout/hierarchy2"/>
    <dgm:cxn modelId="{5144715A-538E-401C-B8C4-96AB4A42EB7D}" type="presParOf" srcId="{59D983D6-5902-4FC6-9130-675FA295A1C8}" destId="{FEBFFE11-7BA4-4E4D-9ED0-F3F014C82753}" srcOrd="0" destOrd="0" presId="urn:microsoft.com/office/officeart/2005/8/layout/hierarchy2"/>
    <dgm:cxn modelId="{D9B165C4-CD3C-4CCA-9186-A20373894A96}" type="presParOf" srcId="{59D983D6-5902-4FC6-9130-675FA295A1C8}" destId="{584A3FF6-58F6-4AA0-8FF8-BB2A2D913D00}" srcOrd="1" destOrd="0" presId="urn:microsoft.com/office/officeart/2005/8/layout/hierarchy2"/>
    <dgm:cxn modelId="{AC521AA6-7B31-4E3F-B560-35CF8F56258B}" type="presParOf" srcId="{80ABE848-A785-474B-8807-22701BB118D9}" destId="{08D418A6-E399-4806-B873-20C541234562}" srcOrd="2" destOrd="0" presId="urn:microsoft.com/office/officeart/2005/8/layout/hierarchy2"/>
    <dgm:cxn modelId="{7556EE8F-41D1-46EF-8768-1AAD24E4BA45}" type="presParOf" srcId="{08D418A6-E399-4806-B873-20C541234562}" destId="{FB2CF7E5-76B2-43D4-93B3-73B0458981D7}" srcOrd="0" destOrd="0" presId="urn:microsoft.com/office/officeart/2005/8/layout/hierarchy2"/>
    <dgm:cxn modelId="{D4B6A8AD-0ED8-4944-8280-B2DC2D390EDD}" type="presParOf" srcId="{80ABE848-A785-474B-8807-22701BB118D9}" destId="{1031BF2E-A9B1-46A2-A13B-6621C41939C2}" srcOrd="3" destOrd="0" presId="urn:microsoft.com/office/officeart/2005/8/layout/hierarchy2"/>
    <dgm:cxn modelId="{9F408260-588D-4259-9A75-26C70F60BED0}" type="presParOf" srcId="{1031BF2E-A9B1-46A2-A13B-6621C41939C2}" destId="{FD5D9456-E617-495C-8D9E-0EE1636D7594}" srcOrd="0" destOrd="0" presId="urn:microsoft.com/office/officeart/2005/8/layout/hierarchy2"/>
    <dgm:cxn modelId="{6750D55F-9D65-438C-A3DC-8D7118A27EB0}" type="presParOf" srcId="{1031BF2E-A9B1-46A2-A13B-6621C41939C2}" destId="{60458B42-9FA8-4458-BE0E-66CA9C9B1739}" srcOrd="1" destOrd="0" presId="urn:microsoft.com/office/officeart/2005/8/layout/hierarchy2"/>
    <dgm:cxn modelId="{E2B98A47-C400-4773-9E3B-A2AEEBB7895B}" type="presParOf" srcId="{60458B42-9FA8-4458-BE0E-66CA9C9B1739}" destId="{56425DAF-90DC-43B6-8172-D954D84C523B}" srcOrd="0" destOrd="0" presId="urn:microsoft.com/office/officeart/2005/8/layout/hierarchy2"/>
    <dgm:cxn modelId="{0A6AC690-3EEB-429D-A469-B3B0E5817218}" type="presParOf" srcId="{56425DAF-90DC-43B6-8172-D954D84C523B}" destId="{C23A7F23-D5B0-4BDC-944F-B82D8201E8CC}" srcOrd="0" destOrd="0" presId="urn:microsoft.com/office/officeart/2005/8/layout/hierarchy2"/>
    <dgm:cxn modelId="{02345229-0BBD-4921-8598-097311E7E528}" type="presParOf" srcId="{60458B42-9FA8-4458-BE0E-66CA9C9B1739}" destId="{FA98B1DC-A662-4AF4-B11A-F3E9C8ABD05A}" srcOrd="1" destOrd="0" presId="urn:microsoft.com/office/officeart/2005/8/layout/hierarchy2"/>
    <dgm:cxn modelId="{5058D46E-2FCD-4DDB-972F-34DA06EF30E1}" type="presParOf" srcId="{FA98B1DC-A662-4AF4-B11A-F3E9C8ABD05A}" destId="{9A0D1FD3-CE31-4109-AFCB-132E04B8F5B1}" srcOrd="0" destOrd="0" presId="urn:microsoft.com/office/officeart/2005/8/layout/hierarchy2"/>
    <dgm:cxn modelId="{D98641AB-30A2-4010-BB90-3E68CBC777B0}" type="presParOf" srcId="{FA98B1DC-A662-4AF4-B11A-F3E9C8ABD05A}" destId="{61F80765-E644-4576-90DD-1850AF3B3F28}" srcOrd="1" destOrd="0" presId="urn:microsoft.com/office/officeart/2005/8/layout/hierarchy2"/>
    <dgm:cxn modelId="{05F11D22-2DED-4056-9D8E-91EA99946A28}" type="presParOf" srcId="{60458B42-9FA8-4458-BE0E-66CA9C9B1739}" destId="{89F98EE0-37ED-4BC4-A534-17244150EC1A}" srcOrd="2" destOrd="0" presId="urn:microsoft.com/office/officeart/2005/8/layout/hierarchy2"/>
    <dgm:cxn modelId="{F9C91945-E973-4088-B8A9-6F2150C3B997}" type="presParOf" srcId="{89F98EE0-37ED-4BC4-A534-17244150EC1A}" destId="{2727FF13-F58C-402E-9674-CC6787A510D4}" srcOrd="0" destOrd="0" presId="urn:microsoft.com/office/officeart/2005/8/layout/hierarchy2"/>
    <dgm:cxn modelId="{778C2E73-6566-45B3-A3D0-7E38363C4297}" type="presParOf" srcId="{60458B42-9FA8-4458-BE0E-66CA9C9B1739}" destId="{8705EF60-D732-40C2-942F-53A41988D3C9}" srcOrd="3" destOrd="0" presId="urn:microsoft.com/office/officeart/2005/8/layout/hierarchy2"/>
    <dgm:cxn modelId="{0E7EB94E-DD52-4335-8BEA-44994623C32F}" type="presParOf" srcId="{8705EF60-D732-40C2-942F-53A41988D3C9}" destId="{51F00818-16DA-40AF-9FCE-B69D443DA700}" srcOrd="0" destOrd="0" presId="urn:microsoft.com/office/officeart/2005/8/layout/hierarchy2"/>
    <dgm:cxn modelId="{3E4C3592-2952-4767-B23B-3D10A4287E90}" type="presParOf" srcId="{8705EF60-D732-40C2-942F-53A41988D3C9}" destId="{DBE397FE-62EA-4740-B02E-CE05A353D04D}" srcOrd="1" destOrd="0" presId="urn:microsoft.com/office/officeart/2005/8/layout/hierarchy2"/>
    <dgm:cxn modelId="{5E40D48F-D279-429D-84E0-45061EDDA2A5}" type="presParOf" srcId="{60458B42-9FA8-4458-BE0E-66CA9C9B1739}" destId="{C10ABD33-517B-4D7E-B667-3D2B417A3CD8}" srcOrd="4" destOrd="0" presId="urn:microsoft.com/office/officeart/2005/8/layout/hierarchy2"/>
    <dgm:cxn modelId="{0652CCF1-B83B-4695-A5B4-0CC11D451672}" type="presParOf" srcId="{C10ABD33-517B-4D7E-B667-3D2B417A3CD8}" destId="{EDFB3CE3-7995-40A8-9D59-26E9FD37E3D0}" srcOrd="0" destOrd="0" presId="urn:microsoft.com/office/officeart/2005/8/layout/hierarchy2"/>
    <dgm:cxn modelId="{41A39F37-24F8-4C3B-B4FE-47F04328AD81}" type="presParOf" srcId="{60458B42-9FA8-4458-BE0E-66CA9C9B1739}" destId="{2B16E2E3-CC3B-4EF7-AB20-5D2380AC94D9}" srcOrd="5" destOrd="0" presId="urn:microsoft.com/office/officeart/2005/8/layout/hierarchy2"/>
    <dgm:cxn modelId="{F0305D61-4CF5-4466-9F3B-95A4C9FE710F}" type="presParOf" srcId="{2B16E2E3-CC3B-4EF7-AB20-5D2380AC94D9}" destId="{225494EB-652A-4D65-94D2-83A08C84923D}" srcOrd="0" destOrd="0" presId="urn:microsoft.com/office/officeart/2005/8/layout/hierarchy2"/>
    <dgm:cxn modelId="{32C89CED-7D1A-45F0-9A2D-5C452768B27E}" type="presParOf" srcId="{2B16E2E3-CC3B-4EF7-AB20-5D2380AC94D9}" destId="{A163F39E-8BA9-479E-A39C-8B0760E601DE}" srcOrd="1" destOrd="0" presId="urn:microsoft.com/office/officeart/2005/8/layout/hierarchy2"/>
    <dgm:cxn modelId="{59ACDC37-1E9C-4DAC-9BF1-7BC8E66F7C7C}" type="presParOf" srcId="{80ABE848-A785-474B-8807-22701BB118D9}" destId="{352B7D5A-C3AA-4756-A02F-24B58CA79E83}" srcOrd="4" destOrd="0" presId="urn:microsoft.com/office/officeart/2005/8/layout/hierarchy2"/>
    <dgm:cxn modelId="{E87F2CEB-406F-4F29-B341-4B65A4A2E4A4}" type="presParOf" srcId="{352B7D5A-C3AA-4756-A02F-24B58CA79E83}" destId="{690AD542-D2B3-4DF2-BED6-A5E33BBC133F}" srcOrd="0" destOrd="0" presId="urn:microsoft.com/office/officeart/2005/8/layout/hierarchy2"/>
    <dgm:cxn modelId="{479E1CBD-BE71-4F14-B9DB-847CDB9B414B}" type="presParOf" srcId="{80ABE848-A785-474B-8807-22701BB118D9}" destId="{6C01EF34-D12F-4DA6-9F8B-5330925F2352}" srcOrd="5" destOrd="0" presId="urn:microsoft.com/office/officeart/2005/8/layout/hierarchy2"/>
    <dgm:cxn modelId="{682F518E-C0B0-46AB-BAD1-A9729A189C79}" type="presParOf" srcId="{6C01EF34-D12F-4DA6-9F8B-5330925F2352}" destId="{6AF904CB-5748-418D-AEB1-2B12C8C7A098}" srcOrd="0" destOrd="0" presId="urn:microsoft.com/office/officeart/2005/8/layout/hierarchy2"/>
    <dgm:cxn modelId="{DC387A3F-69BE-4747-915C-C22DA309E5E0}" type="presParOf" srcId="{6C01EF34-D12F-4DA6-9F8B-5330925F2352}" destId="{600FBFA1-F222-4E9E-ADA9-548D0A9A6E74}" srcOrd="1" destOrd="0" presId="urn:microsoft.com/office/officeart/2005/8/layout/hierarchy2"/>
    <dgm:cxn modelId="{A6185404-3177-4513-AB64-7A0B5DF91CDA}" type="presParOf" srcId="{600FBFA1-F222-4E9E-ADA9-548D0A9A6E74}" destId="{8C23B94C-3F42-4C5F-B87D-F1F73584C881}" srcOrd="0" destOrd="0" presId="urn:microsoft.com/office/officeart/2005/8/layout/hierarchy2"/>
    <dgm:cxn modelId="{536B2962-2224-496E-932C-8DD2EFB6CC67}" type="presParOf" srcId="{8C23B94C-3F42-4C5F-B87D-F1F73584C881}" destId="{FD5557A9-947F-45C0-89EB-48D82A3CE3B8}" srcOrd="0" destOrd="0" presId="urn:microsoft.com/office/officeart/2005/8/layout/hierarchy2"/>
    <dgm:cxn modelId="{C91CBBC2-A529-495D-BF8E-4110B639D3ED}" type="presParOf" srcId="{600FBFA1-F222-4E9E-ADA9-548D0A9A6E74}" destId="{95345C08-CDE8-4BA0-8F80-67BBB1312507}" srcOrd="1" destOrd="0" presId="urn:microsoft.com/office/officeart/2005/8/layout/hierarchy2"/>
    <dgm:cxn modelId="{48E45C1E-F1B1-42DA-98B6-4099104041C6}" type="presParOf" srcId="{95345C08-CDE8-4BA0-8F80-67BBB1312507}" destId="{21BB043B-00B1-4EE9-899E-4BA8939CEB2D}" srcOrd="0" destOrd="0" presId="urn:microsoft.com/office/officeart/2005/8/layout/hierarchy2"/>
    <dgm:cxn modelId="{8D866C01-58C9-4266-86E0-3AD298717F8D}" type="presParOf" srcId="{95345C08-CDE8-4BA0-8F80-67BBB1312507}" destId="{402EF506-167C-4B6F-B4AB-EB2C43213253}" srcOrd="1" destOrd="0" presId="urn:microsoft.com/office/officeart/2005/8/layout/hierarchy2"/>
    <dgm:cxn modelId="{C19D2005-4F52-4A74-B32E-0F895E877B17}" type="presParOf" srcId="{402EF506-167C-4B6F-B4AB-EB2C43213253}" destId="{6A29A97E-6AA2-46D2-9C66-A87B7DF2072A}" srcOrd="0" destOrd="0" presId="urn:microsoft.com/office/officeart/2005/8/layout/hierarchy2"/>
    <dgm:cxn modelId="{947C6067-335C-497E-970E-F017AED8A81B}" type="presParOf" srcId="{6A29A97E-6AA2-46D2-9C66-A87B7DF2072A}" destId="{88E8CADF-D61C-4963-84B1-D0394159B4E0}" srcOrd="0" destOrd="0" presId="urn:microsoft.com/office/officeart/2005/8/layout/hierarchy2"/>
    <dgm:cxn modelId="{5A0B233D-9D58-41CA-B97B-289D49930667}" type="presParOf" srcId="{402EF506-167C-4B6F-B4AB-EB2C43213253}" destId="{B4C99511-3E92-49DC-9EC9-7DE1CCCF6BC7}" srcOrd="1" destOrd="0" presId="urn:microsoft.com/office/officeart/2005/8/layout/hierarchy2"/>
    <dgm:cxn modelId="{79B1FC38-6E59-4F14-8E7A-9E4EA36B1A41}" type="presParOf" srcId="{B4C99511-3E92-49DC-9EC9-7DE1CCCF6BC7}" destId="{C1DBEDB6-0791-496F-AE50-BDBAC17C0C08}" srcOrd="0" destOrd="0" presId="urn:microsoft.com/office/officeart/2005/8/layout/hierarchy2"/>
    <dgm:cxn modelId="{CAEA56D0-C457-44D1-BDCA-22B5D0BE87B3}" type="presParOf" srcId="{B4C99511-3E92-49DC-9EC9-7DE1CCCF6BC7}" destId="{DAAEBE34-83B2-4820-B4E6-115F83590A48}" srcOrd="1" destOrd="0" presId="urn:microsoft.com/office/officeart/2005/8/layout/hierarchy2"/>
    <dgm:cxn modelId="{9822EC48-7576-4C20-B91C-80F33D2FFF6E}" type="presParOf" srcId="{402EF506-167C-4B6F-B4AB-EB2C43213253}" destId="{951D619A-66B4-4E78-B99A-91CF5CF81ABE}" srcOrd="2" destOrd="0" presId="urn:microsoft.com/office/officeart/2005/8/layout/hierarchy2"/>
    <dgm:cxn modelId="{DFEA0B10-BD05-4D4F-B000-5CAC68830090}" type="presParOf" srcId="{951D619A-66B4-4E78-B99A-91CF5CF81ABE}" destId="{6493A358-E3AB-4AF4-A773-CC52FF69A528}" srcOrd="0" destOrd="0" presId="urn:microsoft.com/office/officeart/2005/8/layout/hierarchy2"/>
    <dgm:cxn modelId="{4743800F-4363-436F-8261-C9ADD15B1B18}" type="presParOf" srcId="{402EF506-167C-4B6F-B4AB-EB2C43213253}" destId="{6ECE6FD7-1DA1-488C-B814-D34956434E45}" srcOrd="3" destOrd="0" presId="urn:microsoft.com/office/officeart/2005/8/layout/hierarchy2"/>
    <dgm:cxn modelId="{4298BDD6-C399-4CB6-BE1F-0F8C93F06B44}" type="presParOf" srcId="{6ECE6FD7-1DA1-488C-B814-D34956434E45}" destId="{3AA7440C-B955-4225-B8DB-66E5BAC1377C}" srcOrd="0" destOrd="0" presId="urn:microsoft.com/office/officeart/2005/8/layout/hierarchy2"/>
    <dgm:cxn modelId="{D06489F2-6EFD-4529-BCC3-B62494248E71}" type="presParOf" srcId="{6ECE6FD7-1DA1-488C-B814-D34956434E45}" destId="{464B43CA-E911-453C-9C21-9F156A464375}" srcOrd="1" destOrd="0" presId="urn:microsoft.com/office/officeart/2005/8/layout/hierarchy2"/>
    <dgm:cxn modelId="{7AAC4556-702D-4265-9F1B-FE78BCBDC3D3}" type="presParOf" srcId="{600FBFA1-F222-4E9E-ADA9-548D0A9A6E74}" destId="{88EE9D3B-D7C6-49BD-9A18-6383852EDBBD}" srcOrd="2" destOrd="0" presId="urn:microsoft.com/office/officeart/2005/8/layout/hierarchy2"/>
    <dgm:cxn modelId="{06193649-7A72-4F5B-AFDF-CC9543C6B6B3}" type="presParOf" srcId="{88EE9D3B-D7C6-49BD-9A18-6383852EDBBD}" destId="{A0474BAB-F105-45BA-80D6-8F586820BEE1}" srcOrd="0" destOrd="0" presId="urn:microsoft.com/office/officeart/2005/8/layout/hierarchy2"/>
    <dgm:cxn modelId="{AA41C2FE-4C0B-4878-89B1-6B4A7CD8D7C8}" type="presParOf" srcId="{600FBFA1-F222-4E9E-ADA9-548D0A9A6E74}" destId="{A59A0F37-D22B-4E8D-924C-52FD85687492}" srcOrd="3" destOrd="0" presId="urn:microsoft.com/office/officeart/2005/8/layout/hierarchy2"/>
    <dgm:cxn modelId="{366C69B0-A420-470E-B882-03BFBA2EA136}" type="presParOf" srcId="{A59A0F37-D22B-4E8D-924C-52FD85687492}" destId="{9852418C-28F9-4D12-9EA1-861B79015588}" srcOrd="0" destOrd="0" presId="urn:microsoft.com/office/officeart/2005/8/layout/hierarchy2"/>
    <dgm:cxn modelId="{A1255355-077B-4632-BD71-BF25D27A5CFD}" type="presParOf" srcId="{A59A0F37-D22B-4E8D-924C-52FD85687492}" destId="{6635B2A9-DA21-4CB6-9228-C294F684853A}" srcOrd="1" destOrd="0" presId="urn:microsoft.com/office/officeart/2005/8/layout/hierarchy2"/>
    <dgm:cxn modelId="{0BF22591-26FF-407C-ACFC-3E614FDF2C84}" type="presParOf" srcId="{6635B2A9-DA21-4CB6-9228-C294F684853A}" destId="{28617A9A-B035-4566-88A2-9091D7170B69}" srcOrd="0" destOrd="0" presId="urn:microsoft.com/office/officeart/2005/8/layout/hierarchy2"/>
    <dgm:cxn modelId="{E658BE08-2EAB-4C16-9B82-1E564382A67B}" type="presParOf" srcId="{28617A9A-B035-4566-88A2-9091D7170B69}" destId="{9F8811AB-B869-480F-B279-A2112DF9D6B0}" srcOrd="0" destOrd="0" presId="urn:microsoft.com/office/officeart/2005/8/layout/hierarchy2"/>
    <dgm:cxn modelId="{FB6CB13A-729F-46B5-A475-40492E931859}" type="presParOf" srcId="{6635B2A9-DA21-4CB6-9228-C294F684853A}" destId="{DE35203E-6DCC-46F5-979B-1FAD9A7F77A6}" srcOrd="1" destOrd="0" presId="urn:microsoft.com/office/officeart/2005/8/layout/hierarchy2"/>
    <dgm:cxn modelId="{A58CCE8A-D2F7-4532-A791-495BF42E1174}" type="presParOf" srcId="{DE35203E-6DCC-46F5-979B-1FAD9A7F77A6}" destId="{FA4C0BE7-A7F2-4390-8309-69268E411DCA}" srcOrd="0" destOrd="0" presId="urn:microsoft.com/office/officeart/2005/8/layout/hierarchy2"/>
    <dgm:cxn modelId="{4A840E3E-9C48-4769-BF73-A3D1E5BD78A4}" type="presParOf" srcId="{DE35203E-6DCC-46F5-979B-1FAD9A7F77A6}" destId="{9150DA31-D0CF-453A-AE01-07E0B18217C7}" srcOrd="1" destOrd="0" presId="urn:microsoft.com/office/officeart/2005/8/layout/hierarchy2"/>
    <dgm:cxn modelId="{1ED92B92-250C-4143-96CF-310514E784B7}" type="presParOf" srcId="{6635B2A9-DA21-4CB6-9228-C294F684853A}" destId="{5C348736-BFB2-4343-BA48-56B95945530B}" srcOrd="2" destOrd="0" presId="urn:microsoft.com/office/officeart/2005/8/layout/hierarchy2"/>
    <dgm:cxn modelId="{FD4B63C4-2C95-47D8-A1D7-DD68FD2BAB84}" type="presParOf" srcId="{5C348736-BFB2-4343-BA48-56B95945530B}" destId="{1DE68128-9226-40E7-BADF-A0973F6CF436}" srcOrd="0" destOrd="0" presId="urn:microsoft.com/office/officeart/2005/8/layout/hierarchy2"/>
    <dgm:cxn modelId="{5D53B058-9233-47E1-880B-BF6B116C57B0}" type="presParOf" srcId="{6635B2A9-DA21-4CB6-9228-C294F684853A}" destId="{C85BA6B8-00D4-4436-B63A-70A5E096DEF7}" srcOrd="3" destOrd="0" presId="urn:microsoft.com/office/officeart/2005/8/layout/hierarchy2"/>
    <dgm:cxn modelId="{25F33417-6ED8-43AC-86D1-969062A5EA52}" type="presParOf" srcId="{C85BA6B8-00D4-4436-B63A-70A5E096DEF7}" destId="{920BE209-FC72-439E-8655-DD5DBF654EF2}" srcOrd="0" destOrd="0" presId="urn:microsoft.com/office/officeart/2005/8/layout/hierarchy2"/>
    <dgm:cxn modelId="{96D813A0-6C32-4471-ABB2-2EAD3B0A23D8}" type="presParOf" srcId="{C85BA6B8-00D4-4436-B63A-70A5E096DEF7}" destId="{5A681298-6DFB-4B3F-8D68-BE2A94C32382}" srcOrd="1" destOrd="0" presId="urn:microsoft.com/office/officeart/2005/8/layout/hierarchy2"/>
    <dgm:cxn modelId="{9CED7476-23B4-48EB-BF9A-4F9CC6CAA840}" type="presParOf" srcId="{6635B2A9-DA21-4CB6-9228-C294F684853A}" destId="{0DC454D8-0F98-4EEF-B415-98B30D5A282A}" srcOrd="4" destOrd="0" presId="urn:microsoft.com/office/officeart/2005/8/layout/hierarchy2"/>
    <dgm:cxn modelId="{900E3F79-3A6E-4744-BEA9-FE8575246E17}" type="presParOf" srcId="{0DC454D8-0F98-4EEF-B415-98B30D5A282A}" destId="{678FBD4D-035F-4BC6-BDA0-03AA4D8D6692}" srcOrd="0" destOrd="0" presId="urn:microsoft.com/office/officeart/2005/8/layout/hierarchy2"/>
    <dgm:cxn modelId="{88FA4E2A-9090-4C65-89DD-3E802822E3EF}" type="presParOf" srcId="{6635B2A9-DA21-4CB6-9228-C294F684853A}" destId="{C86CCC31-AFFE-4D57-8989-FEB302C5826F}" srcOrd="5" destOrd="0" presId="urn:microsoft.com/office/officeart/2005/8/layout/hierarchy2"/>
    <dgm:cxn modelId="{0F024E5A-D844-4210-95B8-E9D1A492A67C}" type="presParOf" srcId="{C86CCC31-AFFE-4D57-8989-FEB302C5826F}" destId="{60ED3C43-91A0-4C54-BD9F-AF4FB87D4CD2}" srcOrd="0" destOrd="0" presId="urn:microsoft.com/office/officeart/2005/8/layout/hierarchy2"/>
    <dgm:cxn modelId="{86C90F57-C849-4565-94A4-0DEC92E96A65}" type="presParOf" srcId="{C86CCC31-AFFE-4D57-8989-FEB302C5826F}" destId="{2CAF677B-31DD-4954-A249-C4286A7868B5}" srcOrd="1" destOrd="0" presId="urn:microsoft.com/office/officeart/2005/8/layout/hierarchy2"/>
    <dgm:cxn modelId="{7090D721-5919-462F-AF29-BCFECBCA3FFC}" type="presParOf" srcId="{6635B2A9-DA21-4CB6-9228-C294F684853A}" destId="{6297D3C2-608E-47D4-B5CE-127D5AE86B70}" srcOrd="6" destOrd="0" presId="urn:microsoft.com/office/officeart/2005/8/layout/hierarchy2"/>
    <dgm:cxn modelId="{971D8649-7329-4E7D-BA1A-C0CB129E5840}" type="presParOf" srcId="{6297D3C2-608E-47D4-B5CE-127D5AE86B70}" destId="{0021F2AD-9201-433B-A17F-5B7BF402C5CD}" srcOrd="0" destOrd="0" presId="urn:microsoft.com/office/officeart/2005/8/layout/hierarchy2"/>
    <dgm:cxn modelId="{30E627AF-911E-45E3-A1F7-9CF2593AE37C}" type="presParOf" srcId="{6635B2A9-DA21-4CB6-9228-C294F684853A}" destId="{FD908AF9-8759-446B-9B74-8301ADF5B5FF}" srcOrd="7" destOrd="0" presId="urn:microsoft.com/office/officeart/2005/8/layout/hierarchy2"/>
    <dgm:cxn modelId="{C26E9CEC-67C2-4287-AC32-045C3F94BF32}" type="presParOf" srcId="{FD908AF9-8759-446B-9B74-8301ADF5B5FF}" destId="{5D394FF4-6F8A-4A7B-8489-54CED8CD0683}" srcOrd="0" destOrd="0" presId="urn:microsoft.com/office/officeart/2005/8/layout/hierarchy2"/>
    <dgm:cxn modelId="{EDA6D271-76F9-4B7E-9A73-318CA046DC92}" type="presParOf" srcId="{FD908AF9-8759-446B-9B74-8301ADF5B5FF}" destId="{9C737F74-84ED-4102-8280-66EAFB5FD600}" srcOrd="1" destOrd="0" presId="urn:microsoft.com/office/officeart/2005/8/layout/hierarchy2"/>
    <dgm:cxn modelId="{97C26D77-11CA-4941-B297-241AF5E1E4ED}" type="presParOf" srcId="{6635B2A9-DA21-4CB6-9228-C294F684853A}" destId="{974A5AD1-952D-482F-A478-63D06EF74214}" srcOrd="8" destOrd="0" presId="urn:microsoft.com/office/officeart/2005/8/layout/hierarchy2"/>
    <dgm:cxn modelId="{EE3EB5DF-D351-4954-AFBC-71050BDC035F}" type="presParOf" srcId="{974A5AD1-952D-482F-A478-63D06EF74214}" destId="{4C7E4AD9-BD36-4A4B-A11B-809D806995C8}" srcOrd="0" destOrd="0" presId="urn:microsoft.com/office/officeart/2005/8/layout/hierarchy2"/>
    <dgm:cxn modelId="{E22D58A7-3113-4FDA-AE95-2BD20719884F}" type="presParOf" srcId="{6635B2A9-DA21-4CB6-9228-C294F684853A}" destId="{E8AB605D-1974-442A-A19C-397E8B2F87C4}" srcOrd="9" destOrd="0" presId="urn:microsoft.com/office/officeart/2005/8/layout/hierarchy2"/>
    <dgm:cxn modelId="{C3E32480-8BCD-4501-A430-3CFE5E977EB6}" type="presParOf" srcId="{E8AB605D-1974-442A-A19C-397E8B2F87C4}" destId="{DAB8A7DA-073C-4DCB-A4ED-11DD0E9749A3}" srcOrd="0" destOrd="0" presId="urn:microsoft.com/office/officeart/2005/8/layout/hierarchy2"/>
    <dgm:cxn modelId="{422E0FDB-B75E-4C8B-937D-3955A817A9DE}" type="presParOf" srcId="{E8AB605D-1974-442A-A19C-397E8B2F87C4}" destId="{E315827A-A2F8-4F71-9F55-FD759F4906A6}" srcOrd="1" destOrd="0" presId="urn:microsoft.com/office/officeart/2005/8/layout/hierarchy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C12F671-F9BA-43DF-83CA-9AFDF1C1A40E}">
      <dsp:nvSpPr>
        <dsp:cNvPr id="0" name=""/>
        <dsp:cNvSpPr/>
      </dsp:nvSpPr>
      <dsp:spPr>
        <a:xfrm>
          <a:off x="2673" y="72201"/>
          <a:ext cx="2607096" cy="476709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568" tIns="56896" rIns="99568" bIns="56896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400" b="1" kern="1200" noProof="0">
              <a:solidFill>
                <a:srgbClr val="CCFFFF"/>
              </a:solidFill>
            </a:rPr>
            <a:t>Niveau Composant</a:t>
          </a:r>
          <a:br>
            <a:rPr lang="fr-FR" sz="1100" kern="1200" noProof="0"/>
          </a:br>
          <a:r>
            <a:rPr lang="fr-FR" sz="1100" kern="1200" noProof="0"/>
            <a:t>Tests </a:t>
          </a:r>
          <a:r>
            <a:rPr lang="fr-FR" sz="1100" kern="1200" noProof="0" err="1"/>
            <a:t>WebService</a:t>
          </a:r>
          <a:endParaRPr lang="fr-FR" sz="1100" kern="1200" noProof="0"/>
        </a:p>
      </dsp:txBody>
      <dsp:txXfrm>
        <a:off x="2673" y="72201"/>
        <a:ext cx="2607096" cy="476709"/>
      </dsp:txXfrm>
    </dsp:sp>
    <dsp:sp modelId="{8AE768B8-8893-4ADC-BEF0-77025FC5B616}">
      <dsp:nvSpPr>
        <dsp:cNvPr id="0" name=""/>
        <dsp:cNvSpPr/>
      </dsp:nvSpPr>
      <dsp:spPr>
        <a:xfrm>
          <a:off x="2673" y="548910"/>
          <a:ext cx="2607096" cy="2041593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340" tIns="53340" rIns="71120" bIns="80010" numCol="1" spcCol="1270" anchor="t" anchorCtr="0">
          <a:noAutofit/>
        </a:bodyPr>
        <a:lstStyle/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Segoe UI Symbol" panose="020B0502040204020203" pitchFamily="34" charset="0"/>
            <a:buChar char=""/>
          </a:pPr>
          <a:r>
            <a:rPr lang="fr-FR" sz="1000" kern="1200" noProof="0">
              <a:solidFill>
                <a:schemeClr val="accent1"/>
              </a:solidFill>
            </a:rPr>
            <a:t>Quoi : </a:t>
          </a:r>
          <a:r>
            <a:rPr lang="fr-FR" sz="1000" kern="1200" noProof="0"/>
            <a:t>Tester les WebService développés par la Squad.</a:t>
          </a:r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Segoe UI Symbol" panose="020B0502040204020203" pitchFamily="34" charset="0"/>
            <a:buChar char=""/>
          </a:pPr>
          <a:endParaRPr lang="fr-FR" sz="1000" kern="1200" noProof="0"/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Segoe UI Symbol" panose="020B0502040204020203" pitchFamily="34" charset="0"/>
            <a:buChar char=""/>
          </a:pPr>
          <a:r>
            <a:rPr lang="fr-FR" sz="1000" kern="1200" noProof="0">
              <a:solidFill>
                <a:schemeClr val="accent1"/>
              </a:solidFill>
            </a:rPr>
            <a:t>Quand : </a:t>
          </a:r>
          <a:r>
            <a:rPr lang="fr-FR" sz="1000" kern="1200" noProof="0"/>
            <a:t>Dès que la fonctionnalité est testable et que les développements sont terminés.</a:t>
          </a:r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Segoe UI Symbol" panose="020B0502040204020203" pitchFamily="34" charset="0"/>
            <a:buChar char=""/>
          </a:pPr>
          <a:endParaRPr lang="fr-FR" sz="1000" kern="1200" noProof="0"/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Segoe UI Symbol" panose="020B0502040204020203" pitchFamily="34" charset="0"/>
            <a:buChar char=""/>
          </a:pPr>
          <a:r>
            <a:rPr lang="fr-FR" sz="1000" kern="1200" noProof="0">
              <a:solidFill>
                <a:schemeClr val="accent1"/>
              </a:solidFill>
            </a:rPr>
            <a:t>Qui : </a:t>
          </a:r>
          <a:r>
            <a:rPr lang="fr-FR" sz="1000" kern="1200" noProof="0"/>
            <a:t>Testeur ou Automaticiens</a:t>
          </a:r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Segoe UI Symbol" panose="020B0502040204020203" pitchFamily="34" charset="0"/>
            <a:buChar char=""/>
          </a:pPr>
          <a:endParaRPr lang="fr-FR" sz="1000" kern="1200" noProof="0"/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Segoe UI Symbol" panose="020B0502040204020203" pitchFamily="34" charset="0"/>
            <a:buChar char=""/>
          </a:pPr>
          <a:r>
            <a:rPr lang="fr-FR" sz="1000" kern="1200" noProof="0">
              <a:solidFill>
                <a:schemeClr val="accent1"/>
              </a:solidFill>
            </a:rPr>
            <a:t>Comment : </a:t>
          </a:r>
          <a:r>
            <a:rPr lang="fr-FR" sz="1000" kern="1200" noProof="0"/>
            <a:t>Se référer sur l’approche de test API ci-dessous</a:t>
          </a:r>
        </a:p>
      </dsp:txBody>
      <dsp:txXfrm>
        <a:off x="2673" y="548910"/>
        <a:ext cx="2607096" cy="2041593"/>
      </dsp:txXfrm>
    </dsp:sp>
    <dsp:sp modelId="{447C2694-465D-4A86-8CE0-BD44728DF6CB}">
      <dsp:nvSpPr>
        <dsp:cNvPr id="0" name=""/>
        <dsp:cNvSpPr/>
      </dsp:nvSpPr>
      <dsp:spPr>
        <a:xfrm>
          <a:off x="2974764" y="72201"/>
          <a:ext cx="2607096" cy="476709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568" tIns="56896" rIns="99568" bIns="56896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400" b="1" kern="1200" noProof="0">
              <a:solidFill>
                <a:srgbClr val="CCFFFF"/>
              </a:solidFill>
            </a:rPr>
            <a:t>Niveau US</a:t>
          </a:r>
          <a:br>
            <a:rPr lang="fr-FR" sz="1100" kern="1200" noProof="0"/>
          </a:br>
          <a:r>
            <a:rPr lang="fr-FR" sz="1100" kern="1200" noProof="0"/>
            <a:t>Scenarios d’acceptation</a:t>
          </a:r>
        </a:p>
      </dsp:txBody>
      <dsp:txXfrm>
        <a:off x="2974764" y="72201"/>
        <a:ext cx="2607096" cy="476709"/>
      </dsp:txXfrm>
    </dsp:sp>
    <dsp:sp modelId="{3F05C66D-1DE6-4DC5-8F63-94F3B0A201FE}">
      <dsp:nvSpPr>
        <dsp:cNvPr id="0" name=""/>
        <dsp:cNvSpPr/>
      </dsp:nvSpPr>
      <dsp:spPr>
        <a:xfrm>
          <a:off x="2974764" y="548910"/>
          <a:ext cx="2607096" cy="2041593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340" tIns="53340" rIns="71120" bIns="80010" numCol="1" spcCol="1270" anchor="t" anchorCtr="0">
          <a:noAutofit/>
        </a:bodyPr>
        <a:lstStyle/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Segoe UI Symbol" panose="020B0502040204020203" pitchFamily="34" charset="0"/>
            <a:buChar char=""/>
          </a:pPr>
          <a:r>
            <a:rPr lang="fr-FR" sz="1000" kern="1200" noProof="0">
              <a:solidFill>
                <a:schemeClr val="accent1"/>
              </a:solidFill>
            </a:rPr>
            <a:t>Quoi : </a:t>
          </a:r>
          <a:r>
            <a:rPr lang="fr-FR" sz="1000" kern="1200" noProof="0"/>
            <a:t>Automatiser les scenarios d’acceptations. </a:t>
          </a:r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Segoe UI Symbol" panose="020B0502040204020203" pitchFamily="34" charset="0"/>
            <a:buChar char=""/>
          </a:pPr>
          <a:endParaRPr lang="fr-FR" sz="1000" kern="1200" noProof="0"/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Segoe UI Symbol" panose="020B0502040204020203" pitchFamily="34" charset="0"/>
            <a:buChar char=""/>
          </a:pPr>
          <a:r>
            <a:rPr lang="fr-FR" sz="1000" kern="1200" noProof="0">
              <a:solidFill>
                <a:schemeClr val="accent1"/>
              </a:solidFill>
            </a:rPr>
            <a:t>Quand : </a:t>
          </a:r>
          <a:r>
            <a:rPr lang="fr-FR" sz="1000" kern="1200" noProof="0"/>
            <a:t>les scenarios sont documentés durant les sessions 3-amigos (PO, Dev, Test), sous forme de </a:t>
          </a:r>
          <a:r>
            <a:rPr lang="fr-FR" sz="1000" kern="1200" noProof="0" err="1"/>
            <a:t>Gherkin</a:t>
          </a:r>
          <a:endParaRPr lang="fr-FR" sz="1000" kern="1200" noProof="0"/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Segoe UI Symbol" panose="020B0502040204020203" pitchFamily="34" charset="0"/>
            <a:buChar char=""/>
          </a:pPr>
          <a:endParaRPr lang="fr-FR" sz="1000" kern="1200" noProof="0"/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Segoe UI Symbol" panose="020B0502040204020203" pitchFamily="34" charset="0"/>
            <a:buChar char=""/>
          </a:pPr>
          <a:r>
            <a:rPr lang="fr-FR" sz="1000" kern="1200" noProof="0">
              <a:solidFill>
                <a:schemeClr val="accent1"/>
              </a:solidFill>
            </a:rPr>
            <a:t>Qui : </a:t>
          </a:r>
          <a:r>
            <a:rPr lang="fr-FR" sz="1000" kern="1200" noProof="0"/>
            <a:t>Développeur Front</a:t>
          </a:r>
        </a:p>
      </dsp:txBody>
      <dsp:txXfrm>
        <a:off x="2974764" y="548910"/>
        <a:ext cx="2607096" cy="2041593"/>
      </dsp:txXfrm>
    </dsp:sp>
    <dsp:sp modelId="{6B2B08A1-EB76-47DA-A168-45B435542808}">
      <dsp:nvSpPr>
        <dsp:cNvPr id="0" name=""/>
        <dsp:cNvSpPr/>
      </dsp:nvSpPr>
      <dsp:spPr>
        <a:xfrm>
          <a:off x="5946854" y="72201"/>
          <a:ext cx="2607096" cy="476709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568" tIns="56896" rIns="99568" bIns="56896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400" b="1" kern="1200" noProof="0">
              <a:solidFill>
                <a:srgbClr val="CCFFFF"/>
              </a:solidFill>
            </a:rPr>
            <a:t>Niveau MMF</a:t>
          </a:r>
          <a:br>
            <a:rPr lang="fr-FR" sz="1400" kern="1200" noProof="0"/>
          </a:br>
          <a:r>
            <a:rPr lang="fr-FR" sz="1100" kern="1200" noProof="0"/>
            <a:t>Parcours clés</a:t>
          </a:r>
        </a:p>
      </dsp:txBody>
      <dsp:txXfrm>
        <a:off x="5946854" y="72201"/>
        <a:ext cx="2607096" cy="476709"/>
      </dsp:txXfrm>
    </dsp:sp>
    <dsp:sp modelId="{58947632-5A8E-41DE-9844-660592CEE32B}">
      <dsp:nvSpPr>
        <dsp:cNvPr id="0" name=""/>
        <dsp:cNvSpPr/>
      </dsp:nvSpPr>
      <dsp:spPr>
        <a:xfrm>
          <a:off x="5946854" y="548910"/>
          <a:ext cx="2607096" cy="2041593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340" tIns="53340" rIns="71120" bIns="80010" numCol="1" spcCol="1270" anchor="t" anchorCtr="0">
          <a:noAutofit/>
        </a:bodyPr>
        <a:lstStyle/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fr-FR" sz="1000" kern="1200" noProof="0">
              <a:solidFill>
                <a:schemeClr val="accent1"/>
              </a:solidFill>
            </a:rPr>
            <a:t>Quoi : </a:t>
          </a:r>
          <a:r>
            <a:rPr lang="fr-FR" sz="1000" kern="1200" noProof="0"/>
            <a:t>Automatiser </a:t>
          </a:r>
          <a:r>
            <a:rPr lang="fr-FR" sz="1000" strike="noStrike" kern="1200" noProof="0"/>
            <a:t>les parcours utilisateurs  </a:t>
          </a:r>
          <a:r>
            <a:rPr lang="fr-FR" sz="1000" kern="1200" noProof="0"/>
            <a:t>de</a:t>
          </a:r>
          <a:r>
            <a:rPr lang="fr-FR" sz="1000" strike="noStrike" kern="1200" noProof="0"/>
            <a:t> bout-en-bout </a:t>
          </a:r>
          <a:r>
            <a:rPr lang="fr-FR" sz="1000" kern="1200" noProof="0"/>
            <a:t>ayant une forte valeur métier. </a:t>
          </a:r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Segoe UI Symbol" panose="020B0502040204020203" pitchFamily="34" charset="0"/>
            <a:buChar char=""/>
          </a:pPr>
          <a:endParaRPr lang="fr-FR" sz="1000" kern="1200" noProof="0"/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fr-FR" sz="1000" kern="1200" noProof="0">
              <a:solidFill>
                <a:schemeClr val="accent1"/>
              </a:solidFill>
            </a:rPr>
            <a:t>Quand : </a:t>
          </a:r>
          <a:r>
            <a:rPr lang="fr-FR" sz="1000" kern="1200" noProof="0"/>
            <a:t>Identification au début de cadence (ex : PI Planning), Développement en parallèle du logiciel.</a:t>
          </a:r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Segoe UI Symbol" panose="020B0502040204020203" pitchFamily="34" charset="0"/>
            <a:buChar char=""/>
          </a:pPr>
          <a:endParaRPr lang="fr-FR" sz="1000" kern="1200" noProof="0"/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Segoe UI Symbol" panose="020B0502040204020203" pitchFamily="34" charset="0"/>
            <a:buChar char=""/>
          </a:pPr>
          <a:r>
            <a:rPr lang="fr-FR" sz="1000" kern="1200" noProof="0">
              <a:solidFill>
                <a:schemeClr val="accent1"/>
              </a:solidFill>
            </a:rPr>
            <a:t>Qui : </a:t>
          </a:r>
          <a:r>
            <a:rPr lang="fr-FR" sz="1000" kern="1200" noProof="0"/>
            <a:t>Testeur Automaticien</a:t>
          </a:r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Segoe UI Symbol" panose="020B0502040204020203" pitchFamily="34" charset="0"/>
            <a:buChar char=""/>
          </a:pPr>
          <a:endParaRPr lang="fr-FR" sz="1000" kern="1200" noProof="0"/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Segoe UI Symbol" panose="020B0502040204020203" pitchFamily="34" charset="0"/>
            <a:buChar char=""/>
          </a:pPr>
          <a:r>
            <a:rPr lang="fr-FR" sz="1000" kern="1200" noProof="0">
              <a:solidFill>
                <a:schemeClr val="accent1"/>
              </a:solidFill>
            </a:rPr>
            <a:t>Comment : </a:t>
          </a:r>
          <a:r>
            <a:rPr lang="fr-FR" sz="1000" kern="1200" noProof="0"/>
            <a:t>Se référencer sur l’approche de test API ci-dessous</a:t>
          </a:r>
        </a:p>
      </dsp:txBody>
      <dsp:txXfrm>
        <a:off x="5946854" y="548910"/>
        <a:ext cx="2607096" cy="2041593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BACE459-BDF2-4ED5-8F46-77BA86E68B9B}">
      <dsp:nvSpPr>
        <dsp:cNvPr id="0" name=""/>
        <dsp:cNvSpPr/>
      </dsp:nvSpPr>
      <dsp:spPr>
        <a:xfrm>
          <a:off x="77947" y="398657"/>
          <a:ext cx="1088822" cy="35881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/>
            <a:t>PI Planning</a:t>
          </a:r>
          <a:endParaRPr lang="fr-FR" sz="1400" kern="1200"/>
        </a:p>
      </dsp:txBody>
      <dsp:txXfrm>
        <a:off x="77947" y="398657"/>
        <a:ext cx="1088822" cy="358816"/>
      </dsp:txXfrm>
    </dsp:sp>
    <dsp:sp modelId="{62E3C05A-7813-4081-ACBE-6041FCECF7AC}">
      <dsp:nvSpPr>
        <dsp:cNvPr id="0" name=""/>
        <dsp:cNvSpPr/>
      </dsp:nvSpPr>
      <dsp:spPr>
        <a:xfrm>
          <a:off x="76709" y="289528"/>
          <a:ext cx="86610" cy="86610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F34B41E-088A-4908-BE14-43691A34BE0D}">
      <dsp:nvSpPr>
        <dsp:cNvPr id="0" name=""/>
        <dsp:cNvSpPr/>
      </dsp:nvSpPr>
      <dsp:spPr>
        <a:xfrm>
          <a:off x="137337" y="168272"/>
          <a:ext cx="86610" cy="86610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48774E4-5475-4826-99B2-E05957791C13}">
      <dsp:nvSpPr>
        <dsp:cNvPr id="0" name=""/>
        <dsp:cNvSpPr/>
      </dsp:nvSpPr>
      <dsp:spPr>
        <a:xfrm>
          <a:off x="282843" y="192523"/>
          <a:ext cx="136102" cy="136102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BFEAA21-19FD-4CD4-9662-41F7A1E12671}">
      <dsp:nvSpPr>
        <dsp:cNvPr id="0" name=""/>
        <dsp:cNvSpPr/>
      </dsp:nvSpPr>
      <dsp:spPr>
        <a:xfrm>
          <a:off x="404098" y="59143"/>
          <a:ext cx="86610" cy="86610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29C2FED-81B2-48A8-AF3E-75F1384A6ED1}">
      <dsp:nvSpPr>
        <dsp:cNvPr id="0" name=""/>
        <dsp:cNvSpPr/>
      </dsp:nvSpPr>
      <dsp:spPr>
        <a:xfrm>
          <a:off x="561730" y="10641"/>
          <a:ext cx="86610" cy="86610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A8ACDCC-77E4-4AB7-BD56-40FE238CDC5F}">
      <dsp:nvSpPr>
        <dsp:cNvPr id="0" name=""/>
        <dsp:cNvSpPr/>
      </dsp:nvSpPr>
      <dsp:spPr>
        <a:xfrm>
          <a:off x="755739" y="95519"/>
          <a:ext cx="86610" cy="86610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A6EDDE6-60CB-4FAE-803E-81226782716C}">
      <dsp:nvSpPr>
        <dsp:cNvPr id="0" name=""/>
        <dsp:cNvSpPr/>
      </dsp:nvSpPr>
      <dsp:spPr>
        <a:xfrm>
          <a:off x="876994" y="156147"/>
          <a:ext cx="136102" cy="136102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B47AD5C-275F-4180-B894-E018697FF5CD}">
      <dsp:nvSpPr>
        <dsp:cNvPr id="0" name=""/>
        <dsp:cNvSpPr/>
      </dsp:nvSpPr>
      <dsp:spPr>
        <a:xfrm>
          <a:off x="1046751" y="289528"/>
          <a:ext cx="86610" cy="86610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B8E25A5-F6A3-4655-B41F-0E7152250E60}">
      <dsp:nvSpPr>
        <dsp:cNvPr id="0" name=""/>
        <dsp:cNvSpPr/>
      </dsp:nvSpPr>
      <dsp:spPr>
        <a:xfrm>
          <a:off x="1119504" y="422908"/>
          <a:ext cx="86610" cy="86610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464B304-9165-4A65-AC64-78EEDF44DFB3}">
      <dsp:nvSpPr>
        <dsp:cNvPr id="0" name=""/>
        <dsp:cNvSpPr/>
      </dsp:nvSpPr>
      <dsp:spPr>
        <a:xfrm>
          <a:off x="488977" y="168272"/>
          <a:ext cx="222713" cy="222713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E75F35C-6598-41EE-B930-F1AFC9DF11D9}">
      <dsp:nvSpPr>
        <dsp:cNvPr id="0" name=""/>
        <dsp:cNvSpPr/>
      </dsp:nvSpPr>
      <dsp:spPr>
        <a:xfrm>
          <a:off x="16082" y="629042"/>
          <a:ext cx="86610" cy="86610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576FDF3-4DE9-42CF-981F-0F50ACA9ABB7}">
      <dsp:nvSpPr>
        <dsp:cNvPr id="0" name=""/>
        <dsp:cNvSpPr/>
      </dsp:nvSpPr>
      <dsp:spPr>
        <a:xfrm>
          <a:off x="88835" y="738172"/>
          <a:ext cx="136102" cy="136102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D611DA5-9084-4F98-8234-164F5DF058A7}">
      <dsp:nvSpPr>
        <dsp:cNvPr id="0" name=""/>
        <dsp:cNvSpPr/>
      </dsp:nvSpPr>
      <dsp:spPr>
        <a:xfrm>
          <a:off x="270718" y="835176"/>
          <a:ext cx="197967" cy="197967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93570F0-B646-4648-A194-8FF5A456F41F}">
      <dsp:nvSpPr>
        <dsp:cNvPr id="0" name=""/>
        <dsp:cNvSpPr/>
      </dsp:nvSpPr>
      <dsp:spPr>
        <a:xfrm>
          <a:off x="525354" y="992808"/>
          <a:ext cx="86610" cy="86610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4AE6CEB-1DD1-4B51-85F3-E15B1F386B9D}">
      <dsp:nvSpPr>
        <dsp:cNvPr id="0" name=""/>
        <dsp:cNvSpPr/>
      </dsp:nvSpPr>
      <dsp:spPr>
        <a:xfrm>
          <a:off x="573856" y="835176"/>
          <a:ext cx="136102" cy="136102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7893C6F-4CCB-443C-8831-6AE443B57458}">
      <dsp:nvSpPr>
        <dsp:cNvPr id="0" name=""/>
        <dsp:cNvSpPr/>
      </dsp:nvSpPr>
      <dsp:spPr>
        <a:xfrm>
          <a:off x="695111" y="1004934"/>
          <a:ext cx="86610" cy="86610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F087A38-AEBA-4271-823F-E8DCFC5583B5}">
      <dsp:nvSpPr>
        <dsp:cNvPr id="0" name=""/>
        <dsp:cNvSpPr/>
      </dsp:nvSpPr>
      <dsp:spPr>
        <a:xfrm>
          <a:off x="804241" y="810925"/>
          <a:ext cx="197967" cy="197967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824235A-9933-40D5-A096-F8F6EB1A8BDB}">
      <dsp:nvSpPr>
        <dsp:cNvPr id="0" name=""/>
        <dsp:cNvSpPr/>
      </dsp:nvSpPr>
      <dsp:spPr>
        <a:xfrm>
          <a:off x="1071002" y="762423"/>
          <a:ext cx="136102" cy="136102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B4AF352-69E4-4CC2-9236-4CE05CC0131F}">
      <dsp:nvSpPr>
        <dsp:cNvPr id="0" name=""/>
        <dsp:cNvSpPr/>
      </dsp:nvSpPr>
      <dsp:spPr>
        <a:xfrm>
          <a:off x="1207105" y="192322"/>
          <a:ext cx="399714" cy="763098"/>
        </a:xfrm>
        <a:prstGeom prst="chevron">
          <a:avLst>
            <a:gd name="adj" fmla="val 6231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6D4DCF7-D58D-44CF-8362-C3B649A84E00}">
      <dsp:nvSpPr>
        <dsp:cNvPr id="0" name=""/>
        <dsp:cNvSpPr/>
      </dsp:nvSpPr>
      <dsp:spPr>
        <a:xfrm>
          <a:off x="1606820" y="192692"/>
          <a:ext cx="1090130" cy="76309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/>
            <a:t>Sprint 1</a:t>
          </a:r>
          <a:endParaRPr lang="fr-FR" sz="1400" kern="1200"/>
        </a:p>
      </dsp:txBody>
      <dsp:txXfrm>
        <a:off x="1606820" y="192692"/>
        <a:ext cx="1090130" cy="763091"/>
      </dsp:txXfrm>
    </dsp:sp>
    <dsp:sp modelId="{FB1C9CAF-353E-4EB2-BB49-484410D0EC09}">
      <dsp:nvSpPr>
        <dsp:cNvPr id="0" name=""/>
        <dsp:cNvSpPr/>
      </dsp:nvSpPr>
      <dsp:spPr>
        <a:xfrm>
          <a:off x="2696951" y="192322"/>
          <a:ext cx="399714" cy="763098"/>
        </a:xfrm>
        <a:prstGeom prst="chevron">
          <a:avLst>
            <a:gd name="adj" fmla="val 6231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A21DE8C-460A-49F1-B47F-02E88C9BA68F}">
      <dsp:nvSpPr>
        <dsp:cNvPr id="0" name=""/>
        <dsp:cNvSpPr/>
      </dsp:nvSpPr>
      <dsp:spPr>
        <a:xfrm>
          <a:off x="3096665" y="192692"/>
          <a:ext cx="1090130" cy="76309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/>
            <a:t>Sprint 2</a:t>
          </a:r>
          <a:endParaRPr lang="fr-FR" sz="1400" kern="1200"/>
        </a:p>
      </dsp:txBody>
      <dsp:txXfrm>
        <a:off x="3096665" y="192692"/>
        <a:ext cx="1090130" cy="763091"/>
      </dsp:txXfrm>
    </dsp:sp>
    <dsp:sp modelId="{F1B261A2-0BE7-4D3C-A7AF-C55E19FD29B6}">
      <dsp:nvSpPr>
        <dsp:cNvPr id="0" name=""/>
        <dsp:cNvSpPr/>
      </dsp:nvSpPr>
      <dsp:spPr>
        <a:xfrm>
          <a:off x="4186796" y="192322"/>
          <a:ext cx="399714" cy="763098"/>
        </a:xfrm>
        <a:prstGeom prst="chevron">
          <a:avLst>
            <a:gd name="adj" fmla="val 6231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9A1FA05-6803-4B2C-900D-44FE90FC2E15}">
      <dsp:nvSpPr>
        <dsp:cNvPr id="0" name=""/>
        <dsp:cNvSpPr/>
      </dsp:nvSpPr>
      <dsp:spPr>
        <a:xfrm>
          <a:off x="4586511" y="192692"/>
          <a:ext cx="1090130" cy="76309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/>
            <a:t>Sprint 3</a:t>
          </a:r>
          <a:endParaRPr lang="fr-FR" sz="1400" kern="1200"/>
        </a:p>
      </dsp:txBody>
      <dsp:txXfrm>
        <a:off x="4586511" y="192692"/>
        <a:ext cx="1090130" cy="763091"/>
      </dsp:txXfrm>
    </dsp:sp>
    <dsp:sp modelId="{0A0B6F1E-812F-4569-AF21-D993E36FEB76}">
      <dsp:nvSpPr>
        <dsp:cNvPr id="0" name=""/>
        <dsp:cNvSpPr/>
      </dsp:nvSpPr>
      <dsp:spPr>
        <a:xfrm>
          <a:off x="5676642" y="192322"/>
          <a:ext cx="399714" cy="763098"/>
        </a:xfrm>
        <a:prstGeom prst="chevron">
          <a:avLst>
            <a:gd name="adj" fmla="val 6231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2D5A9C5-C1D9-4C88-8AF0-0BA9926E10CF}">
      <dsp:nvSpPr>
        <dsp:cNvPr id="0" name=""/>
        <dsp:cNvSpPr/>
      </dsp:nvSpPr>
      <dsp:spPr>
        <a:xfrm>
          <a:off x="6076356" y="192692"/>
          <a:ext cx="1090130" cy="76309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/>
            <a:t>Sprint 4</a:t>
          </a:r>
          <a:endParaRPr lang="fr-FR" sz="1400" kern="1200"/>
        </a:p>
      </dsp:txBody>
      <dsp:txXfrm>
        <a:off x="6076356" y="192692"/>
        <a:ext cx="1090130" cy="763091"/>
      </dsp:txXfrm>
    </dsp:sp>
    <dsp:sp modelId="{2BAEE747-4822-411B-B5E7-A9E477BDDDC3}">
      <dsp:nvSpPr>
        <dsp:cNvPr id="0" name=""/>
        <dsp:cNvSpPr/>
      </dsp:nvSpPr>
      <dsp:spPr>
        <a:xfrm>
          <a:off x="7166487" y="192322"/>
          <a:ext cx="399714" cy="763098"/>
        </a:xfrm>
        <a:prstGeom prst="chevron">
          <a:avLst>
            <a:gd name="adj" fmla="val 6231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465A32E-0D57-42B9-A5D0-F6086BC8EAFE}">
      <dsp:nvSpPr>
        <dsp:cNvPr id="0" name=""/>
        <dsp:cNvSpPr/>
      </dsp:nvSpPr>
      <dsp:spPr>
        <a:xfrm>
          <a:off x="7609807" y="129258"/>
          <a:ext cx="926611" cy="926611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/>
            <a:t>Fin de cadence</a:t>
          </a:r>
          <a:endParaRPr lang="fr-FR" sz="1400" kern="1200"/>
        </a:p>
      </dsp:txBody>
      <dsp:txXfrm>
        <a:off x="7745506" y="264957"/>
        <a:ext cx="655213" cy="655213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6707F8C-AD22-4F81-B120-58120452DF90}">
      <dsp:nvSpPr>
        <dsp:cNvPr id="0" name=""/>
        <dsp:cNvSpPr/>
      </dsp:nvSpPr>
      <dsp:spPr>
        <a:xfrm>
          <a:off x="2678" y="403631"/>
          <a:ext cx="1171277" cy="702766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shade val="80000"/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shade val="80000"/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shade val="80000"/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200" kern="1200"/>
            <a:t>Identification</a:t>
          </a:r>
        </a:p>
      </dsp:txBody>
      <dsp:txXfrm>
        <a:off x="23261" y="424214"/>
        <a:ext cx="1130111" cy="661600"/>
      </dsp:txXfrm>
    </dsp:sp>
    <dsp:sp modelId="{57BD6244-BC0F-4BD5-95FF-DC0285614CD5}">
      <dsp:nvSpPr>
        <dsp:cNvPr id="0" name=""/>
        <dsp:cNvSpPr/>
      </dsp:nvSpPr>
      <dsp:spPr>
        <a:xfrm>
          <a:off x="1291083" y="609776"/>
          <a:ext cx="248310" cy="290476"/>
        </a:xfrm>
        <a:prstGeom prst="rightArrow">
          <a:avLst>
            <a:gd name="adj1" fmla="val 60000"/>
            <a:gd name="adj2" fmla="val 50000"/>
          </a:avLst>
        </a:prstGeom>
        <a:gradFill rotWithShape="0">
          <a:gsLst>
            <a:gs pos="0">
              <a:schemeClr val="accent1">
                <a:shade val="90000"/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shade val="90000"/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shade val="90000"/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fr-FR" sz="1000" kern="1200"/>
        </a:p>
      </dsp:txBody>
      <dsp:txXfrm>
        <a:off x="1291083" y="667871"/>
        <a:ext cx="173817" cy="174286"/>
      </dsp:txXfrm>
    </dsp:sp>
    <dsp:sp modelId="{33E4CA1C-F562-4D28-8EFC-960DA408E4F1}">
      <dsp:nvSpPr>
        <dsp:cNvPr id="0" name=""/>
        <dsp:cNvSpPr/>
      </dsp:nvSpPr>
      <dsp:spPr>
        <a:xfrm>
          <a:off x="1642467" y="403631"/>
          <a:ext cx="1171277" cy="702766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shade val="80000"/>
                <a:hueOff val="114498"/>
                <a:satOff val="-26903"/>
                <a:lumOff val="13793"/>
                <a:alphaOff val="0"/>
                <a:shade val="51000"/>
                <a:satMod val="130000"/>
              </a:schemeClr>
            </a:gs>
            <a:gs pos="80000">
              <a:schemeClr val="accent1">
                <a:shade val="80000"/>
                <a:hueOff val="114498"/>
                <a:satOff val="-26903"/>
                <a:lumOff val="13793"/>
                <a:alphaOff val="0"/>
                <a:shade val="93000"/>
                <a:satMod val="130000"/>
              </a:schemeClr>
            </a:gs>
            <a:gs pos="100000">
              <a:schemeClr val="accent1">
                <a:shade val="80000"/>
                <a:hueOff val="114498"/>
                <a:satOff val="-26903"/>
                <a:lumOff val="13793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200" kern="1200"/>
            <a:t>Analyse</a:t>
          </a:r>
        </a:p>
      </dsp:txBody>
      <dsp:txXfrm>
        <a:off x="1663050" y="424214"/>
        <a:ext cx="1130111" cy="661600"/>
      </dsp:txXfrm>
    </dsp:sp>
    <dsp:sp modelId="{31D37D7B-D7F9-4027-824C-31D812A53532}">
      <dsp:nvSpPr>
        <dsp:cNvPr id="0" name=""/>
        <dsp:cNvSpPr/>
      </dsp:nvSpPr>
      <dsp:spPr>
        <a:xfrm>
          <a:off x="2930872" y="609776"/>
          <a:ext cx="248310" cy="290476"/>
        </a:xfrm>
        <a:prstGeom prst="rightArrow">
          <a:avLst>
            <a:gd name="adj1" fmla="val 60000"/>
            <a:gd name="adj2" fmla="val 50000"/>
          </a:avLst>
        </a:prstGeom>
        <a:gradFill rotWithShape="0">
          <a:gsLst>
            <a:gs pos="0">
              <a:schemeClr val="accent1">
                <a:shade val="90000"/>
                <a:hueOff val="172869"/>
                <a:satOff val="-40270"/>
                <a:lumOff val="20031"/>
                <a:alphaOff val="0"/>
                <a:shade val="51000"/>
                <a:satMod val="130000"/>
              </a:schemeClr>
            </a:gs>
            <a:gs pos="80000">
              <a:schemeClr val="accent1">
                <a:shade val="90000"/>
                <a:hueOff val="172869"/>
                <a:satOff val="-40270"/>
                <a:lumOff val="20031"/>
                <a:alphaOff val="0"/>
                <a:shade val="93000"/>
                <a:satMod val="130000"/>
              </a:schemeClr>
            </a:gs>
            <a:gs pos="100000">
              <a:schemeClr val="accent1">
                <a:shade val="90000"/>
                <a:hueOff val="172869"/>
                <a:satOff val="-40270"/>
                <a:lumOff val="20031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fr-FR" sz="1000" kern="1200"/>
        </a:p>
      </dsp:txBody>
      <dsp:txXfrm>
        <a:off x="2930872" y="667871"/>
        <a:ext cx="173817" cy="174286"/>
      </dsp:txXfrm>
    </dsp:sp>
    <dsp:sp modelId="{6F612A83-CB00-4B99-93B6-D1CF8081CF6F}">
      <dsp:nvSpPr>
        <dsp:cNvPr id="0" name=""/>
        <dsp:cNvSpPr/>
      </dsp:nvSpPr>
      <dsp:spPr>
        <a:xfrm>
          <a:off x="3282255" y="403631"/>
          <a:ext cx="1171277" cy="702766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shade val="80000"/>
                <a:hueOff val="228995"/>
                <a:satOff val="-53807"/>
                <a:lumOff val="27585"/>
                <a:alphaOff val="0"/>
                <a:shade val="51000"/>
                <a:satMod val="130000"/>
              </a:schemeClr>
            </a:gs>
            <a:gs pos="80000">
              <a:schemeClr val="accent1">
                <a:shade val="80000"/>
                <a:hueOff val="228995"/>
                <a:satOff val="-53807"/>
                <a:lumOff val="27585"/>
                <a:alphaOff val="0"/>
                <a:shade val="93000"/>
                <a:satMod val="130000"/>
              </a:schemeClr>
            </a:gs>
            <a:gs pos="100000">
              <a:schemeClr val="accent1">
                <a:shade val="80000"/>
                <a:hueOff val="228995"/>
                <a:satOff val="-53807"/>
                <a:lumOff val="27585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200" kern="1200"/>
            <a:t>Développement</a:t>
          </a:r>
        </a:p>
      </dsp:txBody>
      <dsp:txXfrm>
        <a:off x="3302838" y="424214"/>
        <a:ext cx="1130111" cy="661600"/>
      </dsp:txXfrm>
    </dsp:sp>
    <dsp:sp modelId="{29A9F598-C56A-4ECC-B935-F6E7379798FA}">
      <dsp:nvSpPr>
        <dsp:cNvPr id="0" name=""/>
        <dsp:cNvSpPr/>
      </dsp:nvSpPr>
      <dsp:spPr>
        <a:xfrm>
          <a:off x="4570660" y="609776"/>
          <a:ext cx="248310" cy="290476"/>
        </a:xfrm>
        <a:prstGeom prst="rightArrow">
          <a:avLst>
            <a:gd name="adj1" fmla="val 60000"/>
            <a:gd name="adj2" fmla="val 50000"/>
          </a:avLst>
        </a:prstGeom>
        <a:gradFill rotWithShape="0">
          <a:gsLst>
            <a:gs pos="0">
              <a:schemeClr val="accent1">
                <a:shade val="90000"/>
                <a:hueOff val="345738"/>
                <a:satOff val="-80540"/>
                <a:lumOff val="40063"/>
                <a:alphaOff val="0"/>
                <a:shade val="51000"/>
                <a:satMod val="130000"/>
              </a:schemeClr>
            </a:gs>
            <a:gs pos="80000">
              <a:schemeClr val="accent1">
                <a:shade val="90000"/>
                <a:hueOff val="345738"/>
                <a:satOff val="-80540"/>
                <a:lumOff val="40063"/>
                <a:alphaOff val="0"/>
                <a:shade val="93000"/>
                <a:satMod val="130000"/>
              </a:schemeClr>
            </a:gs>
            <a:gs pos="100000">
              <a:schemeClr val="accent1">
                <a:shade val="90000"/>
                <a:hueOff val="345738"/>
                <a:satOff val="-80540"/>
                <a:lumOff val="40063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fr-FR" sz="1000" kern="1200"/>
        </a:p>
      </dsp:txBody>
      <dsp:txXfrm>
        <a:off x="4570660" y="667871"/>
        <a:ext cx="173817" cy="174286"/>
      </dsp:txXfrm>
    </dsp:sp>
    <dsp:sp modelId="{0C1BF3A1-07CE-42B8-A142-5038E0946646}">
      <dsp:nvSpPr>
        <dsp:cNvPr id="0" name=""/>
        <dsp:cNvSpPr/>
      </dsp:nvSpPr>
      <dsp:spPr>
        <a:xfrm>
          <a:off x="4922043" y="403631"/>
          <a:ext cx="1171277" cy="702766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shade val="80000"/>
                <a:hueOff val="343493"/>
                <a:satOff val="-80710"/>
                <a:lumOff val="41378"/>
                <a:alphaOff val="0"/>
                <a:shade val="51000"/>
                <a:satMod val="130000"/>
              </a:schemeClr>
            </a:gs>
            <a:gs pos="80000">
              <a:schemeClr val="accent1">
                <a:shade val="80000"/>
                <a:hueOff val="343493"/>
                <a:satOff val="-80710"/>
                <a:lumOff val="41378"/>
                <a:alphaOff val="0"/>
                <a:shade val="93000"/>
                <a:satMod val="130000"/>
              </a:schemeClr>
            </a:gs>
            <a:gs pos="100000">
              <a:schemeClr val="accent1">
                <a:shade val="80000"/>
                <a:hueOff val="343493"/>
                <a:satOff val="-80710"/>
                <a:lumOff val="41378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200" kern="1200"/>
            <a:t>Déploiement</a:t>
          </a:r>
        </a:p>
      </dsp:txBody>
      <dsp:txXfrm>
        <a:off x="4942626" y="424214"/>
        <a:ext cx="1130111" cy="661600"/>
      </dsp:txXfrm>
    </dsp:sp>
  </dsp:spTree>
</dsp:drawing>
</file>

<file path=ppt/diagrams/drawing3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6707F8C-AD22-4F81-B120-58120452DF90}">
      <dsp:nvSpPr>
        <dsp:cNvPr id="0" name=""/>
        <dsp:cNvSpPr/>
      </dsp:nvSpPr>
      <dsp:spPr>
        <a:xfrm>
          <a:off x="2678" y="403631"/>
          <a:ext cx="1171277" cy="702766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shade val="80000"/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shade val="80000"/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shade val="80000"/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200" kern="1200"/>
            <a:t>Identification</a:t>
          </a:r>
        </a:p>
      </dsp:txBody>
      <dsp:txXfrm>
        <a:off x="23261" y="424214"/>
        <a:ext cx="1130111" cy="661600"/>
      </dsp:txXfrm>
    </dsp:sp>
    <dsp:sp modelId="{57BD6244-BC0F-4BD5-95FF-DC0285614CD5}">
      <dsp:nvSpPr>
        <dsp:cNvPr id="0" name=""/>
        <dsp:cNvSpPr/>
      </dsp:nvSpPr>
      <dsp:spPr>
        <a:xfrm>
          <a:off x="1291083" y="609776"/>
          <a:ext cx="248310" cy="290476"/>
        </a:xfrm>
        <a:prstGeom prst="rightArrow">
          <a:avLst>
            <a:gd name="adj1" fmla="val 60000"/>
            <a:gd name="adj2" fmla="val 50000"/>
          </a:avLst>
        </a:prstGeom>
        <a:gradFill rotWithShape="0">
          <a:gsLst>
            <a:gs pos="0">
              <a:schemeClr val="accent1">
                <a:shade val="90000"/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shade val="90000"/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shade val="90000"/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fr-FR" sz="1000" kern="1200"/>
        </a:p>
      </dsp:txBody>
      <dsp:txXfrm>
        <a:off x="1291083" y="667871"/>
        <a:ext cx="173817" cy="174286"/>
      </dsp:txXfrm>
    </dsp:sp>
    <dsp:sp modelId="{33E4CA1C-F562-4D28-8EFC-960DA408E4F1}">
      <dsp:nvSpPr>
        <dsp:cNvPr id="0" name=""/>
        <dsp:cNvSpPr/>
      </dsp:nvSpPr>
      <dsp:spPr>
        <a:xfrm>
          <a:off x="1642467" y="403631"/>
          <a:ext cx="1171277" cy="702766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shade val="80000"/>
                <a:hueOff val="114498"/>
                <a:satOff val="-26903"/>
                <a:lumOff val="13793"/>
                <a:alphaOff val="0"/>
                <a:shade val="51000"/>
                <a:satMod val="130000"/>
              </a:schemeClr>
            </a:gs>
            <a:gs pos="80000">
              <a:schemeClr val="accent1">
                <a:shade val="80000"/>
                <a:hueOff val="114498"/>
                <a:satOff val="-26903"/>
                <a:lumOff val="13793"/>
                <a:alphaOff val="0"/>
                <a:shade val="93000"/>
                <a:satMod val="130000"/>
              </a:schemeClr>
            </a:gs>
            <a:gs pos="100000">
              <a:schemeClr val="accent1">
                <a:shade val="80000"/>
                <a:hueOff val="114498"/>
                <a:satOff val="-26903"/>
                <a:lumOff val="13793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200" kern="1200"/>
            <a:t>Analyse</a:t>
          </a:r>
        </a:p>
      </dsp:txBody>
      <dsp:txXfrm>
        <a:off x="1663050" y="424214"/>
        <a:ext cx="1130111" cy="661600"/>
      </dsp:txXfrm>
    </dsp:sp>
    <dsp:sp modelId="{31D37D7B-D7F9-4027-824C-31D812A53532}">
      <dsp:nvSpPr>
        <dsp:cNvPr id="0" name=""/>
        <dsp:cNvSpPr/>
      </dsp:nvSpPr>
      <dsp:spPr>
        <a:xfrm>
          <a:off x="2930872" y="609776"/>
          <a:ext cx="248310" cy="290476"/>
        </a:xfrm>
        <a:prstGeom prst="rightArrow">
          <a:avLst>
            <a:gd name="adj1" fmla="val 60000"/>
            <a:gd name="adj2" fmla="val 50000"/>
          </a:avLst>
        </a:prstGeom>
        <a:gradFill rotWithShape="0">
          <a:gsLst>
            <a:gs pos="0">
              <a:schemeClr val="accent1">
                <a:shade val="90000"/>
                <a:hueOff val="172869"/>
                <a:satOff val="-40270"/>
                <a:lumOff val="20031"/>
                <a:alphaOff val="0"/>
                <a:shade val="51000"/>
                <a:satMod val="130000"/>
              </a:schemeClr>
            </a:gs>
            <a:gs pos="80000">
              <a:schemeClr val="accent1">
                <a:shade val="90000"/>
                <a:hueOff val="172869"/>
                <a:satOff val="-40270"/>
                <a:lumOff val="20031"/>
                <a:alphaOff val="0"/>
                <a:shade val="93000"/>
                <a:satMod val="130000"/>
              </a:schemeClr>
            </a:gs>
            <a:gs pos="100000">
              <a:schemeClr val="accent1">
                <a:shade val="90000"/>
                <a:hueOff val="172869"/>
                <a:satOff val="-40270"/>
                <a:lumOff val="20031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fr-FR" sz="1000" kern="1200"/>
        </a:p>
      </dsp:txBody>
      <dsp:txXfrm>
        <a:off x="2930872" y="667871"/>
        <a:ext cx="173817" cy="174286"/>
      </dsp:txXfrm>
    </dsp:sp>
    <dsp:sp modelId="{6F612A83-CB00-4B99-93B6-D1CF8081CF6F}">
      <dsp:nvSpPr>
        <dsp:cNvPr id="0" name=""/>
        <dsp:cNvSpPr/>
      </dsp:nvSpPr>
      <dsp:spPr>
        <a:xfrm>
          <a:off x="3282255" y="403631"/>
          <a:ext cx="1171277" cy="702766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shade val="80000"/>
                <a:hueOff val="228995"/>
                <a:satOff val="-53807"/>
                <a:lumOff val="27585"/>
                <a:alphaOff val="0"/>
                <a:shade val="51000"/>
                <a:satMod val="130000"/>
              </a:schemeClr>
            </a:gs>
            <a:gs pos="80000">
              <a:schemeClr val="accent1">
                <a:shade val="80000"/>
                <a:hueOff val="228995"/>
                <a:satOff val="-53807"/>
                <a:lumOff val="27585"/>
                <a:alphaOff val="0"/>
                <a:shade val="93000"/>
                <a:satMod val="130000"/>
              </a:schemeClr>
            </a:gs>
            <a:gs pos="100000">
              <a:schemeClr val="accent1">
                <a:shade val="80000"/>
                <a:hueOff val="228995"/>
                <a:satOff val="-53807"/>
                <a:lumOff val="27585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200" kern="1200"/>
            <a:t>Développement</a:t>
          </a:r>
        </a:p>
      </dsp:txBody>
      <dsp:txXfrm>
        <a:off x="3302838" y="424214"/>
        <a:ext cx="1130111" cy="661600"/>
      </dsp:txXfrm>
    </dsp:sp>
    <dsp:sp modelId="{29A9F598-C56A-4ECC-B935-F6E7379798FA}">
      <dsp:nvSpPr>
        <dsp:cNvPr id="0" name=""/>
        <dsp:cNvSpPr/>
      </dsp:nvSpPr>
      <dsp:spPr>
        <a:xfrm>
          <a:off x="4570660" y="609776"/>
          <a:ext cx="248310" cy="290476"/>
        </a:xfrm>
        <a:prstGeom prst="rightArrow">
          <a:avLst>
            <a:gd name="adj1" fmla="val 60000"/>
            <a:gd name="adj2" fmla="val 50000"/>
          </a:avLst>
        </a:prstGeom>
        <a:gradFill rotWithShape="0">
          <a:gsLst>
            <a:gs pos="0">
              <a:schemeClr val="accent1">
                <a:shade val="90000"/>
                <a:hueOff val="345738"/>
                <a:satOff val="-80540"/>
                <a:lumOff val="40063"/>
                <a:alphaOff val="0"/>
                <a:shade val="51000"/>
                <a:satMod val="130000"/>
              </a:schemeClr>
            </a:gs>
            <a:gs pos="80000">
              <a:schemeClr val="accent1">
                <a:shade val="90000"/>
                <a:hueOff val="345738"/>
                <a:satOff val="-80540"/>
                <a:lumOff val="40063"/>
                <a:alphaOff val="0"/>
                <a:shade val="93000"/>
                <a:satMod val="130000"/>
              </a:schemeClr>
            </a:gs>
            <a:gs pos="100000">
              <a:schemeClr val="accent1">
                <a:shade val="90000"/>
                <a:hueOff val="345738"/>
                <a:satOff val="-80540"/>
                <a:lumOff val="40063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fr-FR" sz="1000" kern="1200"/>
        </a:p>
      </dsp:txBody>
      <dsp:txXfrm>
        <a:off x="4570660" y="667871"/>
        <a:ext cx="173817" cy="174286"/>
      </dsp:txXfrm>
    </dsp:sp>
    <dsp:sp modelId="{0C1BF3A1-07CE-42B8-A142-5038E0946646}">
      <dsp:nvSpPr>
        <dsp:cNvPr id="0" name=""/>
        <dsp:cNvSpPr/>
      </dsp:nvSpPr>
      <dsp:spPr>
        <a:xfrm>
          <a:off x="4922043" y="403631"/>
          <a:ext cx="1171277" cy="702766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shade val="80000"/>
                <a:hueOff val="343493"/>
                <a:satOff val="-80710"/>
                <a:lumOff val="41378"/>
                <a:alphaOff val="0"/>
                <a:shade val="51000"/>
                <a:satMod val="130000"/>
              </a:schemeClr>
            </a:gs>
            <a:gs pos="80000">
              <a:schemeClr val="accent1">
                <a:shade val="80000"/>
                <a:hueOff val="343493"/>
                <a:satOff val="-80710"/>
                <a:lumOff val="41378"/>
                <a:alphaOff val="0"/>
                <a:shade val="93000"/>
                <a:satMod val="130000"/>
              </a:schemeClr>
            </a:gs>
            <a:gs pos="100000">
              <a:schemeClr val="accent1">
                <a:shade val="80000"/>
                <a:hueOff val="343493"/>
                <a:satOff val="-80710"/>
                <a:lumOff val="41378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200" kern="1200"/>
            <a:t>Déploiement</a:t>
          </a:r>
        </a:p>
      </dsp:txBody>
      <dsp:txXfrm>
        <a:off x="4942626" y="424214"/>
        <a:ext cx="1130111" cy="661600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2D01C71-4D28-4751-AE67-4DAF562F986E}">
      <dsp:nvSpPr>
        <dsp:cNvPr id="0" name=""/>
        <dsp:cNvSpPr/>
      </dsp:nvSpPr>
      <dsp:spPr>
        <a:xfrm>
          <a:off x="1586" y="1726473"/>
          <a:ext cx="545776" cy="272888"/>
        </a:xfrm>
        <a:prstGeom prst="roundRect">
          <a:avLst>
            <a:gd name="adj" fmla="val 10000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" tIns="3810" rIns="3810" bIns="381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600" kern="1200" noProof="0"/>
            <a:t>Déclaration Sinistre Auto</a:t>
          </a:r>
        </a:p>
      </dsp:txBody>
      <dsp:txXfrm>
        <a:off x="9579" y="1734466"/>
        <a:ext cx="529790" cy="256902"/>
      </dsp:txXfrm>
    </dsp:sp>
    <dsp:sp modelId="{07351BC3-1DCF-4CA0-8978-C7C6A8314A80}">
      <dsp:nvSpPr>
        <dsp:cNvPr id="0" name=""/>
        <dsp:cNvSpPr/>
      </dsp:nvSpPr>
      <dsp:spPr>
        <a:xfrm rot="16983315">
          <a:off x="173295" y="1385593"/>
          <a:ext cx="966444" cy="13183"/>
        </a:xfrm>
        <a:custGeom>
          <a:avLst/>
          <a:gdLst/>
          <a:ahLst/>
          <a:cxnLst/>
          <a:rect l="0" t="0" r="0" b="0"/>
          <a:pathLst>
            <a:path>
              <a:moveTo>
                <a:pt x="0" y="6591"/>
              </a:moveTo>
              <a:lnTo>
                <a:pt x="966444" y="6591"/>
              </a:lnTo>
            </a:path>
          </a:pathLst>
        </a:custGeom>
        <a:noFill/>
        <a:ln w="254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fr-FR" sz="500" kern="1200"/>
        </a:p>
      </dsp:txBody>
      <dsp:txXfrm>
        <a:off x="632357" y="1368024"/>
        <a:ext cx="48322" cy="48322"/>
      </dsp:txXfrm>
    </dsp:sp>
    <dsp:sp modelId="{FEBFFE11-7BA4-4E4D-9ED0-F3F014C82753}">
      <dsp:nvSpPr>
        <dsp:cNvPr id="0" name=""/>
        <dsp:cNvSpPr/>
      </dsp:nvSpPr>
      <dsp:spPr>
        <a:xfrm>
          <a:off x="765673" y="785008"/>
          <a:ext cx="545776" cy="272888"/>
        </a:xfrm>
        <a:prstGeom prst="roundRect">
          <a:avLst>
            <a:gd name="adj" fmla="val 10000"/>
          </a:avLst>
        </a:prstGeom>
        <a:solidFill>
          <a:schemeClr val="accent5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" tIns="3810" rIns="3810" bIns="381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600" kern="1200" noProof="0"/>
            <a:t>Login Wac</a:t>
          </a:r>
        </a:p>
      </dsp:txBody>
      <dsp:txXfrm>
        <a:off x="773666" y="793001"/>
        <a:ext cx="529790" cy="256902"/>
      </dsp:txXfrm>
    </dsp:sp>
    <dsp:sp modelId="{BAE0B734-93EA-424E-B571-3999877CFB05}">
      <dsp:nvSpPr>
        <dsp:cNvPr id="0" name=""/>
        <dsp:cNvSpPr/>
      </dsp:nvSpPr>
      <dsp:spPr>
        <a:xfrm rot="17350740">
          <a:off x="324254" y="1542504"/>
          <a:ext cx="664526" cy="13183"/>
        </a:xfrm>
        <a:custGeom>
          <a:avLst/>
          <a:gdLst/>
          <a:ahLst/>
          <a:cxnLst/>
          <a:rect l="0" t="0" r="0" b="0"/>
          <a:pathLst>
            <a:path>
              <a:moveTo>
                <a:pt x="0" y="6591"/>
              </a:moveTo>
              <a:lnTo>
                <a:pt x="664526" y="6591"/>
              </a:lnTo>
            </a:path>
          </a:pathLst>
        </a:custGeom>
        <a:noFill/>
        <a:ln w="254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fr-FR" sz="500" kern="1200"/>
        </a:p>
      </dsp:txBody>
      <dsp:txXfrm>
        <a:off x="639905" y="1532483"/>
        <a:ext cx="33226" cy="33226"/>
      </dsp:txXfrm>
    </dsp:sp>
    <dsp:sp modelId="{EE054F72-638C-48B5-834A-D03C2E673A0E}">
      <dsp:nvSpPr>
        <dsp:cNvPr id="0" name=""/>
        <dsp:cNvSpPr/>
      </dsp:nvSpPr>
      <dsp:spPr>
        <a:xfrm>
          <a:off x="765673" y="1098830"/>
          <a:ext cx="545776" cy="272888"/>
        </a:xfrm>
        <a:prstGeom prst="roundRect">
          <a:avLst>
            <a:gd name="adj" fmla="val 10000"/>
          </a:avLst>
        </a:prstGeom>
        <a:solidFill>
          <a:schemeClr val="accent5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" tIns="3810" rIns="3810" bIns="381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600" kern="1200" noProof="0"/>
            <a:t>Nouveau Sinistre Auto</a:t>
          </a:r>
        </a:p>
      </dsp:txBody>
      <dsp:txXfrm>
        <a:off x="773666" y="1106823"/>
        <a:ext cx="529790" cy="256902"/>
      </dsp:txXfrm>
    </dsp:sp>
    <dsp:sp modelId="{1A84CA5D-9E59-4D6C-9AF4-1E24AA6E3239}">
      <dsp:nvSpPr>
        <dsp:cNvPr id="0" name=""/>
        <dsp:cNvSpPr/>
      </dsp:nvSpPr>
      <dsp:spPr>
        <a:xfrm rot="18289469">
          <a:off x="1229462" y="1071772"/>
          <a:ext cx="382287" cy="13183"/>
        </a:xfrm>
        <a:custGeom>
          <a:avLst/>
          <a:gdLst/>
          <a:ahLst/>
          <a:cxnLst/>
          <a:rect l="0" t="0" r="0" b="0"/>
          <a:pathLst>
            <a:path>
              <a:moveTo>
                <a:pt x="0" y="6591"/>
              </a:moveTo>
              <a:lnTo>
                <a:pt x="382287" y="6591"/>
              </a:lnTo>
            </a:path>
          </a:pathLst>
        </a:custGeom>
        <a:noFill/>
        <a:ln w="254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fr-FR" sz="500" kern="1200"/>
        </a:p>
      </dsp:txBody>
      <dsp:txXfrm>
        <a:off x="1411048" y="1068806"/>
        <a:ext cx="19114" cy="19114"/>
      </dsp:txXfrm>
    </dsp:sp>
    <dsp:sp modelId="{FFEB6B91-4E5F-45CE-AAAF-6D5DF7F087BE}">
      <dsp:nvSpPr>
        <dsp:cNvPr id="0" name=""/>
        <dsp:cNvSpPr/>
      </dsp:nvSpPr>
      <dsp:spPr>
        <a:xfrm>
          <a:off x="1529761" y="785008"/>
          <a:ext cx="545776" cy="272888"/>
        </a:xfrm>
        <a:prstGeom prst="roundRect">
          <a:avLst>
            <a:gd name="adj" fmla="val 10000"/>
          </a:avLst>
        </a:prstGeom>
        <a:solidFill>
          <a:schemeClr val="accent6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" tIns="3810" rIns="3810" bIns="381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600" kern="1200" noProof="0"/>
            <a:t>Accident</a:t>
          </a:r>
        </a:p>
      </dsp:txBody>
      <dsp:txXfrm>
        <a:off x="1537754" y="793001"/>
        <a:ext cx="529790" cy="256902"/>
      </dsp:txXfrm>
    </dsp:sp>
    <dsp:sp modelId="{79BBC604-A12B-4AF8-AEF4-8E62B2AE80FA}">
      <dsp:nvSpPr>
        <dsp:cNvPr id="0" name=""/>
        <dsp:cNvSpPr/>
      </dsp:nvSpPr>
      <dsp:spPr>
        <a:xfrm>
          <a:off x="1311450" y="1228682"/>
          <a:ext cx="218310" cy="13183"/>
        </a:xfrm>
        <a:custGeom>
          <a:avLst/>
          <a:gdLst/>
          <a:ahLst/>
          <a:cxnLst/>
          <a:rect l="0" t="0" r="0" b="0"/>
          <a:pathLst>
            <a:path>
              <a:moveTo>
                <a:pt x="0" y="6591"/>
              </a:moveTo>
              <a:lnTo>
                <a:pt x="218310" y="6591"/>
              </a:lnTo>
            </a:path>
          </a:pathLst>
        </a:custGeom>
        <a:noFill/>
        <a:ln w="254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fr-FR" sz="500" kern="1200"/>
        </a:p>
      </dsp:txBody>
      <dsp:txXfrm>
        <a:off x="1415147" y="1229816"/>
        <a:ext cx="10915" cy="10915"/>
      </dsp:txXfrm>
    </dsp:sp>
    <dsp:sp modelId="{BD76F8FC-A23E-4B40-B4CA-38B0CE6BEF78}">
      <dsp:nvSpPr>
        <dsp:cNvPr id="0" name=""/>
        <dsp:cNvSpPr/>
      </dsp:nvSpPr>
      <dsp:spPr>
        <a:xfrm>
          <a:off x="1529761" y="1098830"/>
          <a:ext cx="545776" cy="272888"/>
        </a:xfrm>
        <a:prstGeom prst="roundRect">
          <a:avLst>
            <a:gd name="adj" fmla="val 10000"/>
          </a:avLst>
        </a:prstGeom>
        <a:solidFill>
          <a:schemeClr val="accent6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" tIns="3810" rIns="3810" bIns="381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600" kern="1200" noProof="0"/>
            <a:t>Bris De Glace</a:t>
          </a:r>
        </a:p>
      </dsp:txBody>
      <dsp:txXfrm>
        <a:off x="1537754" y="1106823"/>
        <a:ext cx="529790" cy="256902"/>
      </dsp:txXfrm>
    </dsp:sp>
    <dsp:sp modelId="{B130C37E-7F80-491D-B9BD-9C3C6A54B225}">
      <dsp:nvSpPr>
        <dsp:cNvPr id="0" name=""/>
        <dsp:cNvSpPr/>
      </dsp:nvSpPr>
      <dsp:spPr>
        <a:xfrm rot="3310531">
          <a:off x="1229462" y="1385593"/>
          <a:ext cx="382287" cy="13183"/>
        </a:xfrm>
        <a:custGeom>
          <a:avLst/>
          <a:gdLst/>
          <a:ahLst/>
          <a:cxnLst/>
          <a:rect l="0" t="0" r="0" b="0"/>
          <a:pathLst>
            <a:path>
              <a:moveTo>
                <a:pt x="0" y="6591"/>
              </a:moveTo>
              <a:lnTo>
                <a:pt x="382287" y="6591"/>
              </a:lnTo>
            </a:path>
          </a:pathLst>
        </a:custGeom>
        <a:noFill/>
        <a:ln w="254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fr-FR" sz="500" kern="1200"/>
        </a:p>
      </dsp:txBody>
      <dsp:txXfrm>
        <a:off x="1411048" y="1382628"/>
        <a:ext cx="19114" cy="19114"/>
      </dsp:txXfrm>
    </dsp:sp>
    <dsp:sp modelId="{8CCBE6BB-4028-446B-8065-4C310DBAFE97}">
      <dsp:nvSpPr>
        <dsp:cNvPr id="0" name=""/>
        <dsp:cNvSpPr/>
      </dsp:nvSpPr>
      <dsp:spPr>
        <a:xfrm>
          <a:off x="1529761" y="1412652"/>
          <a:ext cx="545776" cy="272888"/>
        </a:xfrm>
        <a:prstGeom prst="roundRect">
          <a:avLst>
            <a:gd name="adj" fmla="val 10000"/>
          </a:avLst>
        </a:prstGeom>
        <a:solidFill>
          <a:schemeClr val="accent6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" tIns="3810" rIns="3810" bIns="381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600" kern="1200" noProof="0"/>
            <a:t>Administrative</a:t>
          </a:r>
        </a:p>
      </dsp:txBody>
      <dsp:txXfrm>
        <a:off x="1537754" y="1420645"/>
        <a:ext cx="529790" cy="256902"/>
      </dsp:txXfrm>
    </dsp:sp>
    <dsp:sp modelId="{262D4AF0-E33C-4295-823E-D8614F5237EC}">
      <dsp:nvSpPr>
        <dsp:cNvPr id="0" name=""/>
        <dsp:cNvSpPr/>
      </dsp:nvSpPr>
      <dsp:spPr>
        <a:xfrm rot="18289469">
          <a:off x="465374" y="1699415"/>
          <a:ext cx="382287" cy="13183"/>
        </a:xfrm>
        <a:custGeom>
          <a:avLst/>
          <a:gdLst/>
          <a:ahLst/>
          <a:cxnLst/>
          <a:rect l="0" t="0" r="0" b="0"/>
          <a:pathLst>
            <a:path>
              <a:moveTo>
                <a:pt x="0" y="6591"/>
              </a:moveTo>
              <a:lnTo>
                <a:pt x="382287" y="6591"/>
              </a:lnTo>
            </a:path>
          </a:pathLst>
        </a:custGeom>
        <a:noFill/>
        <a:ln w="254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fr-FR" sz="500" kern="1200"/>
        </a:p>
      </dsp:txBody>
      <dsp:txXfrm>
        <a:off x="646961" y="1696449"/>
        <a:ext cx="19114" cy="19114"/>
      </dsp:txXfrm>
    </dsp:sp>
    <dsp:sp modelId="{F6D11BB8-7A0D-460D-B628-36E659A28C4B}">
      <dsp:nvSpPr>
        <dsp:cNvPr id="0" name=""/>
        <dsp:cNvSpPr/>
      </dsp:nvSpPr>
      <dsp:spPr>
        <a:xfrm>
          <a:off x="765673" y="1412652"/>
          <a:ext cx="545776" cy="272888"/>
        </a:xfrm>
        <a:prstGeom prst="roundRect">
          <a:avLst>
            <a:gd name="adj" fmla="val 10000"/>
          </a:avLst>
        </a:prstGeom>
        <a:solidFill>
          <a:schemeClr val="accent5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" tIns="3810" rIns="3810" bIns="381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600" kern="1200" noProof="0"/>
            <a:t>Contexte Client</a:t>
          </a:r>
        </a:p>
      </dsp:txBody>
      <dsp:txXfrm>
        <a:off x="773666" y="1420645"/>
        <a:ext cx="529790" cy="256902"/>
      </dsp:txXfrm>
    </dsp:sp>
    <dsp:sp modelId="{A59584E7-E9E0-4B71-A2F8-6954B0406BCA}">
      <dsp:nvSpPr>
        <dsp:cNvPr id="0" name=""/>
        <dsp:cNvSpPr/>
      </dsp:nvSpPr>
      <dsp:spPr>
        <a:xfrm>
          <a:off x="547362" y="1856326"/>
          <a:ext cx="218310" cy="13183"/>
        </a:xfrm>
        <a:custGeom>
          <a:avLst/>
          <a:gdLst/>
          <a:ahLst/>
          <a:cxnLst/>
          <a:rect l="0" t="0" r="0" b="0"/>
          <a:pathLst>
            <a:path>
              <a:moveTo>
                <a:pt x="0" y="6591"/>
              </a:moveTo>
              <a:lnTo>
                <a:pt x="218310" y="6591"/>
              </a:lnTo>
            </a:path>
          </a:pathLst>
        </a:custGeom>
        <a:noFill/>
        <a:ln w="254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fr-FR" sz="500" kern="1200"/>
        </a:p>
      </dsp:txBody>
      <dsp:txXfrm>
        <a:off x="651060" y="1857460"/>
        <a:ext cx="10915" cy="10915"/>
      </dsp:txXfrm>
    </dsp:sp>
    <dsp:sp modelId="{F03928C4-8CF9-4272-BC2C-D8D3BA3C1C79}">
      <dsp:nvSpPr>
        <dsp:cNvPr id="0" name=""/>
        <dsp:cNvSpPr/>
      </dsp:nvSpPr>
      <dsp:spPr>
        <a:xfrm>
          <a:off x="765673" y="1726473"/>
          <a:ext cx="545776" cy="272888"/>
        </a:xfrm>
        <a:prstGeom prst="roundRect">
          <a:avLst>
            <a:gd name="adj" fmla="val 10000"/>
          </a:avLst>
        </a:prstGeom>
        <a:solidFill>
          <a:schemeClr val="accent5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" tIns="3810" rIns="3810" bIns="381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600" kern="1200" noProof="0"/>
            <a:t>Contexte Sinistre Auto</a:t>
          </a:r>
        </a:p>
      </dsp:txBody>
      <dsp:txXfrm>
        <a:off x="773666" y="1734466"/>
        <a:ext cx="529790" cy="256902"/>
      </dsp:txXfrm>
    </dsp:sp>
    <dsp:sp modelId="{D60F3045-0E15-4EB0-9282-85B79ACDC073}">
      <dsp:nvSpPr>
        <dsp:cNvPr id="0" name=""/>
        <dsp:cNvSpPr/>
      </dsp:nvSpPr>
      <dsp:spPr>
        <a:xfrm rot="3310531">
          <a:off x="465374" y="2013237"/>
          <a:ext cx="382287" cy="13183"/>
        </a:xfrm>
        <a:custGeom>
          <a:avLst/>
          <a:gdLst/>
          <a:ahLst/>
          <a:cxnLst/>
          <a:rect l="0" t="0" r="0" b="0"/>
          <a:pathLst>
            <a:path>
              <a:moveTo>
                <a:pt x="0" y="6591"/>
              </a:moveTo>
              <a:lnTo>
                <a:pt x="382287" y="6591"/>
              </a:lnTo>
            </a:path>
          </a:pathLst>
        </a:custGeom>
        <a:noFill/>
        <a:ln w="254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fr-FR" sz="500" kern="1200"/>
        </a:p>
      </dsp:txBody>
      <dsp:txXfrm>
        <a:off x="646961" y="2010271"/>
        <a:ext cx="19114" cy="19114"/>
      </dsp:txXfrm>
    </dsp:sp>
    <dsp:sp modelId="{59851303-6278-42ED-A2CE-C7F99DCD12FA}">
      <dsp:nvSpPr>
        <dsp:cNvPr id="0" name=""/>
        <dsp:cNvSpPr/>
      </dsp:nvSpPr>
      <dsp:spPr>
        <a:xfrm>
          <a:off x="765673" y="2040295"/>
          <a:ext cx="545776" cy="272888"/>
        </a:xfrm>
        <a:prstGeom prst="roundRect">
          <a:avLst>
            <a:gd name="adj" fmla="val 10000"/>
          </a:avLst>
        </a:prstGeom>
        <a:solidFill>
          <a:schemeClr val="accent5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" tIns="3810" rIns="3810" bIns="381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600" kern="1200" noProof="0"/>
            <a:t>Dommage Assuré</a:t>
          </a:r>
        </a:p>
      </dsp:txBody>
      <dsp:txXfrm>
        <a:off x="773666" y="2048288"/>
        <a:ext cx="529790" cy="256902"/>
      </dsp:txXfrm>
    </dsp:sp>
    <dsp:sp modelId="{34BD2122-6A6F-4F36-8346-864177B8A328}">
      <dsp:nvSpPr>
        <dsp:cNvPr id="0" name=""/>
        <dsp:cNvSpPr/>
      </dsp:nvSpPr>
      <dsp:spPr>
        <a:xfrm rot="4249260">
          <a:off x="324254" y="2170147"/>
          <a:ext cx="664526" cy="13183"/>
        </a:xfrm>
        <a:custGeom>
          <a:avLst/>
          <a:gdLst/>
          <a:ahLst/>
          <a:cxnLst/>
          <a:rect l="0" t="0" r="0" b="0"/>
          <a:pathLst>
            <a:path>
              <a:moveTo>
                <a:pt x="0" y="6591"/>
              </a:moveTo>
              <a:lnTo>
                <a:pt x="664526" y="6591"/>
              </a:lnTo>
            </a:path>
          </a:pathLst>
        </a:custGeom>
        <a:noFill/>
        <a:ln w="254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fr-FR" sz="500" kern="1200"/>
        </a:p>
      </dsp:txBody>
      <dsp:txXfrm>
        <a:off x="639905" y="2160126"/>
        <a:ext cx="33226" cy="33226"/>
      </dsp:txXfrm>
    </dsp:sp>
    <dsp:sp modelId="{69EFC86E-FB14-4F22-A860-2BD1BCEC2237}">
      <dsp:nvSpPr>
        <dsp:cNvPr id="0" name=""/>
        <dsp:cNvSpPr/>
      </dsp:nvSpPr>
      <dsp:spPr>
        <a:xfrm>
          <a:off x="765673" y="2354117"/>
          <a:ext cx="545776" cy="272888"/>
        </a:xfrm>
        <a:prstGeom prst="roundRect">
          <a:avLst>
            <a:gd name="adj" fmla="val 10000"/>
          </a:avLst>
        </a:prstGeom>
        <a:solidFill>
          <a:schemeClr val="accent5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" tIns="3810" rIns="3810" bIns="381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600" kern="1200" noProof="0"/>
            <a:t>Décision Technique</a:t>
          </a:r>
        </a:p>
      </dsp:txBody>
      <dsp:txXfrm>
        <a:off x="773666" y="2362110"/>
        <a:ext cx="529790" cy="256902"/>
      </dsp:txXfrm>
    </dsp:sp>
    <dsp:sp modelId="{46693A0A-26DA-4777-9BDF-D17FB7DB0DA3}">
      <dsp:nvSpPr>
        <dsp:cNvPr id="0" name=""/>
        <dsp:cNvSpPr/>
      </dsp:nvSpPr>
      <dsp:spPr>
        <a:xfrm rot="4616685">
          <a:off x="173295" y="2327058"/>
          <a:ext cx="966444" cy="13183"/>
        </a:xfrm>
        <a:custGeom>
          <a:avLst/>
          <a:gdLst/>
          <a:ahLst/>
          <a:cxnLst/>
          <a:rect l="0" t="0" r="0" b="0"/>
          <a:pathLst>
            <a:path>
              <a:moveTo>
                <a:pt x="0" y="6591"/>
              </a:moveTo>
              <a:lnTo>
                <a:pt x="966444" y="6591"/>
              </a:lnTo>
            </a:path>
          </a:pathLst>
        </a:custGeom>
        <a:noFill/>
        <a:ln w="254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fr-FR" sz="500" kern="1200"/>
        </a:p>
      </dsp:txBody>
      <dsp:txXfrm>
        <a:off x="632357" y="2309489"/>
        <a:ext cx="48322" cy="48322"/>
      </dsp:txXfrm>
    </dsp:sp>
    <dsp:sp modelId="{1B3592ED-7D7F-47BA-87A0-80658E8E7985}">
      <dsp:nvSpPr>
        <dsp:cNvPr id="0" name=""/>
        <dsp:cNvSpPr/>
      </dsp:nvSpPr>
      <dsp:spPr>
        <a:xfrm>
          <a:off x="765673" y="2667938"/>
          <a:ext cx="545776" cy="272888"/>
        </a:xfrm>
        <a:prstGeom prst="roundRect">
          <a:avLst>
            <a:gd name="adj" fmla="val 10000"/>
          </a:avLst>
        </a:prstGeom>
        <a:solidFill>
          <a:schemeClr val="accent5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" tIns="3810" rIns="3810" bIns="381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600" kern="1200" noProof="0"/>
            <a:t>Fin Declaration</a:t>
          </a:r>
          <a:endParaRPr lang="fr-FR" sz="600" kern="1200" noProof="0"/>
        </a:p>
      </dsp:txBody>
      <dsp:txXfrm>
        <a:off x="773666" y="2675931"/>
        <a:ext cx="529790" cy="256902"/>
      </dsp:txXfrm>
    </dsp:sp>
  </dsp:spTree>
</dsp:drawing>
</file>

<file path=ppt/diagrams/drawing4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2D01C71-4D28-4751-AE67-4DAF562F986E}">
      <dsp:nvSpPr>
        <dsp:cNvPr id="0" name=""/>
        <dsp:cNvSpPr/>
      </dsp:nvSpPr>
      <dsp:spPr>
        <a:xfrm>
          <a:off x="1586" y="1726473"/>
          <a:ext cx="545776" cy="272888"/>
        </a:xfrm>
        <a:prstGeom prst="roundRect">
          <a:avLst>
            <a:gd name="adj" fmla="val 10000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" tIns="3810" rIns="3810" bIns="381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600" kern="1200" noProof="0"/>
            <a:t>Déclaration Sinistre Auto</a:t>
          </a:r>
        </a:p>
      </dsp:txBody>
      <dsp:txXfrm>
        <a:off x="9579" y="1734466"/>
        <a:ext cx="529790" cy="256902"/>
      </dsp:txXfrm>
    </dsp:sp>
    <dsp:sp modelId="{07351BC3-1DCF-4CA0-8978-C7C6A8314A80}">
      <dsp:nvSpPr>
        <dsp:cNvPr id="0" name=""/>
        <dsp:cNvSpPr/>
      </dsp:nvSpPr>
      <dsp:spPr>
        <a:xfrm rot="16983315">
          <a:off x="173295" y="1385593"/>
          <a:ext cx="966444" cy="13183"/>
        </a:xfrm>
        <a:custGeom>
          <a:avLst/>
          <a:gdLst/>
          <a:ahLst/>
          <a:cxnLst/>
          <a:rect l="0" t="0" r="0" b="0"/>
          <a:pathLst>
            <a:path>
              <a:moveTo>
                <a:pt x="0" y="6591"/>
              </a:moveTo>
              <a:lnTo>
                <a:pt x="966444" y="6591"/>
              </a:lnTo>
            </a:path>
          </a:pathLst>
        </a:custGeom>
        <a:noFill/>
        <a:ln w="254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fr-FR" sz="500" kern="1200"/>
        </a:p>
      </dsp:txBody>
      <dsp:txXfrm>
        <a:off x="632357" y="1368024"/>
        <a:ext cx="48322" cy="48322"/>
      </dsp:txXfrm>
    </dsp:sp>
    <dsp:sp modelId="{FEBFFE11-7BA4-4E4D-9ED0-F3F014C82753}">
      <dsp:nvSpPr>
        <dsp:cNvPr id="0" name=""/>
        <dsp:cNvSpPr/>
      </dsp:nvSpPr>
      <dsp:spPr>
        <a:xfrm>
          <a:off x="765673" y="785008"/>
          <a:ext cx="545776" cy="272888"/>
        </a:xfrm>
        <a:prstGeom prst="roundRect">
          <a:avLst>
            <a:gd name="adj" fmla="val 10000"/>
          </a:avLst>
        </a:prstGeom>
        <a:solidFill>
          <a:schemeClr val="accent5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" tIns="3810" rIns="3810" bIns="381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600" kern="1200" noProof="0"/>
            <a:t>Login Wac</a:t>
          </a:r>
        </a:p>
      </dsp:txBody>
      <dsp:txXfrm>
        <a:off x="773666" y="793001"/>
        <a:ext cx="529790" cy="256902"/>
      </dsp:txXfrm>
    </dsp:sp>
    <dsp:sp modelId="{BAE0B734-93EA-424E-B571-3999877CFB05}">
      <dsp:nvSpPr>
        <dsp:cNvPr id="0" name=""/>
        <dsp:cNvSpPr/>
      </dsp:nvSpPr>
      <dsp:spPr>
        <a:xfrm rot="17350740">
          <a:off x="324254" y="1542504"/>
          <a:ext cx="664526" cy="13183"/>
        </a:xfrm>
        <a:custGeom>
          <a:avLst/>
          <a:gdLst/>
          <a:ahLst/>
          <a:cxnLst/>
          <a:rect l="0" t="0" r="0" b="0"/>
          <a:pathLst>
            <a:path>
              <a:moveTo>
                <a:pt x="0" y="6591"/>
              </a:moveTo>
              <a:lnTo>
                <a:pt x="664526" y="6591"/>
              </a:lnTo>
            </a:path>
          </a:pathLst>
        </a:custGeom>
        <a:noFill/>
        <a:ln w="254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fr-FR" sz="500" kern="1200"/>
        </a:p>
      </dsp:txBody>
      <dsp:txXfrm>
        <a:off x="639905" y="1532483"/>
        <a:ext cx="33226" cy="33226"/>
      </dsp:txXfrm>
    </dsp:sp>
    <dsp:sp modelId="{EE054F72-638C-48B5-834A-D03C2E673A0E}">
      <dsp:nvSpPr>
        <dsp:cNvPr id="0" name=""/>
        <dsp:cNvSpPr/>
      </dsp:nvSpPr>
      <dsp:spPr>
        <a:xfrm>
          <a:off x="765673" y="1098830"/>
          <a:ext cx="545776" cy="272888"/>
        </a:xfrm>
        <a:prstGeom prst="roundRect">
          <a:avLst>
            <a:gd name="adj" fmla="val 10000"/>
          </a:avLst>
        </a:prstGeom>
        <a:solidFill>
          <a:schemeClr val="accent5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" tIns="3810" rIns="3810" bIns="381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600" kern="1200" noProof="0"/>
            <a:t>Nouveau Sinistre Auto</a:t>
          </a:r>
        </a:p>
      </dsp:txBody>
      <dsp:txXfrm>
        <a:off x="773666" y="1106823"/>
        <a:ext cx="529790" cy="256902"/>
      </dsp:txXfrm>
    </dsp:sp>
    <dsp:sp modelId="{1A84CA5D-9E59-4D6C-9AF4-1E24AA6E3239}">
      <dsp:nvSpPr>
        <dsp:cNvPr id="0" name=""/>
        <dsp:cNvSpPr/>
      </dsp:nvSpPr>
      <dsp:spPr>
        <a:xfrm rot="18289469">
          <a:off x="1229462" y="1071772"/>
          <a:ext cx="382287" cy="13183"/>
        </a:xfrm>
        <a:custGeom>
          <a:avLst/>
          <a:gdLst/>
          <a:ahLst/>
          <a:cxnLst/>
          <a:rect l="0" t="0" r="0" b="0"/>
          <a:pathLst>
            <a:path>
              <a:moveTo>
                <a:pt x="0" y="6591"/>
              </a:moveTo>
              <a:lnTo>
                <a:pt x="382287" y="6591"/>
              </a:lnTo>
            </a:path>
          </a:pathLst>
        </a:custGeom>
        <a:noFill/>
        <a:ln w="254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fr-FR" sz="500" kern="1200"/>
        </a:p>
      </dsp:txBody>
      <dsp:txXfrm>
        <a:off x="1411048" y="1068806"/>
        <a:ext cx="19114" cy="19114"/>
      </dsp:txXfrm>
    </dsp:sp>
    <dsp:sp modelId="{FFEB6B91-4E5F-45CE-AAAF-6D5DF7F087BE}">
      <dsp:nvSpPr>
        <dsp:cNvPr id="0" name=""/>
        <dsp:cNvSpPr/>
      </dsp:nvSpPr>
      <dsp:spPr>
        <a:xfrm>
          <a:off x="1529761" y="785008"/>
          <a:ext cx="545776" cy="272888"/>
        </a:xfrm>
        <a:prstGeom prst="roundRect">
          <a:avLst>
            <a:gd name="adj" fmla="val 10000"/>
          </a:avLst>
        </a:prstGeom>
        <a:solidFill>
          <a:schemeClr val="accent6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" tIns="3810" rIns="3810" bIns="381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600" kern="1200" noProof="0"/>
            <a:t>Accident</a:t>
          </a:r>
        </a:p>
      </dsp:txBody>
      <dsp:txXfrm>
        <a:off x="1537754" y="793001"/>
        <a:ext cx="529790" cy="256902"/>
      </dsp:txXfrm>
    </dsp:sp>
    <dsp:sp modelId="{79BBC604-A12B-4AF8-AEF4-8E62B2AE80FA}">
      <dsp:nvSpPr>
        <dsp:cNvPr id="0" name=""/>
        <dsp:cNvSpPr/>
      </dsp:nvSpPr>
      <dsp:spPr>
        <a:xfrm>
          <a:off x="1311450" y="1228682"/>
          <a:ext cx="218310" cy="13183"/>
        </a:xfrm>
        <a:custGeom>
          <a:avLst/>
          <a:gdLst/>
          <a:ahLst/>
          <a:cxnLst/>
          <a:rect l="0" t="0" r="0" b="0"/>
          <a:pathLst>
            <a:path>
              <a:moveTo>
                <a:pt x="0" y="6591"/>
              </a:moveTo>
              <a:lnTo>
                <a:pt x="218310" y="6591"/>
              </a:lnTo>
            </a:path>
          </a:pathLst>
        </a:custGeom>
        <a:noFill/>
        <a:ln w="254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fr-FR" sz="500" kern="1200"/>
        </a:p>
      </dsp:txBody>
      <dsp:txXfrm>
        <a:off x="1415147" y="1229816"/>
        <a:ext cx="10915" cy="10915"/>
      </dsp:txXfrm>
    </dsp:sp>
    <dsp:sp modelId="{BD76F8FC-A23E-4B40-B4CA-38B0CE6BEF78}">
      <dsp:nvSpPr>
        <dsp:cNvPr id="0" name=""/>
        <dsp:cNvSpPr/>
      </dsp:nvSpPr>
      <dsp:spPr>
        <a:xfrm>
          <a:off x="1529761" y="1098830"/>
          <a:ext cx="545776" cy="272888"/>
        </a:xfrm>
        <a:prstGeom prst="roundRect">
          <a:avLst>
            <a:gd name="adj" fmla="val 10000"/>
          </a:avLst>
        </a:prstGeom>
        <a:solidFill>
          <a:schemeClr val="accent6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" tIns="3810" rIns="3810" bIns="381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600" kern="1200" noProof="0"/>
            <a:t>Bris De Glace</a:t>
          </a:r>
        </a:p>
      </dsp:txBody>
      <dsp:txXfrm>
        <a:off x="1537754" y="1106823"/>
        <a:ext cx="529790" cy="256902"/>
      </dsp:txXfrm>
    </dsp:sp>
    <dsp:sp modelId="{B130C37E-7F80-491D-B9BD-9C3C6A54B225}">
      <dsp:nvSpPr>
        <dsp:cNvPr id="0" name=""/>
        <dsp:cNvSpPr/>
      </dsp:nvSpPr>
      <dsp:spPr>
        <a:xfrm rot="3310531">
          <a:off x="1229462" y="1385593"/>
          <a:ext cx="382287" cy="13183"/>
        </a:xfrm>
        <a:custGeom>
          <a:avLst/>
          <a:gdLst/>
          <a:ahLst/>
          <a:cxnLst/>
          <a:rect l="0" t="0" r="0" b="0"/>
          <a:pathLst>
            <a:path>
              <a:moveTo>
                <a:pt x="0" y="6591"/>
              </a:moveTo>
              <a:lnTo>
                <a:pt x="382287" y="6591"/>
              </a:lnTo>
            </a:path>
          </a:pathLst>
        </a:custGeom>
        <a:noFill/>
        <a:ln w="254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fr-FR" sz="500" kern="1200"/>
        </a:p>
      </dsp:txBody>
      <dsp:txXfrm>
        <a:off x="1411048" y="1382628"/>
        <a:ext cx="19114" cy="19114"/>
      </dsp:txXfrm>
    </dsp:sp>
    <dsp:sp modelId="{8CCBE6BB-4028-446B-8065-4C310DBAFE97}">
      <dsp:nvSpPr>
        <dsp:cNvPr id="0" name=""/>
        <dsp:cNvSpPr/>
      </dsp:nvSpPr>
      <dsp:spPr>
        <a:xfrm>
          <a:off x="1529761" y="1412652"/>
          <a:ext cx="545776" cy="272888"/>
        </a:xfrm>
        <a:prstGeom prst="roundRect">
          <a:avLst>
            <a:gd name="adj" fmla="val 10000"/>
          </a:avLst>
        </a:prstGeom>
        <a:solidFill>
          <a:schemeClr val="accent6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" tIns="3810" rIns="3810" bIns="381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600" kern="1200" noProof="0"/>
            <a:t>Administrative</a:t>
          </a:r>
        </a:p>
      </dsp:txBody>
      <dsp:txXfrm>
        <a:off x="1537754" y="1420645"/>
        <a:ext cx="529790" cy="256902"/>
      </dsp:txXfrm>
    </dsp:sp>
    <dsp:sp modelId="{262D4AF0-E33C-4295-823E-D8614F5237EC}">
      <dsp:nvSpPr>
        <dsp:cNvPr id="0" name=""/>
        <dsp:cNvSpPr/>
      </dsp:nvSpPr>
      <dsp:spPr>
        <a:xfrm rot="18289469">
          <a:off x="465374" y="1699415"/>
          <a:ext cx="382287" cy="13183"/>
        </a:xfrm>
        <a:custGeom>
          <a:avLst/>
          <a:gdLst/>
          <a:ahLst/>
          <a:cxnLst/>
          <a:rect l="0" t="0" r="0" b="0"/>
          <a:pathLst>
            <a:path>
              <a:moveTo>
                <a:pt x="0" y="6591"/>
              </a:moveTo>
              <a:lnTo>
                <a:pt x="382287" y="6591"/>
              </a:lnTo>
            </a:path>
          </a:pathLst>
        </a:custGeom>
        <a:noFill/>
        <a:ln w="254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fr-FR" sz="500" kern="1200"/>
        </a:p>
      </dsp:txBody>
      <dsp:txXfrm>
        <a:off x="646961" y="1696449"/>
        <a:ext cx="19114" cy="19114"/>
      </dsp:txXfrm>
    </dsp:sp>
    <dsp:sp modelId="{F6D11BB8-7A0D-460D-B628-36E659A28C4B}">
      <dsp:nvSpPr>
        <dsp:cNvPr id="0" name=""/>
        <dsp:cNvSpPr/>
      </dsp:nvSpPr>
      <dsp:spPr>
        <a:xfrm>
          <a:off x="765673" y="1412652"/>
          <a:ext cx="545776" cy="272888"/>
        </a:xfrm>
        <a:prstGeom prst="roundRect">
          <a:avLst>
            <a:gd name="adj" fmla="val 10000"/>
          </a:avLst>
        </a:prstGeom>
        <a:solidFill>
          <a:schemeClr val="accent5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" tIns="3810" rIns="3810" bIns="381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600" kern="1200" noProof="0"/>
            <a:t>Contexte Client</a:t>
          </a:r>
        </a:p>
      </dsp:txBody>
      <dsp:txXfrm>
        <a:off x="773666" y="1420645"/>
        <a:ext cx="529790" cy="256902"/>
      </dsp:txXfrm>
    </dsp:sp>
    <dsp:sp modelId="{A59584E7-E9E0-4B71-A2F8-6954B0406BCA}">
      <dsp:nvSpPr>
        <dsp:cNvPr id="0" name=""/>
        <dsp:cNvSpPr/>
      </dsp:nvSpPr>
      <dsp:spPr>
        <a:xfrm>
          <a:off x="547362" y="1856326"/>
          <a:ext cx="218310" cy="13183"/>
        </a:xfrm>
        <a:custGeom>
          <a:avLst/>
          <a:gdLst/>
          <a:ahLst/>
          <a:cxnLst/>
          <a:rect l="0" t="0" r="0" b="0"/>
          <a:pathLst>
            <a:path>
              <a:moveTo>
                <a:pt x="0" y="6591"/>
              </a:moveTo>
              <a:lnTo>
                <a:pt x="218310" y="6591"/>
              </a:lnTo>
            </a:path>
          </a:pathLst>
        </a:custGeom>
        <a:noFill/>
        <a:ln w="254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fr-FR" sz="500" kern="1200"/>
        </a:p>
      </dsp:txBody>
      <dsp:txXfrm>
        <a:off x="651060" y="1857460"/>
        <a:ext cx="10915" cy="10915"/>
      </dsp:txXfrm>
    </dsp:sp>
    <dsp:sp modelId="{F03928C4-8CF9-4272-BC2C-D8D3BA3C1C79}">
      <dsp:nvSpPr>
        <dsp:cNvPr id="0" name=""/>
        <dsp:cNvSpPr/>
      </dsp:nvSpPr>
      <dsp:spPr>
        <a:xfrm>
          <a:off x="765673" y="1726473"/>
          <a:ext cx="545776" cy="272888"/>
        </a:xfrm>
        <a:prstGeom prst="roundRect">
          <a:avLst>
            <a:gd name="adj" fmla="val 10000"/>
          </a:avLst>
        </a:prstGeom>
        <a:solidFill>
          <a:schemeClr val="accent5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" tIns="3810" rIns="3810" bIns="381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600" kern="1200" noProof="0"/>
            <a:t>Contexte Sinistre Auto</a:t>
          </a:r>
        </a:p>
      </dsp:txBody>
      <dsp:txXfrm>
        <a:off x="773666" y="1734466"/>
        <a:ext cx="529790" cy="256902"/>
      </dsp:txXfrm>
    </dsp:sp>
    <dsp:sp modelId="{D60F3045-0E15-4EB0-9282-85B79ACDC073}">
      <dsp:nvSpPr>
        <dsp:cNvPr id="0" name=""/>
        <dsp:cNvSpPr/>
      </dsp:nvSpPr>
      <dsp:spPr>
        <a:xfrm rot="3310531">
          <a:off x="465374" y="2013237"/>
          <a:ext cx="382287" cy="13183"/>
        </a:xfrm>
        <a:custGeom>
          <a:avLst/>
          <a:gdLst/>
          <a:ahLst/>
          <a:cxnLst/>
          <a:rect l="0" t="0" r="0" b="0"/>
          <a:pathLst>
            <a:path>
              <a:moveTo>
                <a:pt x="0" y="6591"/>
              </a:moveTo>
              <a:lnTo>
                <a:pt x="382287" y="6591"/>
              </a:lnTo>
            </a:path>
          </a:pathLst>
        </a:custGeom>
        <a:noFill/>
        <a:ln w="254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fr-FR" sz="500" kern="1200"/>
        </a:p>
      </dsp:txBody>
      <dsp:txXfrm>
        <a:off x="646961" y="2010271"/>
        <a:ext cx="19114" cy="19114"/>
      </dsp:txXfrm>
    </dsp:sp>
    <dsp:sp modelId="{59851303-6278-42ED-A2CE-C7F99DCD12FA}">
      <dsp:nvSpPr>
        <dsp:cNvPr id="0" name=""/>
        <dsp:cNvSpPr/>
      </dsp:nvSpPr>
      <dsp:spPr>
        <a:xfrm>
          <a:off x="765673" y="2040295"/>
          <a:ext cx="545776" cy="272888"/>
        </a:xfrm>
        <a:prstGeom prst="roundRect">
          <a:avLst>
            <a:gd name="adj" fmla="val 10000"/>
          </a:avLst>
        </a:prstGeom>
        <a:solidFill>
          <a:schemeClr val="accent5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" tIns="3810" rIns="3810" bIns="381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600" kern="1200" noProof="0"/>
            <a:t>Dommage Assuré</a:t>
          </a:r>
        </a:p>
      </dsp:txBody>
      <dsp:txXfrm>
        <a:off x="773666" y="2048288"/>
        <a:ext cx="529790" cy="256902"/>
      </dsp:txXfrm>
    </dsp:sp>
    <dsp:sp modelId="{34BD2122-6A6F-4F36-8346-864177B8A328}">
      <dsp:nvSpPr>
        <dsp:cNvPr id="0" name=""/>
        <dsp:cNvSpPr/>
      </dsp:nvSpPr>
      <dsp:spPr>
        <a:xfrm rot="4249260">
          <a:off x="324254" y="2170147"/>
          <a:ext cx="664526" cy="13183"/>
        </a:xfrm>
        <a:custGeom>
          <a:avLst/>
          <a:gdLst/>
          <a:ahLst/>
          <a:cxnLst/>
          <a:rect l="0" t="0" r="0" b="0"/>
          <a:pathLst>
            <a:path>
              <a:moveTo>
                <a:pt x="0" y="6591"/>
              </a:moveTo>
              <a:lnTo>
                <a:pt x="664526" y="6591"/>
              </a:lnTo>
            </a:path>
          </a:pathLst>
        </a:custGeom>
        <a:noFill/>
        <a:ln w="254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fr-FR" sz="500" kern="1200"/>
        </a:p>
      </dsp:txBody>
      <dsp:txXfrm>
        <a:off x="639905" y="2160126"/>
        <a:ext cx="33226" cy="33226"/>
      </dsp:txXfrm>
    </dsp:sp>
    <dsp:sp modelId="{69EFC86E-FB14-4F22-A860-2BD1BCEC2237}">
      <dsp:nvSpPr>
        <dsp:cNvPr id="0" name=""/>
        <dsp:cNvSpPr/>
      </dsp:nvSpPr>
      <dsp:spPr>
        <a:xfrm>
          <a:off x="765673" y="2354117"/>
          <a:ext cx="545776" cy="272888"/>
        </a:xfrm>
        <a:prstGeom prst="roundRect">
          <a:avLst>
            <a:gd name="adj" fmla="val 10000"/>
          </a:avLst>
        </a:prstGeom>
        <a:solidFill>
          <a:schemeClr val="accent5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" tIns="3810" rIns="3810" bIns="381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600" kern="1200" noProof="0"/>
            <a:t>Décision Technique</a:t>
          </a:r>
        </a:p>
      </dsp:txBody>
      <dsp:txXfrm>
        <a:off x="773666" y="2362110"/>
        <a:ext cx="529790" cy="256902"/>
      </dsp:txXfrm>
    </dsp:sp>
    <dsp:sp modelId="{46693A0A-26DA-4777-9BDF-D17FB7DB0DA3}">
      <dsp:nvSpPr>
        <dsp:cNvPr id="0" name=""/>
        <dsp:cNvSpPr/>
      </dsp:nvSpPr>
      <dsp:spPr>
        <a:xfrm rot="4616685">
          <a:off x="173295" y="2327058"/>
          <a:ext cx="966444" cy="13183"/>
        </a:xfrm>
        <a:custGeom>
          <a:avLst/>
          <a:gdLst/>
          <a:ahLst/>
          <a:cxnLst/>
          <a:rect l="0" t="0" r="0" b="0"/>
          <a:pathLst>
            <a:path>
              <a:moveTo>
                <a:pt x="0" y="6591"/>
              </a:moveTo>
              <a:lnTo>
                <a:pt x="966444" y="6591"/>
              </a:lnTo>
            </a:path>
          </a:pathLst>
        </a:custGeom>
        <a:noFill/>
        <a:ln w="254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fr-FR" sz="500" kern="1200"/>
        </a:p>
      </dsp:txBody>
      <dsp:txXfrm>
        <a:off x="632357" y="2309489"/>
        <a:ext cx="48322" cy="48322"/>
      </dsp:txXfrm>
    </dsp:sp>
    <dsp:sp modelId="{1B3592ED-7D7F-47BA-87A0-80658E8E7985}">
      <dsp:nvSpPr>
        <dsp:cNvPr id="0" name=""/>
        <dsp:cNvSpPr/>
      </dsp:nvSpPr>
      <dsp:spPr>
        <a:xfrm>
          <a:off x="765673" y="2667938"/>
          <a:ext cx="545776" cy="272888"/>
        </a:xfrm>
        <a:prstGeom prst="roundRect">
          <a:avLst>
            <a:gd name="adj" fmla="val 10000"/>
          </a:avLst>
        </a:prstGeom>
        <a:solidFill>
          <a:schemeClr val="accent5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" tIns="3810" rIns="3810" bIns="381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600" kern="1200" noProof="0"/>
            <a:t>Fin Declaration</a:t>
          </a:r>
          <a:endParaRPr lang="fr-FR" sz="600" kern="1200" noProof="0"/>
        </a:p>
      </dsp:txBody>
      <dsp:txXfrm>
        <a:off x="773666" y="2675931"/>
        <a:ext cx="529790" cy="256902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2D01C71-4D28-4751-AE67-4DAF562F986E}">
      <dsp:nvSpPr>
        <dsp:cNvPr id="0" name=""/>
        <dsp:cNvSpPr/>
      </dsp:nvSpPr>
      <dsp:spPr>
        <a:xfrm>
          <a:off x="1722" y="1190926"/>
          <a:ext cx="591670" cy="295835"/>
        </a:xfrm>
        <a:prstGeom prst="roundRect">
          <a:avLst>
            <a:gd name="adj" fmla="val 10000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" tIns="3810" rIns="3810" bIns="381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600" kern="1200" noProof="0"/>
            <a:t>Déclaration Sinistre Auto (phase de login)</a:t>
          </a:r>
        </a:p>
      </dsp:txBody>
      <dsp:txXfrm>
        <a:off x="10387" y="1199591"/>
        <a:ext cx="574340" cy="278505"/>
      </dsp:txXfrm>
    </dsp:sp>
    <dsp:sp modelId="{07351BC3-1DCF-4CA0-8978-C7C6A8314A80}">
      <dsp:nvSpPr>
        <dsp:cNvPr id="0" name=""/>
        <dsp:cNvSpPr/>
      </dsp:nvSpPr>
      <dsp:spPr>
        <a:xfrm rot="17090567">
          <a:off x="249786" y="885582"/>
          <a:ext cx="923879" cy="13469"/>
        </a:xfrm>
        <a:custGeom>
          <a:avLst/>
          <a:gdLst/>
          <a:ahLst/>
          <a:cxnLst/>
          <a:rect l="0" t="0" r="0" b="0"/>
          <a:pathLst>
            <a:path>
              <a:moveTo>
                <a:pt x="0" y="6734"/>
              </a:moveTo>
              <a:lnTo>
                <a:pt x="923879" y="6734"/>
              </a:lnTo>
            </a:path>
          </a:pathLst>
        </a:custGeom>
        <a:noFill/>
        <a:ln w="254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fr-FR" sz="500" kern="1200"/>
        </a:p>
      </dsp:txBody>
      <dsp:txXfrm>
        <a:off x="688629" y="869220"/>
        <a:ext cx="46193" cy="46193"/>
      </dsp:txXfrm>
    </dsp:sp>
    <dsp:sp modelId="{FEBFFE11-7BA4-4E4D-9ED0-F3F014C82753}">
      <dsp:nvSpPr>
        <dsp:cNvPr id="0" name=""/>
        <dsp:cNvSpPr/>
      </dsp:nvSpPr>
      <dsp:spPr>
        <a:xfrm>
          <a:off x="830060" y="297874"/>
          <a:ext cx="591670" cy="295835"/>
        </a:xfrm>
        <a:prstGeom prst="roundRect">
          <a:avLst>
            <a:gd name="adj" fmla="val 10000"/>
          </a:avLst>
        </a:prstGeom>
        <a:solidFill>
          <a:schemeClr val="accent5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" tIns="3810" rIns="3810" bIns="381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600" b="0" i="0" u="none" kern="1200"/>
            <a:t>Ouverture Solaris</a:t>
          </a:r>
          <a:endParaRPr lang="fr-FR" sz="600" kern="1200" noProof="0"/>
        </a:p>
      </dsp:txBody>
      <dsp:txXfrm>
        <a:off x="838725" y="306539"/>
        <a:ext cx="574340" cy="278505"/>
      </dsp:txXfrm>
    </dsp:sp>
    <dsp:sp modelId="{08D418A6-E399-4806-B873-20C541234562}">
      <dsp:nvSpPr>
        <dsp:cNvPr id="0" name=""/>
        <dsp:cNvSpPr/>
      </dsp:nvSpPr>
      <dsp:spPr>
        <a:xfrm rot="17590528">
          <a:off x="411041" y="1055688"/>
          <a:ext cx="601369" cy="13469"/>
        </a:xfrm>
        <a:custGeom>
          <a:avLst/>
          <a:gdLst/>
          <a:ahLst/>
          <a:cxnLst/>
          <a:rect l="0" t="0" r="0" b="0"/>
          <a:pathLst>
            <a:path>
              <a:moveTo>
                <a:pt x="0" y="6734"/>
              </a:moveTo>
              <a:lnTo>
                <a:pt x="601369" y="6734"/>
              </a:lnTo>
            </a:path>
          </a:pathLst>
        </a:custGeom>
        <a:noFill/>
        <a:ln w="254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fr-FR" sz="500" kern="1200"/>
        </a:p>
      </dsp:txBody>
      <dsp:txXfrm>
        <a:off x="696692" y="1047388"/>
        <a:ext cx="30068" cy="30068"/>
      </dsp:txXfrm>
    </dsp:sp>
    <dsp:sp modelId="{FD5D9456-E617-495C-8D9E-0EE1636D7594}">
      <dsp:nvSpPr>
        <dsp:cNvPr id="0" name=""/>
        <dsp:cNvSpPr/>
      </dsp:nvSpPr>
      <dsp:spPr>
        <a:xfrm>
          <a:off x="830060" y="638084"/>
          <a:ext cx="591670" cy="295835"/>
        </a:xfrm>
        <a:prstGeom prst="roundRect">
          <a:avLst>
            <a:gd name="adj" fmla="val 10000"/>
          </a:avLst>
        </a:prstGeom>
        <a:solidFill>
          <a:schemeClr val="accent5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" tIns="3810" rIns="3810" bIns="381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600" kern="1200" noProof="0"/>
            <a:t>Phase de login </a:t>
          </a:r>
        </a:p>
      </dsp:txBody>
      <dsp:txXfrm>
        <a:off x="838725" y="646749"/>
        <a:ext cx="574340" cy="278505"/>
      </dsp:txXfrm>
    </dsp:sp>
    <dsp:sp modelId="{56425DAF-90DC-43B6-8172-D954D84C523B}">
      <dsp:nvSpPr>
        <dsp:cNvPr id="0" name=""/>
        <dsp:cNvSpPr/>
      </dsp:nvSpPr>
      <dsp:spPr>
        <a:xfrm rot="18289469">
          <a:off x="1332848" y="609162"/>
          <a:ext cx="414433" cy="13469"/>
        </a:xfrm>
        <a:custGeom>
          <a:avLst/>
          <a:gdLst/>
          <a:ahLst/>
          <a:cxnLst/>
          <a:rect l="0" t="0" r="0" b="0"/>
          <a:pathLst>
            <a:path>
              <a:moveTo>
                <a:pt x="0" y="6734"/>
              </a:moveTo>
              <a:lnTo>
                <a:pt x="414433" y="6734"/>
              </a:lnTo>
            </a:path>
          </a:pathLst>
        </a:custGeom>
        <a:noFill/>
        <a:ln w="254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fr-FR" sz="500" kern="1200"/>
        </a:p>
      </dsp:txBody>
      <dsp:txXfrm>
        <a:off x="1529704" y="605535"/>
        <a:ext cx="20721" cy="20721"/>
      </dsp:txXfrm>
    </dsp:sp>
    <dsp:sp modelId="{9A0D1FD3-CE31-4109-AFCB-132E04B8F5B1}">
      <dsp:nvSpPr>
        <dsp:cNvPr id="0" name=""/>
        <dsp:cNvSpPr/>
      </dsp:nvSpPr>
      <dsp:spPr>
        <a:xfrm>
          <a:off x="1658399" y="297874"/>
          <a:ext cx="591670" cy="295835"/>
        </a:xfrm>
        <a:prstGeom prst="roundRect">
          <a:avLst>
            <a:gd name="adj" fmla="val 10000"/>
          </a:avLst>
        </a:prstGeom>
        <a:solidFill>
          <a:schemeClr val="accent6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" tIns="3810" rIns="3810" bIns="381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600" b="0" i="0" u="none" kern="1200"/>
            <a:t>Login</a:t>
          </a:r>
          <a:endParaRPr lang="fr-FR" sz="600" kern="1200"/>
        </a:p>
      </dsp:txBody>
      <dsp:txXfrm>
        <a:off x="1667064" y="306539"/>
        <a:ext cx="574340" cy="278505"/>
      </dsp:txXfrm>
    </dsp:sp>
    <dsp:sp modelId="{89F98EE0-37ED-4BC4-A534-17244150EC1A}">
      <dsp:nvSpPr>
        <dsp:cNvPr id="0" name=""/>
        <dsp:cNvSpPr/>
      </dsp:nvSpPr>
      <dsp:spPr>
        <a:xfrm>
          <a:off x="1421730" y="779267"/>
          <a:ext cx="236668" cy="13469"/>
        </a:xfrm>
        <a:custGeom>
          <a:avLst/>
          <a:gdLst/>
          <a:ahLst/>
          <a:cxnLst/>
          <a:rect l="0" t="0" r="0" b="0"/>
          <a:pathLst>
            <a:path>
              <a:moveTo>
                <a:pt x="0" y="6734"/>
              </a:moveTo>
              <a:lnTo>
                <a:pt x="236668" y="6734"/>
              </a:lnTo>
            </a:path>
          </a:pathLst>
        </a:custGeom>
        <a:noFill/>
        <a:ln w="254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fr-FR" sz="500" kern="1200"/>
        </a:p>
      </dsp:txBody>
      <dsp:txXfrm>
        <a:off x="1534148" y="780085"/>
        <a:ext cx="11833" cy="11833"/>
      </dsp:txXfrm>
    </dsp:sp>
    <dsp:sp modelId="{51F00818-16DA-40AF-9FCE-B69D443DA700}">
      <dsp:nvSpPr>
        <dsp:cNvPr id="0" name=""/>
        <dsp:cNvSpPr/>
      </dsp:nvSpPr>
      <dsp:spPr>
        <a:xfrm>
          <a:off x="1658399" y="638084"/>
          <a:ext cx="591670" cy="295835"/>
        </a:xfrm>
        <a:prstGeom prst="roundRect">
          <a:avLst>
            <a:gd name="adj" fmla="val 10000"/>
          </a:avLst>
        </a:prstGeom>
        <a:solidFill>
          <a:schemeClr val="accent6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" tIns="3810" rIns="3810" bIns="381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600" b="0" i="0" u="none" kern="1200"/>
            <a:t>Mot de passe</a:t>
          </a:r>
          <a:endParaRPr lang="fr-FR" sz="600" kern="1200"/>
        </a:p>
      </dsp:txBody>
      <dsp:txXfrm>
        <a:off x="1667064" y="646749"/>
        <a:ext cx="574340" cy="278505"/>
      </dsp:txXfrm>
    </dsp:sp>
    <dsp:sp modelId="{C10ABD33-517B-4D7E-B667-3D2B417A3CD8}">
      <dsp:nvSpPr>
        <dsp:cNvPr id="0" name=""/>
        <dsp:cNvSpPr/>
      </dsp:nvSpPr>
      <dsp:spPr>
        <a:xfrm rot="3310531">
          <a:off x="1332848" y="949372"/>
          <a:ext cx="414433" cy="13469"/>
        </a:xfrm>
        <a:custGeom>
          <a:avLst/>
          <a:gdLst/>
          <a:ahLst/>
          <a:cxnLst/>
          <a:rect l="0" t="0" r="0" b="0"/>
          <a:pathLst>
            <a:path>
              <a:moveTo>
                <a:pt x="0" y="6734"/>
              </a:moveTo>
              <a:lnTo>
                <a:pt x="414433" y="6734"/>
              </a:lnTo>
            </a:path>
          </a:pathLst>
        </a:custGeom>
        <a:noFill/>
        <a:ln w="254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fr-FR" sz="500" kern="1200"/>
        </a:p>
      </dsp:txBody>
      <dsp:txXfrm>
        <a:off x="1529704" y="945746"/>
        <a:ext cx="20721" cy="20721"/>
      </dsp:txXfrm>
    </dsp:sp>
    <dsp:sp modelId="{225494EB-652A-4D65-94D2-83A08C84923D}">
      <dsp:nvSpPr>
        <dsp:cNvPr id="0" name=""/>
        <dsp:cNvSpPr/>
      </dsp:nvSpPr>
      <dsp:spPr>
        <a:xfrm>
          <a:off x="1658399" y="978294"/>
          <a:ext cx="591670" cy="295835"/>
        </a:xfrm>
        <a:prstGeom prst="roundRect">
          <a:avLst>
            <a:gd name="adj" fmla="val 10000"/>
          </a:avLst>
        </a:prstGeom>
        <a:solidFill>
          <a:schemeClr val="accent6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" tIns="3810" rIns="3810" bIns="381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600" b="0" i="0" u="none" kern="1200"/>
            <a:t>Valider</a:t>
          </a:r>
          <a:endParaRPr lang="fr-FR" sz="600" kern="1200"/>
        </a:p>
      </dsp:txBody>
      <dsp:txXfrm>
        <a:off x="1667064" y="986959"/>
        <a:ext cx="574340" cy="278505"/>
      </dsp:txXfrm>
    </dsp:sp>
    <dsp:sp modelId="{352B7D5A-C3AA-4756-A02F-24B58CA79E83}">
      <dsp:nvSpPr>
        <dsp:cNvPr id="0" name=""/>
        <dsp:cNvSpPr/>
      </dsp:nvSpPr>
      <dsp:spPr>
        <a:xfrm rot="4509433">
          <a:off x="249786" y="1778635"/>
          <a:ext cx="923879" cy="13469"/>
        </a:xfrm>
        <a:custGeom>
          <a:avLst/>
          <a:gdLst/>
          <a:ahLst/>
          <a:cxnLst/>
          <a:rect l="0" t="0" r="0" b="0"/>
          <a:pathLst>
            <a:path>
              <a:moveTo>
                <a:pt x="0" y="6734"/>
              </a:moveTo>
              <a:lnTo>
                <a:pt x="923879" y="6734"/>
              </a:lnTo>
            </a:path>
          </a:pathLst>
        </a:custGeom>
        <a:noFill/>
        <a:ln w="254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fr-FR" sz="500" kern="1200"/>
        </a:p>
      </dsp:txBody>
      <dsp:txXfrm>
        <a:off x="688629" y="1762272"/>
        <a:ext cx="46193" cy="46193"/>
      </dsp:txXfrm>
    </dsp:sp>
    <dsp:sp modelId="{6AF904CB-5748-418D-AEB1-2B12C8C7A098}">
      <dsp:nvSpPr>
        <dsp:cNvPr id="0" name=""/>
        <dsp:cNvSpPr/>
      </dsp:nvSpPr>
      <dsp:spPr>
        <a:xfrm>
          <a:off x="830060" y="2083978"/>
          <a:ext cx="591670" cy="295835"/>
        </a:xfrm>
        <a:prstGeom prst="roundRect">
          <a:avLst>
            <a:gd name="adj" fmla="val 10000"/>
          </a:avLst>
        </a:prstGeom>
        <a:solidFill>
          <a:schemeClr val="accent5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" tIns="3810" rIns="3810" bIns="381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600" b="1" i="0" u="none" kern="1200"/>
            <a:t>Etape : Déclaration sinistre RCD</a:t>
          </a:r>
          <a:endParaRPr lang="fr-FR" sz="600" kern="1200"/>
        </a:p>
      </dsp:txBody>
      <dsp:txXfrm>
        <a:off x="838725" y="2092643"/>
        <a:ext cx="574340" cy="278505"/>
      </dsp:txXfrm>
    </dsp:sp>
    <dsp:sp modelId="{8C23B94C-3F42-4C5F-B87D-F1F73584C881}">
      <dsp:nvSpPr>
        <dsp:cNvPr id="0" name=""/>
        <dsp:cNvSpPr/>
      </dsp:nvSpPr>
      <dsp:spPr>
        <a:xfrm rot="17500715">
          <a:off x="1219723" y="1927477"/>
          <a:ext cx="640683" cy="13469"/>
        </a:xfrm>
        <a:custGeom>
          <a:avLst/>
          <a:gdLst/>
          <a:ahLst/>
          <a:cxnLst/>
          <a:rect l="0" t="0" r="0" b="0"/>
          <a:pathLst>
            <a:path>
              <a:moveTo>
                <a:pt x="0" y="6734"/>
              </a:moveTo>
              <a:lnTo>
                <a:pt x="640683" y="6734"/>
              </a:lnTo>
            </a:path>
          </a:pathLst>
        </a:custGeom>
        <a:noFill/>
        <a:ln w="254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fr-FR" sz="500" kern="1200"/>
        </a:p>
      </dsp:txBody>
      <dsp:txXfrm>
        <a:off x="1524047" y="1918194"/>
        <a:ext cx="32034" cy="32034"/>
      </dsp:txXfrm>
    </dsp:sp>
    <dsp:sp modelId="{21BB043B-00B1-4EE9-899E-4BA8939CEB2D}">
      <dsp:nvSpPr>
        <dsp:cNvPr id="0" name=""/>
        <dsp:cNvSpPr/>
      </dsp:nvSpPr>
      <dsp:spPr>
        <a:xfrm>
          <a:off x="1658399" y="1488610"/>
          <a:ext cx="591670" cy="295835"/>
        </a:xfrm>
        <a:prstGeom prst="roundRect">
          <a:avLst>
            <a:gd name="adj" fmla="val 10000"/>
          </a:avLst>
        </a:prstGeom>
        <a:solidFill>
          <a:schemeClr val="accent6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" tIns="3810" rIns="3810" bIns="381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600" b="0" i="0" u="none" kern="1200"/>
            <a:t>Ecran : Ma Corbeille</a:t>
          </a:r>
          <a:endParaRPr lang="fr-FR" sz="600" kern="1200"/>
        </a:p>
      </dsp:txBody>
      <dsp:txXfrm>
        <a:off x="1667064" y="1497275"/>
        <a:ext cx="574340" cy="278505"/>
      </dsp:txXfrm>
    </dsp:sp>
    <dsp:sp modelId="{6A29A97E-6AA2-46D2-9C66-A87B7DF2072A}">
      <dsp:nvSpPr>
        <dsp:cNvPr id="0" name=""/>
        <dsp:cNvSpPr/>
      </dsp:nvSpPr>
      <dsp:spPr>
        <a:xfrm rot="19457599">
          <a:off x="2222674" y="1544740"/>
          <a:ext cx="291457" cy="13469"/>
        </a:xfrm>
        <a:custGeom>
          <a:avLst/>
          <a:gdLst/>
          <a:ahLst/>
          <a:cxnLst/>
          <a:rect l="0" t="0" r="0" b="0"/>
          <a:pathLst>
            <a:path>
              <a:moveTo>
                <a:pt x="0" y="6734"/>
              </a:moveTo>
              <a:lnTo>
                <a:pt x="291457" y="6734"/>
              </a:lnTo>
            </a:path>
          </a:pathLst>
        </a:custGeom>
        <a:noFill/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fr-FR" sz="500" kern="1200"/>
        </a:p>
      </dsp:txBody>
      <dsp:txXfrm>
        <a:off x="2361116" y="1544188"/>
        <a:ext cx="14572" cy="14572"/>
      </dsp:txXfrm>
    </dsp:sp>
    <dsp:sp modelId="{C1DBEDB6-0791-496F-AE50-BDBAC17C0C08}">
      <dsp:nvSpPr>
        <dsp:cNvPr id="0" name=""/>
        <dsp:cNvSpPr/>
      </dsp:nvSpPr>
      <dsp:spPr>
        <a:xfrm>
          <a:off x="2486737" y="1318504"/>
          <a:ext cx="591670" cy="295835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" tIns="3810" rIns="3810" bIns="381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600" b="0" i="0" u="none" kern="1200"/>
            <a:t>Menu Sinistre</a:t>
          </a:r>
          <a:endParaRPr lang="fr-FR" sz="600" kern="1200"/>
        </a:p>
      </dsp:txBody>
      <dsp:txXfrm>
        <a:off x="2495402" y="1327169"/>
        <a:ext cx="574340" cy="278505"/>
      </dsp:txXfrm>
    </dsp:sp>
    <dsp:sp modelId="{951D619A-66B4-4E78-B99A-91CF5CF81ABE}">
      <dsp:nvSpPr>
        <dsp:cNvPr id="0" name=""/>
        <dsp:cNvSpPr/>
      </dsp:nvSpPr>
      <dsp:spPr>
        <a:xfrm rot="2142401">
          <a:off x="2222674" y="1714845"/>
          <a:ext cx="291457" cy="13469"/>
        </a:xfrm>
        <a:custGeom>
          <a:avLst/>
          <a:gdLst/>
          <a:ahLst/>
          <a:cxnLst/>
          <a:rect l="0" t="0" r="0" b="0"/>
          <a:pathLst>
            <a:path>
              <a:moveTo>
                <a:pt x="0" y="6734"/>
              </a:moveTo>
              <a:lnTo>
                <a:pt x="291457" y="6734"/>
              </a:lnTo>
            </a:path>
          </a:pathLst>
        </a:custGeom>
        <a:noFill/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fr-FR" sz="500" kern="1200"/>
        </a:p>
      </dsp:txBody>
      <dsp:txXfrm>
        <a:off x="2361116" y="1714293"/>
        <a:ext cx="14572" cy="14572"/>
      </dsp:txXfrm>
    </dsp:sp>
    <dsp:sp modelId="{3AA7440C-B955-4225-B8DB-66E5BAC1377C}">
      <dsp:nvSpPr>
        <dsp:cNvPr id="0" name=""/>
        <dsp:cNvSpPr/>
      </dsp:nvSpPr>
      <dsp:spPr>
        <a:xfrm>
          <a:off x="2486737" y="1658715"/>
          <a:ext cx="591670" cy="295835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" tIns="3810" rIns="3810" bIns="381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600" b="0" i="0" u="none" kern="1200"/>
            <a:t>Menu Nouveau sinistre</a:t>
          </a:r>
          <a:endParaRPr lang="fr-FR" sz="600" kern="1200"/>
        </a:p>
      </dsp:txBody>
      <dsp:txXfrm>
        <a:off x="2495402" y="1667380"/>
        <a:ext cx="574340" cy="278505"/>
      </dsp:txXfrm>
    </dsp:sp>
    <dsp:sp modelId="{88EE9D3B-D7C6-49BD-9A18-6383852EDBBD}">
      <dsp:nvSpPr>
        <dsp:cNvPr id="0" name=""/>
        <dsp:cNvSpPr/>
      </dsp:nvSpPr>
      <dsp:spPr>
        <a:xfrm rot="4099285">
          <a:off x="1219723" y="2522845"/>
          <a:ext cx="640683" cy="13469"/>
        </a:xfrm>
        <a:custGeom>
          <a:avLst/>
          <a:gdLst/>
          <a:ahLst/>
          <a:cxnLst/>
          <a:rect l="0" t="0" r="0" b="0"/>
          <a:pathLst>
            <a:path>
              <a:moveTo>
                <a:pt x="0" y="6734"/>
              </a:moveTo>
              <a:lnTo>
                <a:pt x="640683" y="6734"/>
              </a:lnTo>
            </a:path>
          </a:pathLst>
        </a:custGeom>
        <a:noFill/>
        <a:ln w="254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fr-FR" sz="500" kern="1200"/>
        </a:p>
      </dsp:txBody>
      <dsp:txXfrm>
        <a:off x="1524047" y="2513562"/>
        <a:ext cx="32034" cy="32034"/>
      </dsp:txXfrm>
    </dsp:sp>
    <dsp:sp modelId="{9852418C-28F9-4D12-9EA1-861B79015588}">
      <dsp:nvSpPr>
        <dsp:cNvPr id="0" name=""/>
        <dsp:cNvSpPr/>
      </dsp:nvSpPr>
      <dsp:spPr>
        <a:xfrm>
          <a:off x="1658399" y="2679346"/>
          <a:ext cx="591670" cy="295835"/>
        </a:xfrm>
        <a:prstGeom prst="roundRect">
          <a:avLst>
            <a:gd name="adj" fmla="val 10000"/>
          </a:avLst>
        </a:prstGeom>
        <a:solidFill>
          <a:schemeClr val="accent6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" tIns="3810" rIns="3810" bIns="381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600" b="1" i="0" u="none" kern="1200"/>
            <a:t>Ecran : Rechercher ou créer un contrat</a:t>
          </a:r>
          <a:endParaRPr lang="fr-FR" sz="600" kern="1200"/>
        </a:p>
      </dsp:txBody>
      <dsp:txXfrm>
        <a:off x="1667064" y="2688011"/>
        <a:ext cx="574340" cy="278505"/>
      </dsp:txXfrm>
    </dsp:sp>
    <dsp:sp modelId="{28617A9A-B035-4566-88A2-9091D7170B69}">
      <dsp:nvSpPr>
        <dsp:cNvPr id="0" name=""/>
        <dsp:cNvSpPr/>
      </dsp:nvSpPr>
      <dsp:spPr>
        <a:xfrm rot="17350740">
          <a:off x="2008200" y="2480318"/>
          <a:ext cx="720405" cy="13469"/>
        </a:xfrm>
        <a:custGeom>
          <a:avLst/>
          <a:gdLst/>
          <a:ahLst/>
          <a:cxnLst/>
          <a:rect l="0" t="0" r="0" b="0"/>
          <a:pathLst>
            <a:path>
              <a:moveTo>
                <a:pt x="0" y="6734"/>
              </a:moveTo>
              <a:lnTo>
                <a:pt x="720405" y="6734"/>
              </a:lnTo>
            </a:path>
          </a:pathLst>
        </a:custGeom>
        <a:noFill/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fr-FR" sz="500" kern="1200"/>
        </a:p>
      </dsp:txBody>
      <dsp:txXfrm>
        <a:off x="2350393" y="2469043"/>
        <a:ext cx="36020" cy="36020"/>
      </dsp:txXfrm>
    </dsp:sp>
    <dsp:sp modelId="{FA4C0BE7-A7F2-4390-8309-69268E411DCA}">
      <dsp:nvSpPr>
        <dsp:cNvPr id="0" name=""/>
        <dsp:cNvSpPr/>
      </dsp:nvSpPr>
      <dsp:spPr>
        <a:xfrm>
          <a:off x="2486737" y="1998925"/>
          <a:ext cx="591670" cy="295835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" tIns="3810" rIns="3810" bIns="381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600" b="0" i="0" u="none" kern="1200"/>
            <a:t>N° de contrat</a:t>
          </a:r>
          <a:endParaRPr lang="fr-FR" sz="600" kern="1200"/>
        </a:p>
      </dsp:txBody>
      <dsp:txXfrm>
        <a:off x="2495402" y="2007590"/>
        <a:ext cx="574340" cy="278505"/>
      </dsp:txXfrm>
    </dsp:sp>
    <dsp:sp modelId="{5C348736-BFB2-4343-BA48-56B95945530B}">
      <dsp:nvSpPr>
        <dsp:cNvPr id="0" name=""/>
        <dsp:cNvSpPr/>
      </dsp:nvSpPr>
      <dsp:spPr>
        <a:xfrm rot="18289469">
          <a:off x="2161186" y="2650424"/>
          <a:ext cx="414433" cy="13469"/>
        </a:xfrm>
        <a:custGeom>
          <a:avLst/>
          <a:gdLst/>
          <a:ahLst/>
          <a:cxnLst/>
          <a:rect l="0" t="0" r="0" b="0"/>
          <a:pathLst>
            <a:path>
              <a:moveTo>
                <a:pt x="0" y="6734"/>
              </a:moveTo>
              <a:lnTo>
                <a:pt x="414433" y="6734"/>
              </a:lnTo>
            </a:path>
          </a:pathLst>
        </a:custGeom>
        <a:noFill/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fr-FR" sz="500" kern="1200"/>
        </a:p>
      </dsp:txBody>
      <dsp:txXfrm>
        <a:off x="2358042" y="2646797"/>
        <a:ext cx="20721" cy="20721"/>
      </dsp:txXfrm>
    </dsp:sp>
    <dsp:sp modelId="{920BE209-FC72-439E-8655-DD5DBF654EF2}">
      <dsp:nvSpPr>
        <dsp:cNvPr id="0" name=""/>
        <dsp:cNvSpPr/>
      </dsp:nvSpPr>
      <dsp:spPr>
        <a:xfrm>
          <a:off x="2486737" y="2339135"/>
          <a:ext cx="591670" cy="295835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" tIns="3810" rIns="3810" bIns="381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600" b="0" i="0" u="none" kern="1200"/>
            <a:t>Branche</a:t>
          </a:r>
          <a:endParaRPr lang="fr-FR" sz="600" kern="1200"/>
        </a:p>
      </dsp:txBody>
      <dsp:txXfrm>
        <a:off x="2495402" y="2347800"/>
        <a:ext cx="574340" cy="278505"/>
      </dsp:txXfrm>
    </dsp:sp>
    <dsp:sp modelId="{0DC454D8-0F98-4EEF-B415-98B30D5A282A}">
      <dsp:nvSpPr>
        <dsp:cNvPr id="0" name=""/>
        <dsp:cNvSpPr/>
      </dsp:nvSpPr>
      <dsp:spPr>
        <a:xfrm>
          <a:off x="2250069" y="2820529"/>
          <a:ext cx="236668" cy="13469"/>
        </a:xfrm>
        <a:custGeom>
          <a:avLst/>
          <a:gdLst/>
          <a:ahLst/>
          <a:cxnLst/>
          <a:rect l="0" t="0" r="0" b="0"/>
          <a:pathLst>
            <a:path>
              <a:moveTo>
                <a:pt x="0" y="6734"/>
              </a:moveTo>
              <a:lnTo>
                <a:pt x="236668" y="6734"/>
              </a:lnTo>
            </a:path>
          </a:pathLst>
        </a:custGeom>
        <a:noFill/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fr-FR" sz="500" kern="1200"/>
        </a:p>
      </dsp:txBody>
      <dsp:txXfrm>
        <a:off x="2362486" y="2821347"/>
        <a:ext cx="11833" cy="11833"/>
      </dsp:txXfrm>
    </dsp:sp>
    <dsp:sp modelId="{60ED3C43-91A0-4C54-BD9F-AF4FB87D4CD2}">
      <dsp:nvSpPr>
        <dsp:cNvPr id="0" name=""/>
        <dsp:cNvSpPr/>
      </dsp:nvSpPr>
      <dsp:spPr>
        <a:xfrm>
          <a:off x="2486737" y="2679346"/>
          <a:ext cx="591670" cy="295835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" tIns="3810" rIns="3810" bIns="381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600" b="0" i="0" u="none" kern="1200"/>
            <a:t>Type de contrat</a:t>
          </a:r>
          <a:endParaRPr lang="fr-FR" sz="600" kern="1200"/>
        </a:p>
      </dsp:txBody>
      <dsp:txXfrm>
        <a:off x="2495402" y="2688011"/>
        <a:ext cx="574340" cy="278505"/>
      </dsp:txXfrm>
    </dsp:sp>
    <dsp:sp modelId="{6297D3C2-608E-47D4-B5CE-127D5AE86B70}">
      <dsp:nvSpPr>
        <dsp:cNvPr id="0" name=""/>
        <dsp:cNvSpPr/>
      </dsp:nvSpPr>
      <dsp:spPr>
        <a:xfrm rot="3310531">
          <a:off x="2161186" y="2990634"/>
          <a:ext cx="414433" cy="13469"/>
        </a:xfrm>
        <a:custGeom>
          <a:avLst/>
          <a:gdLst/>
          <a:ahLst/>
          <a:cxnLst/>
          <a:rect l="0" t="0" r="0" b="0"/>
          <a:pathLst>
            <a:path>
              <a:moveTo>
                <a:pt x="0" y="6734"/>
              </a:moveTo>
              <a:lnTo>
                <a:pt x="414433" y="6734"/>
              </a:lnTo>
            </a:path>
          </a:pathLst>
        </a:custGeom>
        <a:noFill/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fr-FR" sz="500" kern="1200"/>
        </a:p>
      </dsp:txBody>
      <dsp:txXfrm>
        <a:off x="2358042" y="2987008"/>
        <a:ext cx="20721" cy="20721"/>
      </dsp:txXfrm>
    </dsp:sp>
    <dsp:sp modelId="{5D394FF4-6F8A-4A7B-8489-54CED8CD0683}">
      <dsp:nvSpPr>
        <dsp:cNvPr id="0" name=""/>
        <dsp:cNvSpPr/>
      </dsp:nvSpPr>
      <dsp:spPr>
        <a:xfrm>
          <a:off x="2486737" y="3019556"/>
          <a:ext cx="591670" cy="295835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" tIns="3810" rIns="3810" bIns="381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600" b="0" i="0" u="none" kern="1200"/>
            <a:t>Date de réclamation</a:t>
          </a:r>
          <a:endParaRPr lang="fr-FR" sz="600" kern="1200"/>
        </a:p>
      </dsp:txBody>
      <dsp:txXfrm>
        <a:off x="2495402" y="3028221"/>
        <a:ext cx="574340" cy="278505"/>
      </dsp:txXfrm>
    </dsp:sp>
    <dsp:sp modelId="{974A5AD1-952D-482F-A478-63D06EF74214}">
      <dsp:nvSpPr>
        <dsp:cNvPr id="0" name=""/>
        <dsp:cNvSpPr/>
      </dsp:nvSpPr>
      <dsp:spPr>
        <a:xfrm rot="4249260">
          <a:off x="2008200" y="3160739"/>
          <a:ext cx="720405" cy="13469"/>
        </a:xfrm>
        <a:custGeom>
          <a:avLst/>
          <a:gdLst/>
          <a:ahLst/>
          <a:cxnLst/>
          <a:rect l="0" t="0" r="0" b="0"/>
          <a:pathLst>
            <a:path>
              <a:moveTo>
                <a:pt x="0" y="6734"/>
              </a:moveTo>
              <a:lnTo>
                <a:pt x="720405" y="6734"/>
              </a:lnTo>
            </a:path>
          </a:pathLst>
        </a:custGeom>
        <a:noFill/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fr-FR" sz="500" kern="1200"/>
        </a:p>
      </dsp:txBody>
      <dsp:txXfrm>
        <a:off x="2350393" y="3149463"/>
        <a:ext cx="36020" cy="36020"/>
      </dsp:txXfrm>
    </dsp:sp>
    <dsp:sp modelId="{DAB8A7DA-073C-4DCB-A4ED-11DD0E9749A3}">
      <dsp:nvSpPr>
        <dsp:cNvPr id="0" name=""/>
        <dsp:cNvSpPr/>
      </dsp:nvSpPr>
      <dsp:spPr>
        <a:xfrm>
          <a:off x="2486737" y="3359766"/>
          <a:ext cx="591670" cy="295835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" tIns="3810" rIns="3810" bIns="381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600" kern="1200"/>
            <a:t>Suivant</a:t>
          </a:r>
        </a:p>
      </dsp:txBody>
      <dsp:txXfrm>
        <a:off x="2495402" y="3368431"/>
        <a:ext cx="574340" cy="278505"/>
      </dsp:txXfrm>
    </dsp:sp>
  </dsp:spTree>
</dsp:drawing>
</file>

<file path=ppt/diagrams/drawing5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2D01C71-4D28-4751-AE67-4DAF562F986E}">
      <dsp:nvSpPr>
        <dsp:cNvPr id="0" name=""/>
        <dsp:cNvSpPr/>
      </dsp:nvSpPr>
      <dsp:spPr>
        <a:xfrm>
          <a:off x="1722" y="1190926"/>
          <a:ext cx="591670" cy="295835"/>
        </a:xfrm>
        <a:prstGeom prst="roundRect">
          <a:avLst>
            <a:gd name="adj" fmla="val 10000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" tIns="3810" rIns="3810" bIns="381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600" kern="1200" noProof="0"/>
            <a:t>Déclaration Sinistre Auto (phase de login)</a:t>
          </a:r>
        </a:p>
      </dsp:txBody>
      <dsp:txXfrm>
        <a:off x="10387" y="1199591"/>
        <a:ext cx="574340" cy="278505"/>
      </dsp:txXfrm>
    </dsp:sp>
    <dsp:sp modelId="{07351BC3-1DCF-4CA0-8978-C7C6A8314A80}">
      <dsp:nvSpPr>
        <dsp:cNvPr id="0" name=""/>
        <dsp:cNvSpPr/>
      </dsp:nvSpPr>
      <dsp:spPr>
        <a:xfrm rot="17090567">
          <a:off x="249786" y="885582"/>
          <a:ext cx="923879" cy="13469"/>
        </a:xfrm>
        <a:custGeom>
          <a:avLst/>
          <a:gdLst/>
          <a:ahLst/>
          <a:cxnLst/>
          <a:rect l="0" t="0" r="0" b="0"/>
          <a:pathLst>
            <a:path>
              <a:moveTo>
                <a:pt x="0" y="6734"/>
              </a:moveTo>
              <a:lnTo>
                <a:pt x="923879" y="6734"/>
              </a:lnTo>
            </a:path>
          </a:pathLst>
        </a:custGeom>
        <a:noFill/>
        <a:ln w="254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fr-FR" sz="500" kern="1200"/>
        </a:p>
      </dsp:txBody>
      <dsp:txXfrm>
        <a:off x="688629" y="869220"/>
        <a:ext cx="46193" cy="46193"/>
      </dsp:txXfrm>
    </dsp:sp>
    <dsp:sp modelId="{FEBFFE11-7BA4-4E4D-9ED0-F3F014C82753}">
      <dsp:nvSpPr>
        <dsp:cNvPr id="0" name=""/>
        <dsp:cNvSpPr/>
      </dsp:nvSpPr>
      <dsp:spPr>
        <a:xfrm>
          <a:off x="830060" y="297874"/>
          <a:ext cx="591670" cy="295835"/>
        </a:xfrm>
        <a:prstGeom prst="roundRect">
          <a:avLst>
            <a:gd name="adj" fmla="val 10000"/>
          </a:avLst>
        </a:prstGeom>
        <a:solidFill>
          <a:schemeClr val="accent5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" tIns="3810" rIns="3810" bIns="381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600" b="0" i="0" u="none" kern="1200"/>
            <a:t>Ouverture Solaris</a:t>
          </a:r>
          <a:endParaRPr lang="fr-FR" sz="600" kern="1200" noProof="0"/>
        </a:p>
      </dsp:txBody>
      <dsp:txXfrm>
        <a:off x="838725" y="306539"/>
        <a:ext cx="574340" cy="278505"/>
      </dsp:txXfrm>
    </dsp:sp>
    <dsp:sp modelId="{08D418A6-E399-4806-B873-20C541234562}">
      <dsp:nvSpPr>
        <dsp:cNvPr id="0" name=""/>
        <dsp:cNvSpPr/>
      </dsp:nvSpPr>
      <dsp:spPr>
        <a:xfrm rot="17590528">
          <a:off x="411041" y="1055688"/>
          <a:ext cx="601369" cy="13469"/>
        </a:xfrm>
        <a:custGeom>
          <a:avLst/>
          <a:gdLst/>
          <a:ahLst/>
          <a:cxnLst/>
          <a:rect l="0" t="0" r="0" b="0"/>
          <a:pathLst>
            <a:path>
              <a:moveTo>
                <a:pt x="0" y="6734"/>
              </a:moveTo>
              <a:lnTo>
                <a:pt x="601369" y="6734"/>
              </a:lnTo>
            </a:path>
          </a:pathLst>
        </a:custGeom>
        <a:noFill/>
        <a:ln w="254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fr-FR" sz="500" kern="1200"/>
        </a:p>
      </dsp:txBody>
      <dsp:txXfrm>
        <a:off x="696692" y="1047388"/>
        <a:ext cx="30068" cy="30068"/>
      </dsp:txXfrm>
    </dsp:sp>
    <dsp:sp modelId="{FD5D9456-E617-495C-8D9E-0EE1636D7594}">
      <dsp:nvSpPr>
        <dsp:cNvPr id="0" name=""/>
        <dsp:cNvSpPr/>
      </dsp:nvSpPr>
      <dsp:spPr>
        <a:xfrm>
          <a:off x="830060" y="638084"/>
          <a:ext cx="591670" cy="295835"/>
        </a:xfrm>
        <a:prstGeom prst="roundRect">
          <a:avLst>
            <a:gd name="adj" fmla="val 10000"/>
          </a:avLst>
        </a:prstGeom>
        <a:solidFill>
          <a:schemeClr val="accent5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" tIns="3810" rIns="3810" bIns="381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600" kern="1200" noProof="0"/>
            <a:t>Phase de login </a:t>
          </a:r>
        </a:p>
      </dsp:txBody>
      <dsp:txXfrm>
        <a:off x="838725" y="646749"/>
        <a:ext cx="574340" cy="278505"/>
      </dsp:txXfrm>
    </dsp:sp>
    <dsp:sp modelId="{56425DAF-90DC-43B6-8172-D954D84C523B}">
      <dsp:nvSpPr>
        <dsp:cNvPr id="0" name=""/>
        <dsp:cNvSpPr/>
      </dsp:nvSpPr>
      <dsp:spPr>
        <a:xfrm rot="18289469">
          <a:off x="1332848" y="609162"/>
          <a:ext cx="414433" cy="13469"/>
        </a:xfrm>
        <a:custGeom>
          <a:avLst/>
          <a:gdLst/>
          <a:ahLst/>
          <a:cxnLst/>
          <a:rect l="0" t="0" r="0" b="0"/>
          <a:pathLst>
            <a:path>
              <a:moveTo>
                <a:pt x="0" y="6734"/>
              </a:moveTo>
              <a:lnTo>
                <a:pt x="414433" y="6734"/>
              </a:lnTo>
            </a:path>
          </a:pathLst>
        </a:custGeom>
        <a:noFill/>
        <a:ln w="254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fr-FR" sz="500" kern="1200"/>
        </a:p>
      </dsp:txBody>
      <dsp:txXfrm>
        <a:off x="1529704" y="605535"/>
        <a:ext cx="20721" cy="20721"/>
      </dsp:txXfrm>
    </dsp:sp>
    <dsp:sp modelId="{9A0D1FD3-CE31-4109-AFCB-132E04B8F5B1}">
      <dsp:nvSpPr>
        <dsp:cNvPr id="0" name=""/>
        <dsp:cNvSpPr/>
      </dsp:nvSpPr>
      <dsp:spPr>
        <a:xfrm>
          <a:off x="1658399" y="297874"/>
          <a:ext cx="591670" cy="295835"/>
        </a:xfrm>
        <a:prstGeom prst="roundRect">
          <a:avLst>
            <a:gd name="adj" fmla="val 10000"/>
          </a:avLst>
        </a:prstGeom>
        <a:solidFill>
          <a:schemeClr val="accent6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" tIns="3810" rIns="3810" bIns="381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600" b="0" i="0" u="none" kern="1200"/>
            <a:t>Login</a:t>
          </a:r>
          <a:endParaRPr lang="fr-FR" sz="600" kern="1200"/>
        </a:p>
      </dsp:txBody>
      <dsp:txXfrm>
        <a:off x="1667064" y="306539"/>
        <a:ext cx="574340" cy="278505"/>
      </dsp:txXfrm>
    </dsp:sp>
    <dsp:sp modelId="{89F98EE0-37ED-4BC4-A534-17244150EC1A}">
      <dsp:nvSpPr>
        <dsp:cNvPr id="0" name=""/>
        <dsp:cNvSpPr/>
      </dsp:nvSpPr>
      <dsp:spPr>
        <a:xfrm>
          <a:off x="1421730" y="779267"/>
          <a:ext cx="236668" cy="13469"/>
        </a:xfrm>
        <a:custGeom>
          <a:avLst/>
          <a:gdLst/>
          <a:ahLst/>
          <a:cxnLst/>
          <a:rect l="0" t="0" r="0" b="0"/>
          <a:pathLst>
            <a:path>
              <a:moveTo>
                <a:pt x="0" y="6734"/>
              </a:moveTo>
              <a:lnTo>
                <a:pt x="236668" y="6734"/>
              </a:lnTo>
            </a:path>
          </a:pathLst>
        </a:custGeom>
        <a:noFill/>
        <a:ln w="254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fr-FR" sz="500" kern="1200"/>
        </a:p>
      </dsp:txBody>
      <dsp:txXfrm>
        <a:off x="1534148" y="780085"/>
        <a:ext cx="11833" cy="11833"/>
      </dsp:txXfrm>
    </dsp:sp>
    <dsp:sp modelId="{51F00818-16DA-40AF-9FCE-B69D443DA700}">
      <dsp:nvSpPr>
        <dsp:cNvPr id="0" name=""/>
        <dsp:cNvSpPr/>
      </dsp:nvSpPr>
      <dsp:spPr>
        <a:xfrm>
          <a:off x="1658399" y="638084"/>
          <a:ext cx="591670" cy="295835"/>
        </a:xfrm>
        <a:prstGeom prst="roundRect">
          <a:avLst>
            <a:gd name="adj" fmla="val 10000"/>
          </a:avLst>
        </a:prstGeom>
        <a:solidFill>
          <a:schemeClr val="accent6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" tIns="3810" rIns="3810" bIns="381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600" b="0" i="0" u="none" kern="1200"/>
            <a:t>Mot de passe</a:t>
          </a:r>
          <a:endParaRPr lang="fr-FR" sz="600" kern="1200"/>
        </a:p>
      </dsp:txBody>
      <dsp:txXfrm>
        <a:off x="1667064" y="646749"/>
        <a:ext cx="574340" cy="278505"/>
      </dsp:txXfrm>
    </dsp:sp>
    <dsp:sp modelId="{C10ABD33-517B-4D7E-B667-3D2B417A3CD8}">
      <dsp:nvSpPr>
        <dsp:cNvPr id="0" name=""/>
        <dsp:cNvSpPr/>
      </dsp:nvSpPr>
      <dsp:spPr>
        <a:xfrm rot="3310531">
          <a:off x="1332848" y="949372"/>
          <a:ext cx="414433" cy="13469"/>
        </a:xfrm>
        <a:custGeom>
          <a:avLst/>
          <a:gdLst/>
          <a:ahLst/>
          <a:cxnLst/>
          <a:rect l="0" t="0" r="0" b="0"/>
          <a:pathLst>
            <a:path>
              <a:moveTo>
                <a:pt x="0" y="6734"/>
              </a:moveTo>
              <a:lnTo>
                <a:pt x="414433" y="6734"/>
              </a:lnTo>
            </a:path>
          </a:pathLst>
        </a:custGeom>
        <a:noFill/>
        <a:ln w="254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fr-FR" sz="500" kern="1200"/>
        </a:p>
      </dsp:txBody>
      <dsp:txXfrm>
        <a:off x="1529704" y="945746"/>
        <a:ext cx="20721" cy="20721"/>
      </dsp:txXfrm>
    </dsp:sp>
    <dsp:sp modelId="{225494EB-652A-4D65-94D2-83A08C84923D}">
      <dsp:nvSpPr>
        <dsp:cNvPr id="0" name=""/>
        <dsp:cNvSpPr/>
      </dsp:nvSpPr>
      <dsp:spPr>
        <a:xfrm>
          <a:off x="1658399" y="978294"/>
          <a:ext cx="591670" cy="295835"/>
        </a:xfrm>
        <a:prstGeom prst="roundRect">
          <a:avLst>
            <a:gd name="adj" fmla="val 10000"/>
          </a:avLst>
        </a:prstGeom>
        <a:solidFill>
          <a:schemeClr val="accent6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" tIns="3810" rIns="3810" bIns="381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600" b="0" i="0" u="none" kern="1200"/>
            <a:t>Valider</a:t>
          </a:r>
          <a:endParaRPr lang="fr-FR" sz="600" kern="1200"/>
        </a:p>
      </dsp:txBody>
      <dsp:txXfrm>
        <a:off x="1667064" y="986959"/>
        <a:ext cx="574340" cy="278505"/>
      </dsp:txXfrm>
    </dsp:sp>
    <dsp:sp modelId="{352B7D5A-C3AA-4756-A02F-24B58CA79E83}">
      <dsp:nvSpPr>
        <dsp:cNvPr id="0" name=""/>
        <dsp:cNvSpPr/>
      </dsp:nvSpPr>
      <dsp:spPr>
        <a:xfrm rot="4509433">
          <a:off x="249786" y="1778635"/>
          <a:ext cx="923879" cy="13469"/>
        </a:xfrm>
        <a:custGeom>
          <a:avLst/>
          <a:gdLst/>
          <a:ahLst/>
          <a:cxnLst/>
          <a:rect l="0" t="0" r="0" b="0"/>
          <a:pathLst>
            <a:path>
              <a:moveTo>
                <a:pt x="0" y="6734"/>
              </a:moveTo>
              <a:lnTo>
                <a:pt x="923879" y="6734"/>
              </a:lnTo>
            </a:path>
          </a:pathLst>
        </a:custGeom>
        <a:noFill/>
        <a:ln w="254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fr-FR" sz="500" kern="1200"/>
        </a:p>
      </dsp:txBody>
      <dsp:txXfrm>
        <a:off x="688629" y="1762272"/>
        <a:ext cx="46193" cy="46193"/>
      </dsp:txXfrm>
    </dsp:sp>
    <dsp:sp modelId="{6AF904CB-5748-418D-AEB1-2B12C8C7A098}">
      <dsp:nvSpPr>
        <dsp:cNvPr id="0" name=""/>
        <dsp:cNvSpPr/>
      </dsp:nvSpPr>
      <dsp:spPr>
        <a:xfrm>
          <a:off x="830060" y="2083978"/>
          <a:ext cx="591670" cy="295835"/>
        </a:xfrm>
        <a:prstGeom prst="roundRect">
          <a:avLst>
            <a:gd name="adj" fmla="val 10000"/>
          </a:avLst>
        </a:prstGeom>
        <a:solidFill>
          <a:schemeClr val="accent5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" tIns="3810" rIns="3810" bIns="381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600" b="1" i="0" u="none" kern="1200"/>
            <a:t>Etape : Déclaration sinistre RCD</a:t>
          </a:r>
          <a:endParaRPr lang="fr-FR" sz="600" kern="1200"/>
        </a:p>
      </dsp:txBody>
      <dsp:txXfrm>
        <a:off x="838725" y="2092643"/>
        <a:ext cx="574340" cy="278505"/>
      </dsp:txXfrm>
    </dsp:sp>
    <dsp:sp modelId="{8C23B94C-3F42-4C5F-B87D-F1F73584C881}">
      <dsp:nvSpPr>
        <dsp:cNvPr id="0" name=""/>
        <dsp:cNvSpPr/>
      </dsp:nvSpPr>
      <dsp:spPr>
        <a:xfrm rot="17500715">
          <a:off x="1219723" y="1927477"/>
          <a:ext cx="640683" cy="13469"/>
        </a:xfrm>
        <a:custGeom>
          <a:avLst/>
          <a:gdLst/>
          <a:ahLst/>
          <a:cxnLst/>
          <a:rect l="0" t="0" r="0" b="0"/>
          <a:pathLst>
            <a:path>
              <a:moveTo>
                <a:pt x="0" y="6734"/>
              </a:moveTo>
              <a:lnTo>
                <a:pt x="640683" y="6734"/>
              </a:lnTo>
            </a:path>
          </a:pathLst>
        </a:custGeom>
        <a:noFill/>
        <a:ln w="254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fr-FR" sz="500" kern="1200"/>
        </a:p>
      </dsp:txBody>
      <dsp:txXfrm>
        <a:off x="1524047" y="1918194"/>
        <a:ext cx="32034" cy="32034"/>
      </dsp:txXfrm>
    </dsp:sp>
    <dsp:sp modelId="{21BB043B-00B1-4EE9-899E-4BA8939CEB2D}">
      <dsp:nvSpPr>
        <dsp:cNvPr id="0" name=""/>
        <dsp:cNvSpPr/>
      </dsp:nvSpPr>
      <dsp:spPr>
        <a:xfrm>
          <a:off x="1658399" y="1488610"/>
          <a:ext cx="591670" cy="295835"/>
        </a:xfrm>
        <a:prstGeom prst="roundRect">
          <a:avLst>
            <a:gd name="adj" fmla="val 10000"/>
          </a:avLst>
        </a:prstGeom>
        <a:solidFill>
          <a:schemeClr val="accent6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" tIns="3810" rIns="3810" bIns="381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600" b="0" i="0" u="none" kern="1200"/>
            <a:t>Ecran : Ma Corbeille</a:t>
          </a:r>
          <a:endParaRPr lang="fr-FR" sz="600" kern="1200"/>
        </a:p>
      </dsp:txBody>
      <dsp:txXfrm>
        <a:off x="1667064" y="1497275"/>
        <a:ext cx="574340" cy="278505"/>
      </dsp:txXfrm>
    </dsp:sp>
    <dsp:sp modelId="{6A29A97E-6AA2-46D2-9C66-A87B7DF2072A}">
      <dsp:nvSpPr>
        <dsp:cNvPr id="0" name=""/>
        <dsp:cNvSpPr/>
      </dsp:nvSpPr>
      <dsp:spPr>
        <a:xfrm rot="19457599">
          <a:off x="2222674" y="1544740"/>
          <a:ext cx="291457" cy="13469"/>
        </a:xfrm>
        <a:custGeom>
          <a:avLst/>
          <a:gdLst/>
          <a:ahLst/>
          <a:cxnLst/>
          <a:rect l="0" t="0" r="0" b="0"/>
          <a:pathLst>
            <a:path>
              <a:moveTo>
                <a:pt x="0" y="6734"/>
              </a:moveTo>
              <a:lnTo>
                <a:pt x="291457" y="6734"/>
              </a:lnTo>
            </a:path>
          </a:pathLst>
        </a:custGeom>
        <a:noFill/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fr-FR" sz="500" kern="1200"/>
        </a:p>
      </dsp:txBody>
      <dsp:txXfrm>
        <a:off x="2361116" y="1544188"/>
        <a:ext cx="14572" cy="14572"/>
      </dsp:txXfrm>
    </dsp:sp>
    <dsp:sp modelId="{C1DBEDB6-0791-496F-AE50-BDBAC17C0C08}">
      <dsp:nvSpPr>
        <dsp:cNvPr id="0" name=""/>
        <dsp:cNvSpPr/>
      </dsp:nvSpPr>
      <dsp:spPr>
        <a:xfrm>
          <a:off x="2486737" y="1318504"/>
          <a:ext cx="591670" cy="295835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" tIns="3810" rIns="3810" bIns="381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600" b="0" i="0" u="none" kern="1200"/>
            <a:t>Menu Sinistre</a:t>
          </a:r>
          <a:endParaRPr lang="fr-FR" sz="600" kern="1200"/>
        </a:p>
      </dsp:txBody>
      <dsp:txXfrm>
        <a:off x="2495402" y="1327169"/>
        <a:ext cx="574340" cy="278505"/>
      </dsp:txXfrm>
    </dsp:sp>
    <dsp:sp modelId="{951D619A-66B4-4E78-B99A-91CF5CF81ABE}">
      <dsp:nvSpPr>
        <dsp:cNvPr id="0" name=""/>
        <dsp:cNvSpPr/>
      </dsp:nvSpPr>
      <dsp:spPr>
        <a:xfrm rot="2142401">
          <a:off x="2222674" y="1714845"/>
          <a:ext cx="291457" cy="13469"/>
        </a:xfrm>
        <a:custGeom>
          <a:avLst/>
          <a:gdLst/>
          <a:ahLst/>
          <a:cxnLst/>
          <a:rect l="0" t="0" r="0" b="0"/>
          <a:pathLst>
            <a:path>
              <a:moveTo>
                <a:pt x="0" y="6734"/>
              </a:moveTo>
              <a:lnTo>
                <a:pt x="291457" y="6734"/>
              </a:lnTo>
            </a:path>
          </a:pathLst>
        </a:custGeom>
        <a:noFill/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fr-FR" sz="500" kern="1200"/>
        </a:p>
      </dsp:txBody>
      <dsp:txXfrm>
        <a:off x="2361116" y="1714293"/>
        <a:ext cx="14572" cy="14572"/>
      </dsp:txXfrm>
    </dsp:sp>
    <dsp:sp modelId="{3AA7440C-B955-4225-B8DB-66E5BAC1377C}">
      <dsp:nvSpPr>
        <dsp:cNvPr id="0" name=""/>
        <dsp:cNvSpPr/>
      </dsp:nvSpPr>
      <dsp:spPr>
        <a:xfrm>
          <a:off x="2486737" y="1658715"/>
          <a:ext cx="591670" cy="295835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" tIns="3810" rIns="3810" bIns="381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600" b="0" i="0" u="none" kern="1200"/>
            <a:t>Menu Nouveau sinistre</a:t>
          </a:r>
          <a:endParaRPr lang="fr-FR" sz="600" kern="1200"/>
        </a:p>
      </dsp:txBody>
      <dsp:txXfrm>
        <a:off x="2495402" y="1667380"/>
        <a:ext cx="574340" cy="278505"/>
      </dsp:txXfrm>
    </dsp:sp>
    <dsp:sp modelId="{88EE9D3B-D7C6-49BD-9A18-6383852EDBBD}">
      <dsp:nvSpPr>
        <dsp:cNvPr id="0" name=""/>
        <dsp:cNvSpPr/>
      </dsp:nvSpPr>
      <dsp:spPr>
        <a:xfrm rot="4099285">
          <a:off x="1219723" y="2522845"/>
          <a:ext cx="640683" cy="13469"/>
        </a:xfrm>
        <a:custGeom>
          <a:avLst/>
          <a:gdLst/>
          <a:ahLst/>
          <a:cxnLst/>
          <a:rect l="0" t="0" r="0" b="0"/>
          <a:pathLst>
            <a:path>
              <a:moveTo>
                <a:pt x="0" y="6734"/>
              </a:moveTo>
              <a:lnTo>
                <a:pt x="640683" y="6734"/>
              </a:lnTo>
            </a:path>
          </a:pathLst>
        </a:custGeom>
        <a:noFill/>
        <a:ln w="254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fr-FR" sz="500" kern="1200"/>
        </a:p>
      </dsp:txBody>
      <dsp:txXfrm>
        <a:off x="1524047" y="2513562"/>
        <a:ext cx="32034" cy="32034"/>
      </dsp:txXfrm>
    </dsp:sp>
    <dsp:sp modelId="{9852418C-28F9-4D12-9EA1-861B79015588}">
      <dsp:nvSpPr>
        <dsp:cNvPr id="0" name=""/>
        <dsp:cNvSpPr/>
      </dsp:nvSpPr>
      <dsp:spPr>
        <a:xfrm>
          <a:off x="1658399" y="2679346"/>
          <a:ext cx="591670" cy="295835"/>
        </a:xfrm>
        <a:prstGeom prst="roundRect">
          <a:avLst>
            <a:gd name="adj" fmla="val 10000"/>
          </a:avLst>
        </a:prstGeom>
        <a:solidFill>
          <a:schemeClr val="accent6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" tIns="3810" rIns="3810" bIns="381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600" b="1" i="0" u="none" kern="1200"/>
            <a:t>Ecran : Rechercher ou créer un contrat</a:t>
          </a:r>
          <a:endParaRPr lang="fr-FR" sz="600" kern="1200"/>
        </a:p>
      </dsp:txBody>
      <dsp:txXfrm>
        <a:off x="1667064" y="2688011"/>
        <a:ext cx="574340" cy="278505"/>
      </dsp:txXfrm>
    </dsp:sp>
    <dsp:sp modelId="{28617A9A-B035-4566-88A2-9091D7170B69}">
      <dsp:nvSpPr>
        <dsp:cNvPr id="0" name=""/>
        <dsp:cNvSpPr/>
      </dsp:nvSpPr>
      <dsp:spPr>
        <a:xfrm rot="17350740">
          <a:off x="2008200" y="2480318"/>
          <a:ext cx="720405" cy="13469"/>
        </a:xfrm>
        <a:custGeom>
          <a:avLst/>
          <a:gdLst/>
          <a:ahLst/>
          <a:cxnLst/>
          <a:rect l="0" t="0" r="0" b="0"/>
          <a:pathLst>
            <a:path>
              <a:moveTo>
                <a:pt x="0" y="6734"/>
              </a:moveTo>
              <a:lnTo>
                <a:pt x="720405" y="6734"/>
              </a:lnTo>
            </a:path>
          </a:pathLst>
        </a:custGeom>
        <a:noFill/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fr-FR" sz="500" kern="1200"/>
        </a:p>
      </dsp:txBody>
      <dsp:txXfrm>
        <a:off x="2350393" y="2469043"/>
        <a:ext cx="36020" cy="36020"/>
      </dsp:txXfrm>
    </dsp:sp>
    <dsp:sp modelId="{FA4C0BE7-A7F2-4390-8309-69268E411DCA}">
      <dsp:nvSpPr>
        <dsp:cNvPr id="0" name=""/>
        <dsp:cNvSpPr/>
      </dsp:nvSpPr>
      <dsp:spPr>
        <a:xfrm>
          <a:off x="2486737" y="1998925"/>
          <a:ext cx="591670" cy="295835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" tIns="3810" rIns="3810" bIns="381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600" b="0" i="0" u="none" kern="1200"/>
            <a:t>N° de contrat</a:t>
          </a:r>
          <a:endParaRPr lang="fr-FR" sz="600" kern="1200"/>
        </a:p>
      </dsp:txBody>
      <dsp:txXfrm>
        <a:off x="2495402" y="2007590"/>
        <a:ext cx="574340" cy="278505"/>
      </dsp:txXfrm>
    </dsp:sp>
    <dsp:sp modelId="{5C348736-BFB2-4343-BA48-56B95945530B}">
      <dsp:nvSpPr>
        <dsp:cNvPr id="0" name=""/>
        <dsp:cNvSpPr/>
      </dsp:nvSpPr>
      <dsp:spPr>
        <a:xfrm rot="18289469">
          <a:off x="2161186" y="2650424"/>
          <a:ext cx="414433" cy="13469"/>
        </a:xfrm>
        <a:custGeom>
          <a:avLst/>
          <a:gdLst/>
          <a:ahLst/>
          <a:cxnLst/>
          <a:rect l="0" t="0" r="0" b="0"/>
          <a:pathLst>
            <a:path>
              <a:moveTo>
                <a:pt x="0" y="6734"/>
              </a:moveTo>
              <a:lnTo>
                <a:pt x="414433" y="6734"/>
              </a:lnTo>
            </a:path>
          </a:pathLst>
        </a:custGeom>
        <a:noFill/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fr-FR" sz="500" kern="1200"/>
        </a:p>
      </dsp:txBody>
      <dsp:txXfrm>
        <a:off x="2358042" y="2646797"/>
        <a:ext cx="20721" cy="20721"/>
      </dsp:txXfrm>
    </dsp:sp>
    <dsp:sp modelId="{920BE209-FC72-439E-8655-DD5DBF654EF2}">
      <dsp:nvSpPr>
        <dsp:cNvPr id="0" name=""/>
        <dsp:cNvSpPr/>
      </dsp:nvSpPr>
      <dsp:spPr>
        <a:xfrm>
          <a:off x="2486737" y="2339135"/>
          <a:ext cx="591670" cy="295835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" tIns="3810" rIns="3810" bIns="381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600" b="0" i="0" u="none" kern="1200"/>
            <a:t>Branche</a:t>
          </a:r>
          <a:endParaRPr lang="fr-FR" sz="600" kern="1200"/>
        </a:p>
      </dsp:txBody>
      <dsp:txXfrm>
        <a:off x="2495402" y="2347800"/>
        <a:ext cx="574340" cy="278505"/>
      </dsp:txXfrm>
    </dsp:sp>
    <dsp:sp modelId="{0DC454D8-0F98-4EEF-B415-98B30D5A282A}">
      <dsp:nvSpPr>
        <dsp:cNvPr id="0" name=""/>
        <dsp:cNvSpPr/>
      </dsp:nvSpPr>
      <dsp:spPr>
        <a:xfrm>
          <a:off x="2250069" y="2820529"/>
          <a:ext cx="236668" cy="13469"/>
        </a:xfrm>
        <a:custGeom>
          <a:avLst/>
          <a:gdLst/>
          <a:ahLst/>
          <a:cxnLst/>
          <a:rect l="0" t="0" r="0" b="0"/>
          <a:pathLst>
            <a:path>
              <a:moveTo>
                <a:pt x="0" y="6734"/>
              </a:moveTo>
              <a:lnTo>
                <a:pt x="236668" y="6734"/>
              </a:lnTo>
            </a:path>
          </a:pathLst>
        </a:custGeom>
        <a:noFill/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fr-FR" sz="500" kern="1200"/>
        </a:p>
      </dsp:txBody>
      <dsp:txXfrm>
        <a:off x="2362486" y="2821347"/>
        <a:ext cx="11833" cy="11833"/>
      </dsp:txXfrm>
    </dsp:sp>
    <dsp:sp modelId="{60ED3C43-91A0-4C54-BD9F-AF4FB87D4CD2}">
      <dsp:nvSpPr>
        <dsp:cNvPr id="0" name=""/>
        <dsp:cNvSpPr/>
      </dsp:nvSpPr>
      <dsp:spPr>
        <a:xfrm>
          <a:off x="2486737" y="2679346"/>
          <a:ext cx="591670" cy="295835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" tIns="3810" rIns="3810" bIns="381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600" b="0" i="0" u="none" kern="1200"/>
            <a:t>Type de contrat</a:t>
          </a:r>
          <a:endParaRPr lang="fr-FR" sz="600" kern="1200"/>
        </a:p>
      </dsp:txBody>
      <dsp:txXfrm>
        <a:off x="2495402" y="2688011"/>
        <a:ext cx="574340" cy="278505"/>
      </dsp:txXfrm>
    </dsp:sp>
    <dsp:sp modelId="{6297D3C2-608E-47D4-B5CE-127D5AE86B70}">
      <dsp:nvSpPr>
        <dsp:cNvPr id="0" name=""/>
        <dsp:cNvSpPr/>
      </dsp:nvSpPr>
      <dsp:spPr>
        <a:xfrm rot="3310531">
          <a:off x="2161186" y="2990634"/>
          <a:ext cx="414433" cy="13469"/>
        </a:xfrm>
        <a:custGeom>
          <a:avLst/>
          <a:gdLst/>
          <a:ahLst/>
          <a:cxnLst/>
          <a:rect l="0" t="0" r="0" b="0"/>
          <a:pathLst>
            <a:path>
              <a:moveTo>
                <a:pt x="0" y="6734"/>
              </a:moveTo>
              <a:lnTo>
                <a:pt x="414433" y="6734"/>
              </a:lnTo>
            </a:path>
          </a:pathLst>
        </a:custGeom>
        <a:noFill/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fr-FR" sz="500" kern="1200"/>
        </a:p>
      </dsp:txBody>
      <dsp:txXfrm>
        <a:off x="2358042" y="2987008"/>
        <a:ext cx="20721" cy="20721"/>
      </dsp:txXfrm>
    </dsp:sp>
    <dsp:sp modelId="{5D394FF4-6F8A-4A7B-8489-54CED8CD0683}">
      <dsp:nvSpPr>
        <dsp:cNvPr id="0" name=""/>
        <dsp:cNvSpPr/>
      </dsp:nvSpPr>
      <dsp:spPr>
        <a:xfrm>
          <a:off x="2486737" y="3019556"/>
          <a:ext cx="591670" cy="295835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" tIns="3810" rIns="3810" bIns="381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600" b="0" i="0" u="none" kern="1200"/>
            <a:t>Date de réclamation</a:t>
          </a:r>
          <a:endParaRPr lang="fr-FR" sz="600" kern="1200"/>
        </a:p>
      </dsp:txBody>
      <dsp:txXfrm>
        <a:off x="2495402" y="3028221"/>
        <a:ext cx="574340" cy="278505"/>
      </dsp:txXfrm>
    </dsp:sp>
    <dsp:sp modelId="{974A5AD1-952D-482F-A478-63D06EF74214}">
      <dsp:nvSpPr>
        <dsp:cNvPr id="0" name=""/>
        <dsp:cNvSpPr/>
      </dsp:nvSpPr>
      <dsp:spPr>
        <a:xfrm rot="4249260">
          <a:off x="2008200" y="3160739"/>
          <a:ext cx="720405" cy="13469"/>
        </a:xfrm>
        <a:custGeom>
          <a:avLst/>
          <a:gdLst/>
          <a:ahLst/>
          <a:cxnLst/>
          <a:rect l="0" t="0" r="0" b="0"/>
          <a:pathLst>
            <a:path>
              <a:moveTo>
                <a:pt x="0" y="6734"/>
              </a:moveTo>
              <a:lnTo>
                <a:pt x="720405" y="6734"/>
              </a:lnTo>
            </a:path>
          </a:pathLst>
        </a:custGeom>
        <a:noFill/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fr-FR" sz="500" kern="1200"/>
        </a:p>
      </dsp:txBody>
      <dsp:txXfrm>
        <a:off x="2350393" y="3149463"/>
        <a:ext cx="36020" cy="36020"/>
      </dsp:txXfrm>
    </dsp:sp>
    <dsp:sp modelId="{DAB8A7DA-073C-4DCB-A4ED-11DD0E9749A3}">
      <dsp:nvSpPr>
        <dsp:cNvPr id="0" name=""/>
        <dsp:cNvSpPr/>
      </dsp:nvSpPr>
      <dsp:spPr>
        <a:xfrm>
          <a:off x="2486737" y="3359766"/>
          <a:ext cx="591670" cy="295835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" tIns="3810" rIns="3810" bIns="381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600" kern="1200"/>
            <a:t>Suivant</a:t>
          </a:r>
        </a:p>
      </dsp:txBody>
      <dsp:txXfrm>
        <a:off x="2495402" y="3368431"/>
        <a:ext cx="574340" cy="278505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9/3/layout/RandomtoResultProcess">
  <dgm:title val=""/>
  <dgm:desc val=""/>
  <dgm:catLst>
    <dgm:cat type="process" pri="1275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41" srcId="1" destId="11" srcOrd="0" destOrd="0"/>
        <dgm:cxn modelId="5" srcId="0" destId="2" srcOrd="0" destOrd="0"/>
        <dgm:cxn modelId="51" srcId="2" destId="21" srcOrd="0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clrData>
  <dgm:layoutNode name="Name0">
    <dgm:varLst>
      <dgm:dir/>
      <dgm:animOne val="branch"/>
      <dgm:animLvl val="lvl"/>
    </dgm:varLst>
    <dgm:choose name="Name1">
      <dgm:if name="Name2" func="var" arg="dir" op="equ" val="norm">
        <dgm:alg type="lin">
          <dgm:param type="fallback" val="2D"/>
          <dgm:param type="nodeVertAlign" val="t"/>
        </dgm:alg>
      </dgm:if>
      <dgm:else name="Name3">
        <dgm:alg type="lin">
          <dgm:param type="fallback" val="2D"/>
          <dgm:param type="nodeVertAlign" val="t"/>
          <dgm:param type="linDir" val="fromR"/>
        </dgm:alg>
      </dgm:else>
    </dgm:choose>
    <dgm:shape xmlns:r="http://schemas.openxmlformats.org/officeDocument/2006/relationships" r:blip="">
      <dgm:adjLst/>
    </dgm:shape>
    <dgm:constrLst>
      <dgm:constr type="userH" refType="h" fact="2"/>
      <dgm:constr type="w" for="ch" forName="chaos" refType="userH" fact="0.681"/>
      <dgm:constr type="h" for="ch" forName="chaos" refType="userH"/>
      <dgm:constr type="w" for="ch" forName="middle" refType="userH" fact="0.6"/>
      <dgm:constr type="h" for="ch" forName="middle" refType="userH"/>
      <dgm:constr type="w" for="ch" forName="last" refType="userH" fact="0.6"/>
      <dgm:constr type="h" for="ch" forName="last" refType="userH"/>
      <dgm:constr type="w" for="ch" forName="chevronComposite1" refType="userH" fact="0.22"/>
      <dgm:constr type="h" for="ch" forName="chevronComposite1" refType="userH" fact="0.52"/>
      <dgm:constr type="w" for="ch" forName="chevronComposite2" refType="userH" fact="0.22"/>
      <dgm:constr type="h" for="ch" forName="chevronComposite2" refType="userH" fact="0.52"/>
      <dgm:constr type="w" for="ch" forName="overlap" refType="userH" fact="-0.04"/>
      <dgm:constr type="h" for="ch" forName="overlap" refType="userH" fact="0.06"/>
      <dgm:constr type="primFontSz" for="des" forName="parTx1" op="equ" val="65"/>
      <dgm:constr type="primFontSz" for="des" forName="parTxMid" refType="primFontSz" refFor="des" refForName="parTx1" op="equ"/>
      <dgm:constr type="primFontSz" for="des" forName="circleTx" refType="primFontSz" refFor="des" refForName="parTx1" op="equ"/>
      <dgm:constr type="primFontSz" for="des" forName="desTx1" op="equ" val="65"/>
      <dgm:constr type="primFontSz" for="des" forName="desTxMid" refType="primFontSz" refFor="des" refForName="desTx1" op="equ"/>
      <dgm:constr type="primFontSz" for="des" forName="desTxN" refType="primFontSz" refFor="des" refForName="desTx1" op="equ"/>
    </dgm:constrLst>
    <dgm:forEach name="Name4" axis="ch" ptType="node">
      <dgm:choose name="Name5">
        <dgm:if name="Name6" axis="self" ptType="node" func="pos" op="equ" val="1">
          <dgm:layoutNode name="chaos">
            <dgm:alg type="composite"/>
            <dgm:shape xmlns:r="http://schemas.openxmlformats.org/officeDocument/2006/relationships" r:blip="">
              <dgm:adjLst/>
            </dgm:shape>
            <dgm:presOf/>
            <dgm:constrLst>
              <dgm:constr type="ctrX" for="ch" forName="parTx1" refType="w" fact="0.5"/>
              <dgm:constr type="t" for="ch" forName="parTx1" refType="w" fact="0.32"/>
              <dgm:constr type="w" for="ch" forName="parTx1" refType="w" fact="0.88"/>
              <dgm:constr type="h" for="ch" forName="parTx1" refType="w" fact="0.29"/>
              <dgm:constr type="ctrX" for="ch" forName="desTx1" refType="w" fact="0.5"/>
              <dgm:constr type="b" for="ch" forName="desTx1" refType="h"/>
              <dgm:constr type="w" for="ch" forName="desTx1" refType="w" fact="0.88"/>
              <dgm:constr type="h" for="ch" forName="desTx1" refType="h" fact="0.37"/>
              <dgm:constr type="l" for="ch" forName="c1" refType="w" fact="0.05"/>
              <dgm:constr type="t" for="ch" forName="c1" refType="w" fact="0.23"/>
              <dgm:constr type="w" for="ch" forName="c1" refType="w" fact="0.07"/>
              <dgm:constr type="h" for="ch" forName="c1" refType="w" refFor="ch" refForName="c1"/>
              <dgm:constr type="l" for="ch" forName="c2" refType="w" fact="0.1"/>
              <dgm:constr type="t" for="ch" forName="c2" refType="w" fact="0.13"/>
              <dgm:constr type="w" for="ch" forName="c2" refType="w" fact="0.07"/>
              <dgm:constr type="h" for="ch" forName="c2" refType="w" refFor="ch" refForName="c2"/>
              <dgm:constr type="l" for="ch" forName="c3" refType="w" fact="0.22"/>
              <dgm:constr type="t" for="ch" forName="c3" refType="w" fact="0.15"/>
              <dgm:constr type="w" for="ch" forName="c3" refType="w" fact="0.11"/>
              <dgm:constr type="h" for="ch" forName="c3" refType="w" refFor="ch" refForName="c3"/>
              <dgm:constr type="l" for="ch" forName="c4" refType="w" fact="0.32"/>
              <dgm:constr type="t" for="ch" forName="c4" refType="w" fact="0.04"/>
              <dgm:constr type="w" for="ch" forName="c4" refType="w" fact="0.07"/>
              <dgm:constr type="h" for="ch" forName="c4" refType="w" refFor="ch" refForName="c4"/>
              <dgm:constr type="l" for="ch" forName="c5" refType="w" fact="0.45"/>
              <dgm:constr type="t" for="ch" forName="c5" refType="w" fact="0"/>
              <dgm:constr type="w" for="ch" forName="c5" refType="w" fact="0.07"/>
              <dgm:constr type="h" for="ch" forName="c5" refType="w" refFor="ch" refForName="c5"/>
              <dgm:constr type="l" for="ch" forName="c6" refType="w" fact="0.61"/>
              <dgm:constr type="t" for="ch" forName="c6" refType="w" fact="0.07"/>
              <dgm:constr type="w" for="ch" forName="c6" refType="w" fact="0.07"/>
              <dgm:constr type="h" for="ch" forName="c6" refType="w" refFor="ch" refForName="c6"/>
              <dgm:constr type="l" for="ch" forName="c7" refType="w" fact="0.71"/>
              <dgm:constr type="t" for="ch" forName="c7" refType="w" fact="0.12"/>
              <dgm:constr type="w" for="ch" forName="c7" refType="w" fact="0.11"/>
              <dgm:constr type="h" for="ch" forName="c7" refType="w" refFor="ch" refForName="c7"/>
              <dgm:constr type="l" for="ch" forName="c8" refType="w" fact="0.85"/>
              <dgm:constr type="t" for="ch" forName="c8" refType="w" fact="0.23"/>
              <dgm:constr type="w" for="ch" forName="c8" refType="w" fact="0.07"/>
              <dgm:constr type="h" for="ch" forName="c8" refType="w" refFor="ch" refForName="c8"/>
              <dgm:constr type="l" for="ch" forName="c9" refType="w" fact="0.91"/>
              <dgm:constr type="t" for="ch" forName="c9" refType="w" fact="0.34"/>
              <dgm:constr type="w" for="ch" forName="c9" refType="w" fact="0.07"/>
              <dgm:constr type="h" for="ch" forName="c9" refType="w" refFor="ch" refForName="c9"/>
              <dgm:constr type="l" for="ch" forName="c10" refType="w" fact="0.39"/>
              <dgm:constr type="t" for="ch" forName="c10" refType="w" fact="0.13"/>
              <dgm:constr type="w" for="ch" forName="c10" refType="w" fact="0.18"/>
              <dgm:constr type="h" for="ch" forName="c10" refType="w" refFor="ch" refForName="c10"/>
              <dgm:constr type="l" for="ch" forName="c11" refType="w" fact="0"/>
              <dgm:constr type="t" for="ch" forName="c11" refType="w" fact="0.51"/>
              <dgm:constr type="w" for="ch" forName="c11" refType="w" fact="0.07"/>
              <dgm:constr type="h" for="ch" forName="c11" refType="w" refFor="ch" refForName="c11"/>
              <dgm:constr type="l" for="ch" forName="c12" refType="w" fact="0.06"/>
              <dgm:constr type="t" for="ch" forName="c12" refType="w" fact="0.6"/>
              <dgm:constr type="w" for="ch" forName="c12" refType="w" fact="0.11"/>
              <dgm:constr type="h" for="ch" forName="c12" refType="w" refFor="ch" refForName="c12"/>
              <dgm:constr type="l" for="ch" forName="c13" refType="w" fact="0.21"/>
              <dgm:constr type="t" for="ch" forName="c13" refType="w" fact="0.68"/>
              <dgm:constr type="w" for="ch" forName="c13" refType="w" fact="0.16"/>
              <dgm:constr type="h" for="ch" forName="c13" refType="w" refFor="ch" refForName="c13"/>
              <dgm:constr type="l" for="ch" forName="c14" refType="w" fact="0.42"/>
              <dgm:constr type="t" for="ch" forName="c14" refType="w" fact="0.81"/>
              <dgm:constr type="w" for="ch" forName="c14" refType="w" fact="0.07"/>
              <dgm:constr type="h" for="ch" forName="c14" refType="w" refFor="ch" refForName="c14"/>
              <dgm:constr type="l" for="ch" forName="c15" refType="w" fact="0.46"/>
              <dgm:constr type="t" for="ch" forName="c15" refType="w" fact="0.68"/>
              <dgm:constr type="w" for="ch" forName="c15" refType="w" fact="0.11"/>
              <dgm:constr type="h" for="ch" forName="c15" refType="w" refFor="ch" refForName="c15"/>
              <dgm:constr type="l" for="ch" forName="c16" refType="w" fact="0.56"/>
              <dgm:constr type="t" for="ch" forName="c16" refType="w" fact="0.82"/>
              <dgm:constr type="w" for="ch" forName="c16" refType="w" fact="0.07"/>
              <dgm:constr type="h" for="ch" forName="c16" refType="w" refFor="ch" refForName="c16"/>
              <dgm:constr type="l" for="ch" forName="c17" refType="w" fact="0.65"/>
              <dgm:constr type="t" for="ch" forName="c17" refType="w" fact="0.66"/>
              <dgm:constr type="w" for="ch" forName="c17" refType="w" fact="0.16"/>
              <dgm:constr type="h" for="ch" forName="c17" refType="w" refFor="ch" refForName="c17"/>
              <dgm:constr type="l" for="ch" forName="c18" refType="w" fact="0.87"/>
              <dgm:constr type="t" for="ch" forName="c18" refType="w" fact="0.62"/>
              <dgm:constr type="w" for="ch" forName="c18" refType="w" fact="0.11"/>
              <dgm:constr type="h" for="ch" forName="c18" refType="w" refFor="ch" refForName="c18"/>
            </dgm:constrLst>
            <dgm:layoutNode name="parTx1" styleLbl="revTx">
              <dgm:alg type="tx"/>
              <dgm:shape xmlns:r="http://schemas.openxmlformats.org/officeDocument/2006/relationships" type="rect" r:blip="">
                <dgm:adjLst/>
              </dgm:shape>
              <dgm:presOf axis="self" ptType="node"/>
              <dgm:constrLst>
                <dgm:constr type="lMarg" refType="primFontSz" fact="0.1"/>
                <dgm:constr type="rMarg" refType="primFontSz" fact="0.1"/>
                <dgm:constr type="tMarg" refType="primFontSz" fact="0.1"/>
                <dgm:constr type="bMarg" refType="primFontSz" fact="0.1"/>
              </dgm:constrLst>
              <dgm:ruleLst>
                <dgm:rule type="primFontSz" val="5" fact="NaN" max="NaN"/>
              </dgm:ruleLst>
            </dgm:layoutNode>
            <dgm:choose name="Name7">
              <dgm:if name="Name8" axis="ch" ptType="node" func="cnt" op="gte" val="1">
                <dgm:layoutNode name="desTx1" styleLbl="revTx">
                  <dgm:varLst>
                    <dgm:bulletEnabled val="1"/>
                  </dgm:varLst>
                  <dgm:choose name="Name9">
                    <dgm:if name="Name10" axis="ch" ptType="node" func="cnt" op="equ" val="1">
                      <dgm:alg type="tx">
                        <dgm:param type="shpTxLTRAlignCh" val="l"/>
                      </dgm:alg>
                    </dgm:if>
                    <dgm:else name="Name11">
                      <dgm:alg type="tx">
                        <dgm:param type="shpTxLTRAlignCh" val="l"/>
                        <dgm:param type="stBulletLvl" val="1"/>
                      </dgm:alg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" ptType="node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</dgm:if>
              <dgm:else name="Name12"/>
            </dgm:choose>
            <dgm:layoutNode name="c1" styleLbl="node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  <dgm:layoutNode name="c2" styleLbl="node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  <dgm:layoutNode name="c3" styleLbl="node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  <dgm:layoutNode name="c4" styleLbl="node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  <dgm:layoutNode name="c5" styleLbl="node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  <dgm:layoutNode name="c6" styleLbl="node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  <dgm:layoutNode name="c7" styleLbl="node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  <dgm:layoutNode name="c8" styleLbl="node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  <dgm:layoutNode name="c9" styleLbl="node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  <dgm:layoutNode name="c10" styleLbl="node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  <dgm:layoutNode name="c11" styleLbl="node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  <dgm:layoutNode name="c12" styleLbl="node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  <dgm:layoutNode name="c13" styleLbl="node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  <dgm:layoutNode name="c14" styleLbl="node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  <dgm:layoutNode name="c15" styleLbl="node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  <dgm:layoutNode name="c16" styleLbl="node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  <dgm:layoutNode name="c17" styleLbl="node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  <dgm:layoutNode name="c18" styleLbl="node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layoutNode>
        </dgm:if>
        <dgm:if name="Name13" axis="self" ptType="node" func="revPos" op="equ" val="1">
          <dgm:layoutNode name="last">
            <dgm:alg type="composite"/>
            <dgm:shape xmlns:r="http://schemas.openxmlformats.org/officeDocument/2006/relationships" r:blip="">
              <dgm:adjLst/>
            </dgm:shape>
            <dgm:presOf/>
            <dgm:constrLst>
              <dgm:constr type="ctrX" for="ch" forName="circleTx" refType="w" fact="0.5"/>
              <dgm:constr type="t" for="ch" forName="circleTx" refType="w" fact="0.117"/>
              <dgm:constr type="w" for="ch" forName="circleTx" refType="h" refFor="ch" refForName="circleTx"/>
              <dgm:constr type="h" for="ch" forName="circleTx" refType="w" fact="0.85"/>
              <dgm:constr type="l" for="ch" forName="desTxN"/>
              <dgm:constr type="b" for="ch" forName="desTxN" refType="h"/>
              <dgm:constr type="w" for="ch" forName="desTxN" refType="w"/>
              <dgm:constr type="h" for="ch" forName="desTxN" refType="h" fact="0.37"/>
              <dgm:constr type="ctrX" for="ch" forName="spN" refType="w" fact="0.5"/>
              <dgm:constr type="t" for="ch" forName="spN"/>
              <dgm:constr type="w" for="ch" forName="spN" refType="w" fact="0.93"/>
              <dgm:constr type="h" for="ch" forName="spN" refType="h" fact="0.01"/>
            </dgm:constrLst>
            <dgm:layoutNode name="circleTx" styleLbl="node1">
              <dgm:alg type="tx"/>
              <dgm:shape xmlns:r="http://schemas.openxmlformats.org/officeDocument/2006/relationships" type="ellipse" r:blip="">
                <dgm:adjLst/>
              </dgm:shape>
              <dgm:presOf axis="self" ptType="node"/>
              <dgm:constrLst>
                <dgm:constr type="lMarg"/>
                <dgm:constr type="rMarg"/>
                <dgm:constr type="tMarg"/>
                <dgm:constr type="bMarg"/>
              </dgm:constrLst>
              <dgm:ruleLst>
                <dgm:rule type="primFontSz" val="5" fact="NaN" max="NaN"/>
              </dgm:ruleLst>
            </dgm:layoutNode>
            <dgm:choose name="Name14">
              <dgm:if name="Name15" axis="ch" ptType="node" func="cnt" op="gte" val="1">
                <dgm:layoutNode name="desTxN" styleLbl="revTx">
                  <dgm:varLst>
                    <dgm:bulletEnabled val="1"/>
                  </dgm:varLst>
                  <dgm:choose name="Name16">
                    <dgm:if name="Name17" axis="ch" ptType="node" func="cnt" op="equ" val="1">
                      <dgm:alg type="tx">
                        <dgm:param type="shpTxLTRAlignCh" val="l"/>
                      </dgm:alg>
                    </dgm:if>
                    <dgm:else name="Name18">
                      <dgm:alg type="tx">
                        <dgm:param type="shpTxLTRAlignCh" val="l"/>
                        <dgm:param type="stBulletLvl" val="1"/>
                      </dgm:alg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" ptType="node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</dgm:if>
              <dgm:else name="Name19"/>
            </dgm:choose>
            <dgm:layoutNode name="spN">
              <dgm:alg type="sp"/>
              <dgm:shape xmlns:r="http://schemas.openxmlformats.org/officeDocument/2006/relationships" r:blip="">
                <dgm:adjLst/>
              </dgm:shape>
              <dgm:presOf/>
            </dgm:layoutNode>
          </dgm:layoutNode>
        </dgm:if>
        <dgm:else name="Name20">
          <dgm:layoutNode name="middle">
            <dgm:alg type="composite"/>
            <dgm:shape xmlns:r="http://schemas.openxmlformats.org/officeDocument/2006/relationships" r:blip="">
              <dgm:adjLst/>
            </dgm:shape>
            <dgm:presOf/>
            <dgm:constrLst>
              <dgm:constr type="l" for="ch" forName="parTxMid"/>
              <dgm:constr type="t" for="ch" forName="parTxMid" refType="w" fact="0.167"/>
              <dgm:constr type="w" for="ch" forName="parTxMid" refType="w"/>
              <dgm:constr type="h" for="ch" forName="parTxMid" refType="w" fact="0.7"/>
              <dgm:constr type="l" for="ch" forName="desTxMid"/>
              <dgm:constr type="b" for="ch" forName="desTxMid" refType="h"/>
              <dgm:constr type="w" for="ch" forName="desTxMid" refType="w"/>
              <dgm:constr type="h" for="ch" forName="desTxMid" refType="h" fact="0.37"/>
              <dgm:constr type="ctrX" for="ch" forName="spMid" refType="w" fact="0.5"/>
              <dgm:constr type="t" for="ch" forName="spMid"/>
              <dgm:constr type="w" for="ch" forName="spMid" refType="w" fact="0.01"/>
              <dgm:constr type="h" for="ch" forName="spMid" refType="h" fact="0.01"/>
            </dgm:constrLst>
            <dgm:layoutNode name="parTxMid" styleLbl="revTx">
              <dgm:alg type="tx"/>
              <dgm:shape xmlns:r="http://schemas.openxmlformats.org/officeDocument/2006/relationships" type="rect" r:blip="">
                <dgm:adjLst/>
              </dgm:shape>
              <dgm:presOf axis="self" ptType="node"/>
              <dgm:constrLst>
                <dgm:constr type="lMarg" refType="primFontSz" fact="0.1"/>
                <dgm:constr type="rMarg" refType="primFontSz" fact="0.1"/>
                <dgm:constr type="tMarg" refType="primFontSz" fact="0.1"/>
                <dgm:constr type="bMarg" refType="primFontSz" fact="0.1"/>
              </dgm:constrLst>
              <dgm:ruleLst>
                <dgm:rule type="primFontSz" val="5" fact="NaN" max="NaN"/>
              </dgm:ruleLst>
            </dgm:layoutNode>
            <dgm:choose name="Name21">
              <dgm:if name="Name22" axis="ch" ptType="node" func="cnt" op="gte" val="1">
                <dgm:layoutNode name="desTxMid" styleLbl="revTx">
                  <dgm:varLst>
                    <dgm:bulletEnabled val="1"/>
                  </dgm:varLst>
                  <dgm:choose name="Name23">
                    <dgm:if name="Name24" axis="ch" ptType="node" func="cnt" op="equ" val="1">
                      <dgm:alg type="tx">
                        <dgm:param type="shpTxLTRAlignCh" val="l"/>
                      </dgm:alg>
                    </dgm:if>
                    <dgm:else name="Name25">
                      <dgm:alg type="tx">
                        <dgm:param type="shpTxLTRAlignCh" val="l"/>
                        <dgm:param type="stBulletLvl" val="1"/>
                      </dgm:alg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" ptType="node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</dgm:if>
              <dgm:else name="Name26"/>
            </dgm:choose>
            <dgm:layoutNode name="spMid">
              <dgm:alg type="sp"/>
              <dgm:shape xmlns:r="http://schemas.openxmlformats.org/officeDocument/2006/relationships" r:blip="">
                <dgm:adjLst/>
              </dgm:shape>
              <dgm:presOf/>
            </dgm:layoutNode>
          </dgm:layoutNode>
        </dgm:else>
      </dgm:choose>
      <dgm:forEach name="Name27" axis="followSib" ptType="sibTrans" cnt="1">
        <dgm:layoutNode name="chevronComposite1" styleLbl="alignImgPlace1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l" for="ch" forName="chevron1"/>
            <dgm:constr type="t" for="ch" forName="chevron1" refType="h" fact="0.1923"/>
            <dgm:constr type="w" for="ch" forName="chevron1" refType="w"/>
            <dgm:constr type="b" for="ch" forName="chevron1" refType="h"/>
            <dgm:constr type="l" for="ch" forName="spChevron1"/>
            <dgm:constr type="t" for="ch" forName="spChevron1"/>
            <dgm:constr type="w" for="ch" forName="spChevron1" refType="w" fact="0.01"/>
            <dgm:constr type="h" for="ch" forName="spChevron1" refType="h" fact="0.01"/>
          </dgm:constrLst>
          <dgm:layoutNode name="chevron1">
            <dgm:alg type="sp"/>
            <dgm:choose name="Name28">
              <dgm:if name="Name29" func="var" arg="dir" op="equ" val="norm">
                <dgm:shape xmlns:r="http://schemas.openxmlformats.org/officeDocument/2006/relationships" type="chevron" r:blip="">
                  <dgm:adjLst>
                    <dgm:adj idx="1" val="0.6231"/>
                  </dgm:adjLst>
                </dgm:shape>
              </dgm:if>
              <dgm:else name="Name30">
                <dgm:shape xmlns:r="http://schemas.openxmlformats.org/officeDocument/2006/relationships" rot="180" type="chevron" r:blip="">
                  <dgm:adjLst>
                    <dgm:adj idx="1" val="0.6231"/>
                  </dgm:adjLst>
                </dgm:shape>
              </dgm:else>
            </dgm:choose>
            <dgm:presOf/>
          </dgm:layoutNode>
          <dgm:layoutNode name="spChevron1">
            <dgm:alg type="sp"/>
            <dgm:shape xmlns:r="http://schemas.openxmlformats.org/officeDocument/2006/relationships" r:blip="">
              <dgm:adjLst/>
            </dgm:shape>
            <dgm:presOf/>
          </dgm:layoutNode>
        </dgm:layoutNode>
        <dgm:choose name="Name31">
          <dgm:if name="Name32" axis="root ch" ptType="all node" func="cnt" op="equ" val="2">
            <dgm:layoutNode name="overlap">
              <dgm:alg type="sp"/>
              <dgm:shape xmlns:r="http://schemas.openxmlformats.org/officeDocument/2006/relationships" r:blip="">
                <dgm:adjLst/>
              </dgm:shape>
              <dgm:presOf/>
            </dgm:layoutNode>
            <dgm:layoutNode name="chevronComposite2" styleLbl="alignImgPlace1">
              <dgm:alg type="composite"/>
              <dgm:shape xmlns:r="http://schemas.openxmlformats.org/officeDocument/2006/relationships" r:blip="">
                <dgm:adjLst/>
              </dgm:shape>
              <dgm:presOf/>
              <dgm:constrLst>
                <dgm:constr type="l" for="ch" forName="chevron2"/>
                <dgm:constr type="t" for="ch" forName="chevron2" refType="h" fact="0.1923"/>
                <dgm:constr type="w" for="ch" forName="chevron2" refType="w"/>
                <dgm:constr type="b" for="ch" forName="chevron2" refType="h"/>
                <dgm:constr type="l" for="ch" forName="spChevron2"/>
                <dgm:constr type="t" for="ch" forName="spChevron2"/>
                <dgm:constr type="w" for="ch" forName="spChevron2" refType="w" fact="0.01"/>
                <dgm:constr type="h" for="ch" forName="spChevron2" refType="h" fact="0.01"/>
              </dgm:constrLst>
              <dgm:layoutNode name="chevron2">
                <dgm:alg type="sp"/>
                <dgm:choose name="Name33">
                  <dgm:if name="Name34" func="var" arg="dir" op="equ" val="norm">
                    <dgm:shape xmlns:r="http://schemas.openxmlformats.org/officeDocument/2006/relationships" type="chevron" r:blip="">
                      <dgm:adjLst>
                        <dgm:adj idx="1" val="0.6231"/>
                      </dgm:adjLst>
                    </dgm:shape>
                  </dgm:if>
                  <dgm:else name="Name35">
                    <dgm:shape xmlns:r="http://schemas.openxmlformats.org/officeDocument/2006/relationships" rot="180" type="chevron" r:blip="">
                      <dgm:adjLst>
                        <dgm:adj idx="1" val="0.6231"/>
                      </dgm:adjLst>
                    </dgm:shape>
                  </dgm:else>
                </dgm:choose>
                <dgm:presOf/>
              </dgm:layoutNode>
              <dgm:layoutNode name="spChevron2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</dgm:layoutNode>
          </dgm:if>
          <dgm:else name="Name36"/>
        </dgm:choos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process1">
  <dgm:title val=""/>
  <dgm:desc val=""/>
  <dgm:catLst>
    <dgm:cat type="process" pri="1000"/>
    <dgm:cat type="convert" pri="1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h" for="ch" ptType="node" op="equ"/>
      <dgm:constr type="primFontSz" for="ch" ptType="node" op="equ" val="65"/>
      <dgm:constr type="w" for="ch" ptType="sibTrans" refType="w" refFor="ch" refPtType="node" op="equ" fact="0.4"/>
      <dgm:constr type="h" for="ch" ptType="sibTrans" op="equ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h" val="NaN" fact="1.5" max="NaN"/>
          <dgm:rule type="primFontSz" val="5" fact="NaN" max="NaN"/>
          <dgm:rule type="h" val="INF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25"/>
            <dgm:constr type="endPad" refType="connDist" fact="0.22"/>
          </dgm:constrLst>
          <dgm:ruleLst/>
          <dgm:layoutNode name="connectorText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30.xml><?xml version="1.0" encoding="utf-8"?>
<dgm:layoutDef xmlns:dgm="http://schemas.openxmlformats.org/drawingml/2006/diagram" xmlns:a="http://schemas.openxmlformats.org/drawingml/2006/main" uniqueId="urn:microsoft.com/office/officeart/2005/8/layout/process1">
  <dgm:title val=""/>
  <dgm:desc val=""/>
  <dgm:catLst>
    <dgm:cat type="process" pri="1000"/>
    <dgm:cat type="convert" pri="1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h" for="ch" ptType="node" op="equ"/>
      <dgm:constr type="primFontSz" for="ch" ptType="node" op="equ" val="65"/>
      <dgm:constr type="w" for="ch" ptType="sibTrans" refType="w" refFor="ch" refPtType="node" op="equ" fact="0.4"/>
      <dgm:constr type="h" for="ch" ptType="sibTrans" op="equ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h" val="NaN" fact="1.5" max="NaN"/>
          <dgm:rule type="primFontSz" val="5" fact="NaN" max="NaN"/>
          <dgm:rule type="h" val="INF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25"/>
            <dgm:constr type="endPad" refType="connDist" fact="0.22"/>
          </dgm:constrLst>
          <dgm:ruleLst/>
          <dgm:layoutNode name="connectorText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hierarchy2">
  <dgm:title val=""/>
  <dgm:desc val=""/>
  <dgm:catLst>
    <dgm:cat type="hierarchy" pri="5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diagram">
    <dgm:varLst>
      <dgm:chPref val="1"/>
      <dgm:dir/>
      <dgm:animOne val="branch"/>
      <dgm:animLvl val="lvl"/>
      <dgm:resizeHandles val="exact"/>
    </dgm:varLst>
    <dgm:choose name="Name0">
      <dgm:if name="Name1" func="var" arg="dir" op="equ" val="norm">
        <dgm:alg type="hierChild">
          <dgm:param type="linDir" val="fromT"/>
          <dgm:param type="chAlign" val="l"/>
        </dgm:alg>
      </dgm:if>
      <dgm:else name="Name2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ptType="node" refType="h"/>
      <dgm:constr type="w" for="des" ptType="node" refType="h" refFor="des" refPtType="node" fact="2"/>
      <dgm:constr type="sibSp" refType="h" refFor="des" refPtType="node" op="equ" fact="0.15"/>
      <dgm:constr type="sibSp" for="des" forName="level2hierChild" refType="h" refFor="des" refPtType="node" op="equ" fact="0.15"/>
      <dgm:constr type="sibSp" for="des" forName="level3hierChild" refType="h" refFor="des" refPtType="node" op="equ" fact="0.15"/>
      <dgm:constr type="sp" for="des" forName="root1" refType="w" refFor="des" refPtType="node" fact="0.4"/>
      <dgm:constr type="sp" for="des" forName="root2" refType="sp" refFor="des" refForName="root1" op="equ"/>
      <dgm:constr type="primFontSz" for="des" ptType="node" op="equ" val="65"/>
      <dgm:constr type="primFontSz" for="des" forName="connTx" op="equ" val="55"/>
      <dgm:constr type="primFontSz" for="des" forName="connTx" refType="primFontSz" refFor="des" refPtType="node" op="lte" fact="0.8"/>
    </dgm:constrLst>
    <dgm:ruleLst/>
    <dgm:forEach name="Name3" axis="ch">
      <dgm:forEach name="Name4" axis="self" ptType="node">
        <dgm:layoutNode name="root1">
          <dgm:choose name="Name5">
            <dgm:if name="Name6" func="var" arg="dir" op="equ" val="norm">
              <dgm:alg type="hierRoot">
                <dgm:param type="hierAlign" val="lCtrCh"/>
              </dgm:alg>
            </dgm:if>
            <dgm:else name="Name7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/>
          <dgm:ruleLst/>
          <dgm:layoutNode name="LevelOneTextNode" styleLbl="node0">
            <dgm:varLst>
              <dgm:chPref val="3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5" fact="NaN" max="NaN"/>
            </dgm:ruleLst>
          </dgm:layoutNode>
          <dgm:layoutNode name="level2hierChild">
            <dgm:choose name="Name8">
              <dgm:if name="Name9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0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eat" axis="ch">
              <dgm:forEach name="Name11" axis="self" ptType="parTrans" cnt="1">
                <dgm:layoutNode name="conn2-1">
                  <dgm:choose name="Name12">
                    <dgm:if name="Name13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</dgm:alg>
                    </dgm:if>
                    <dgm:else name="Name14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</dgm:alg>
                    </dgm:else>
                  </dgm:choose>
                  <dgm:shape xmlns:r="http://schemas.openxmlformats.org/officeDocument/2006/relationships" type="conn" r:blip="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ruleLst/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5" axis="self" ptType="node">
                <dgm:layoutNode name="root2">
                  <dgm:choose name="Name16">
                    <dgm:if name="Name17" func="var" arg="dir" op="equ" val="norm">
                      <dgm:alg type="hierRoot">
                        <dgm:param type="hierAlign" val="lCtrCh"/>
                      </dgm:alg>
                    </dgm:if>
                    <dgm:else name="Name18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oundRect" r:blip="">
                      <dgm:adjLst>
                        <dgm:adj idx="1" val="0.1"/>
                      </dgm:adjLst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level3hierChild">
                    <dgm:choose name="Name19">
                      <dgm:if name="Name20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1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  <dgm:forEach name="Name22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40.xml><?xml version="1.0" encoding="utf-8"?>
<dgm:layoutDef xmlns:dgm="http://schemas.openxmlformats.org/drawingml/2006/diagram" xmlns:a="http://schemas.openxmlformats.org/drawingml/2006/main" uniqueId="urn:microsoft.com/office/officeart/2005/8/layout/hierarchy2">
  <dgm:title val=""/>
  <dgm:desc val=""/>
  <dgm:catLst>
    <dgm:cat type="hierarchy" pri="5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diagram">
    <dgm:varLst>
      <dgm:chPref val="1"/>
      <dgm:dir/>
      <dgm:animOne val="branch"/>
      <dgm:animLvl val="lvl"/>
      <dgm:resizeHandles val="exact"/>
    </dgm:varLst>
    <dgm:choose name="Name0">
      <dgm:if name="Name1" func="var" arg="dir" op="equ" val="norm">
        <dgm:alg type="hierChild">
          <dgm:param type="linDir" val="fromT"/>
          <dgm:param type="chAlign" val="l"/>
        </dgm:alg>
      </dgm:if>
      <dgm:else name="Name2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ptType="node" refType="h"/>
      <dgm:constr type="w" for="des" ptType="node" refType="h" refFor="des" refPtType="node" fact="2"/>
      <dgm:constr type="sibSp" refType="h" refFor="des" refPtType="node" op="equ" fact="0.15"/>
      <dgm:constr type="sibSp" for="des" forName="level2hierChild" refType="h" refFor="des" refPtType="node" op="equ" fact="0.15"/>
      <dgm:constr type="sibSp" for="des" forName="level3hierChild" refType="h" refFor="des" refPtType="node" op="equ" fact="0.15"/>
      <dgm:constr type="sp" for="des" forName="root1" refType="w" refFor="des" refPtType="node" fact="0.4"/>
      <dgm:constr type="sp" for="des" forName="root2" refType="sp" refFor="des" refForName="root1" op="equ"/>
      <dgm:constr type="primFontSz" for="des" ptType="node" op="equ" val="65"/>
      <dgm:constr type="primFontSz" for="des" forName="connTx" op="equ" val="55"/>
      <dgm:constr type="primFontSz" for="des" forName="connTx" refType="primFontSz" refFor="des" refPtType="node" op="lte" fact="0.8"/>
    </dgm:constrLst>
    <dgm:ruleLst/>
    <dgm:forEach name="Name3" axis="ch">
      <dgm:forEach name="Name4" axis="self" ptType="node">
        <dgm:layoutNode name="root1">
          <dgm:choose name="Name5">
            <dgm:if name="Name6" func="var" arg="dir" op="equ" val="norm">
              <dgm:alg type="hierRoot">
                <dgm:param type="hierAlign" val="lCtrCh"/>
              </dgm:alg>
            </dgm:if>
            <dgm:else name="Name7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/>
          <dgm:ruleLst/>
          <dgm:layoutNode name="LevelOneTextNode" styleLbl="node0">
            <dgm:varLst>
              <dgm:chPref val="3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5" fact="NaN" max="NaN"/>
            </dgm:ruleLst>
          </dgm:layoutNode>
          <dgm:layoutNode name="level2hierChild">
            <dgm:choose name="Name8">
              <dgm:if name="Name9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0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eat" axis="ch">
              <dgm:forEach name="Name11" axis="self" ptType="parTrans" cnt="1">
                <dgm:layoutNode name="conn2-1">
                  <dgm:choose name="Name12">
                    <dgm:if name="Name13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</dgm:alg>
                    </dgm:if>
                    <dgm:else name="Name14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</dgm:alg>
                    </dgm:else>
                  </dgm:choose>
                  <dgm:shape xmlns:r="http://schemas.openxmlformats.org/officeDocument/2006/relationships" type="conn" r:blip="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ruleLst/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5" axis="self" ptType="node">
                <dgm:layoutNode name="root2">
                  <dgm:choose name="Name16">
                    <dgm:if name="Name17" func="var" arg="dir" op="equ" val="norm">
                      <dgm:alg type="hierRoot">
                        <dgm:param type="hierAlign" val="lCtrCh"/>
                      </dgm:alg>
                    </dgm:if>
                    <dgm:else name="Name18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oundRect" r:blip="">
                      <dgm:adjLst>
                        <dgm:adj idx="1" val="0.1"/>
                      </dgm:adjLst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level3hierChild">
                    <dgm:choose name="Name19">
                      <dgm:if name="Name20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1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  <dgm:forEach name="Name22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hierarchy2">
  <dgm:title val=""/>
  <dgm:desc val=""/>
  <dgm:catLst>
    <dgm:cat type="hierarchy" pri="5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diagram">
    <dgm:varLst>
      <dgm:chPref val="1"/>
      <dgm:dir/>
      <dgm:animOne val="branch"/>
      <dgm:animLvl val="lvl"/>
      <dgm:resizeHandles val="exact"/>
    </dgm:varLst>
    <dgm:choose name="Name0">
      <dgm:if name="Name1" func="var" arg="dir" op="equ" val="norm">
        <dgm:alg type="hierChild">
          <dgm:param type="linDir" val="fromT"/>
          <dgm:param type="chAlign" val="l"/>
        </dgm:alg>
      </dgm:if>
      <dgm:else name="Name2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ptType="node" refType="h"/>
      <dgm:constr type="w" for="des" ptType="node" refType="h" refFor="des" refPtType="node" fact="2"/>
      <dgm:constr type="sibSp" refType="h" refFor="des" refPtType="node" op="equ" fact="0.15"/>
      <dgm:constr type="sibSp" for="des" forName="level2hierChild" refType="h" refFor="des" refPtType="node" op="equ" fact="0.15"/>
      <dgm:constr type="sibSp" for="des" forName="level3hierChild" refType="h" refFor="des" refPtType="node" op="equ" fact="0.15"/>
      <dgm:constr type="sp" for="des" forName="root1" refType="w" refFor="des" refPtType="node" fact="0.4"/>
      <dgm:constr type="sp" for="des" forName="root2" refType="sp" refFor="des" refForName="root1" op="equ"/>
      <dgm:constr type="primFontSz" for="des" ptType="node" op="equ" val="65"/>
      <dgm:constr type="primFontSz" for="des" forName="connTx" op="equ" val="55"/>
      <dgm:constr type="primFontSz" for="des" forName="connTx" refType="primFontSz" refFor="des" refPtType="node" op="lte" fact="0.8"/>
    </dgm:constrLst>
    <dgm:ruleLst/>
    <dgm:forEach name="Name3" axis="ch">
      <dgm:forEach name="Name4" axis="self" ptType="node">
        <dgm:layoutNode name="root1">
          <dgm:choose name="Name5">
            <dgm:if name="Name6" func="var" arg="dir" op="equ" val="norm">
              <dgm:alg type="hierRoot">
                <dgm:param type="hierAlign" val="lCtrCh"/>
              </dgm:alg>
            </dgm:if>
            <dgm:else name="Name7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/>
          <dgm:ruleLst/>
          <dgm:layoutNode name="LevelOneTextNode" styleLbl="node0">
            <dgm:varLst>
              <dgm:chPref val="3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5" fact="NaN" max="NaN"/>
            </dgm:ruleLst>
          </dgm:layoutNode>
          <dgm:layoutNode name="level2hierChild">
            <dgm:choose name="Name8">
              <dgm:if name="Name9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0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eat" axis="ch">
              <dgm:forEach name="Name11" axis="self" ptType="parTrans" cnt="1">
                <dgm:layoutNode name="conn2-1">
                  <dgm:choose name="Name12">
                    <dgm:if name="Name13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</dgm:alg>
                    </dgm:if>
                    <dgm:else name="Name14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</dgm:alg>
                    </dgm:else>
                  </dgm:choose>
                  <dgm:shape xmlns:r="http://schemas.openxmlformats.org/officeDocument/2006/relationships" type="conn" r:blip="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ruleLst/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5" axis="self" ptType="node">
                <dgm:layoutNode name="root2">
                  <dgm:choose name="Name16">
                    <dgm:if name="Name17" func="var" arg="dir" op="equ" val="norm">
                      <dgm:alg type="hierRoot">
                        <dgm:param type="hierAlign" val="lCtrCh"/>
                      </dgm:alg>
                    </dgm:if>
                    <dgm:else name="Name18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oundRect" r:blip="">
                      <dgm:adjLst>
                        <dgm:adj idx="1" val="0.1"/>
                      </dgm:adjLst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level3hierChild">
                    <dgm:choose name="Name19">
                      <dgm:if name="Name20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1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  <dgm:forEach name="Name22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50.xml><?xml version="1.0" encoding="utf-8"?>
<dgm:layoutDef xmlns:dgm="http://schemas.openxmlformats.org/drawingml/2006/diagram" xmlns:a="http://schemas.openxmlformats.org/drawingml/2006/main" uniqueId="urn:microsoft.com/office/officeart/2005/8/layout/hierarchy2">
  <dgm:title val=""/>
  <dgm:desc val=""/>
  <dgm:catLst>
    <dgm:cat type="hierarchy" pri="5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diagram">
    <dgm:varLst>
      <dgm:chPref val="1"/>
      <dgm:dir/>
      <dgm:animOne val="branch"/>
      <dgm:animLvl val="lvl"/>
      <dgm:resizeHandles val="exact"/>
    </dgm:varLst>
    <dgm:choose name="Name0">
      <dgm:if name="Name1" func="var" arg="dir" op="equ" val="norm">
        <dgm:alg type="hierChild">
          <dgm:param type="linDir" val="fromT"/>
          <dgm:param type="chAlign" val="l"/>
        </dgm:alg>
      </dgm:if>
      <dgm:else name="Name2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ptType="node" refType="h"/>
      <dgm:constr type="w" for="des" ptType="node" refType="h" refFor="des" refPtType="node" fact="2"/>
      <dgm:constr type="sibSp" refType="h" refFor="des" refPtType="node" op="equ" fact="0.15"/>
      <dgm:constr type="sibSp" for="des" forName="level2hierChild" refType="h" refFor="des" refPtType="node" op="equ" fact="0.15"/>
      <dgm:constr type="sibSp" for="des" forName="level3hierChild" refType="h" refFor="des" refPtType="node" op="equ" fact="0.15"/>
      <dgm:constr type="sp" for="des" forName="root1" refType="w" refFor="des" refPtType="node" fact="0.4"/>
      <dgm:constr type="sp" for="des" forName="root2" refType="sp" refFor="des" refForName="root1" op="equ"/>
      <dgm:constr type="primFontSz" for="des" ptType="node" op="equ" val="65"/>
      <dgm:constr type="primFontSz" for="des" forName="connTx" op="equ" val="55"/>
      <dgm:constr type="primFontSz" for="des" forName="connTx" refType="primFontSz" refFor="des" refPtType="node" op="lte" fact="0.8"/>
    </dgm:constrLst>
    <dgm:ruleLst/>
    <dgm:forEach name="Name3" axis="ch">
      <dgm:forEach name="Name4" axis="self" ptType="node">
        <dgm:layoutNode name="root1">
          <dgm:choose name="Name5">
            <dgm:if name="Name6" func="var" arg="dir" op="equ" val="norm">
              <dgm:alg type="hierRoot">
                <dgm:param type="hierAlign" val="lCtrCh"/>
              </dgm:alg>
            </dgm:if>
            <dgm:else name="Name7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/>
          <dgm:ruleLst/>
          <dgm:layoutNode name="LevelOneTextNode" styleLbl="node0">
            <dgm:varLst>
              <dgm:chPref val="3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5" fact="NaN" max="NaN"/>
            </dgm:ruleLst>
          </dgm:layoutNode>
          <dgm:layoutNode name="level2hierChild">
            <dgm:choose name="Name8">
              <dgm:if name="Name9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0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eat" axis="ch">
              <dgm:forEach name="Name11" axis="self" ptType="parTrans" cnt="1">
                <dgm:layoutNode name="conn2-1">
                  <dgm:choose name="Name12">
                    <dgm:if name="Name13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</dgm:alg>
                    </dgm:if>
                    <dgm:else name="Name14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</dgm:alg>
                    </dgm:else>
                  </dgm:choose>
                  <dgm:shape xmlns:r="http://schemas.openxmlformats.org/officeDocument/2006/relationships" type="conn" r:blip="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ruleLst/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5" axis="self" ptType="node">
                <dgm:layoutNode name="root2">
                  <dgm:choose name="Name16">
                    <dgm:if name="Name17" func="var" arg="dir" op="equ" val="norm">
                      <dgm:alg type="hierRoot">
                        <dgm:param type="hierAlign" val="lCtrCh"/>
                      </dgm:alg>
                    </dgm:if>
                    <dgm:else name="Name18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oundRect" r:blip="">
                      <dgm:adjLst>
                        <dgm:adj idx="1" val="0.1"/>
                      </dgm:adjLst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level3hierChild">
                    <dgm:choose name="Name19">
                      <dgm:if name="Name20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1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  <dgm:forEach name="Name22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0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0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0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3025745" cy="463891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quarter" idx="1"/>
          </p:nvPr>
        </p:nvSpPr>
        <p:spPr>
          <a:xfrm>
            <a:off x="3955991" y="0"/>
            <a:ext cx="3027378" cy="463891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200"/>
            </a:lvl1pPr>
          </a:lstStyle>
          <a:p>
            <a:fld id="{A3F9ADF4-C0B8-4C6D-86D7-7561680EE8D6}" type="datetime1">
              <a:rPr lang="fr-FR" smtClean="0"/>
              <a:t>20/03/2023</a:t>
            </a:fld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2"/>
          </p:nvPr>
        </p:nvSpPr>
        <p:spPr>
          <a:xfrm>
            <a:off x="1" y="8816865"/>
            <a:ext cx="3025745" cy="465363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eaLnBrk="1" hangingPunct="1">
              <a:defRPr sz="1200"/>
            </a:lvl1pPr>
          </a:lstStyle>
          <a:p>
            <a:r>
              <a:rPr lang="fr-FR"/>
              <a:t>Title of the presentation</a:t>
            </a: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3"/>
          </p:nvPr>
        </p:nvSpPr>
        <p:spPr>
          <a:xfrm>
            <a:off x="3955991" y="8816865"/>
            <a:ext cx="3027378" cy="465363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/>
            </a:lvl1pPr>
          </a:lstStyle>
          <a:p>
            <a:fld id="{A45A4975-6CFE-4840-9B29-7E8FF68A7FDB}" type="slidenum">
              <a:rPr lang="fr-FR"/>
              <a:pPr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208040220"/>
      </p:ext>
    </p:extLst>
  </p:cSld>
  <p:clrMap bg1="lt1" tx1="dk1" bg2="lt2" tx2="dk2" accent1="accent1" accent2="accent2" accent3="accent3" accent4="accent4" accent5="accent5" accent6="accent6" hlink="hlink" folHlink="folHlink"/>
  <p:hf hdr="0" ft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_rels/notesMaster10.xml.rels><?xml version="1.0" encoding="UTF-8" standalone="yes"?>
<Relationships xmlns="http://schemas.openxmlformats.org/package/2006/relationships"><Relationship Id="rId1" Type="http://schemas.openxmlformats.org/officeDocument/2006/relationships/theme" Target="../theme/theme40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3025745" cy="463891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955991" y="0"/>
            <a:ext cx="3027378" cy="463891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200"/>
            </a:lvl1pPr>
          </a:lstStyle>
          <a:p>
            <a:fld id="{92FC10EA-E5ED-483A-B2C8-4D9F1F389643}" type="datetime1">
              <a:rPr lang="fr-FR" smtClean="0"/>
              <a:t>20/03/2023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398463" y="696913"/>
            <a:ext cx="6188075" cy="34813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fr-FR" noProof="0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698500" y="4409168"/>
            <a:ext cx="5588000" cy="417796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 noProof="0"/>
              <a:t>Modifiez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  <a:p>
            <a:pPr lvl="3"/>
            <a:r>
              <a:rPr lang="fr-FR" noProof="0"/>
              <a:t>Quatrième niveau</a:t>
            </a:r>
          </a:p>
          <a:p>
            <a:pPr lvl="4"/>
            <a:r>
              <a:rPr lang="fr-FR" noProof="0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1" y="8816865"/>
            <a:ext cx="3025745" cy="465363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eaLnBrk="1" hangingPunct="1">
              <a:defRPr sz="1200"/>
            </a:lvl1pPr>
          </a:lstStyle>
          <a:p>
            <a:r>
              <a:rPr lang="fr-FR"/>
              <a:t>Title of the presentation</a:t>
            </a:r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955991" y="8816865"/>
            <a:ext cx="3027378" cy="465363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/>
            </a:lvl1pPr>
          </a:lstStyle>
          <a:p>
            <a:fld id="{930332B2-55D9-421F-A138-9E18F33D61D4}" type="slidenum">
              <a:rPr lang="fr-FR"/>
              <a:pPr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217892981"/>
      </p:ext>
    </p:extLst>
  </p:cSld>
  <p:clrMap bg1="lt1" tx1="dk1" bg2="lt2" tx2="dk2" accent1="accent1" accent2="accent2" accent3="accent3" accent4="accent4" accent5="accent5" accent6="accent6" hlink="hlink" folHlink="folHlink"/>
  <p:hf hdr="0" ftr="0"/>
  <p:notesStyle>
    <a:lvl1pPr algn="l" rtl="0" eaLnBrk="0" fontAlgn="base" hangingPunct="0">
      <a:spcBef>
        <a:spcPct val="30000"/>
      </a:spcBef>
      <a:spcAft>
        <a:spcPct val="0"/>
      </a:spcAft>
      <a:defRPr sz="1400" kern="1200">
        <a:solidFill>
          <a:schemeClr val="tx1"/>
        </a:solidFill>
        <a:latin typeface="+mn-lt"/>
        <a:ea typeface="+mn-ea"/>
        <a:cs typeface="+mn-cs"/>
      </a:defRPr>
    </a:lvl1pPr>
    <a:lvl2pPr marL="535198" algn="l" rtl="0" eaLnBrk="0" fontAlgn="base" hangingPunct="0">
      <a:spcBef>
        <a:spcPct val="30000"/>
      </a:spcBef>
      <a:spcAft>
        <a:spcPct val="0"/>
      </a:spcAft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1070397" algn="l" rtl="0" eaLnBrk="0" fontAlgn="base" hangingPunct="0">
      <a:spcBef>
        <a:spcPct val="30000"/>
      </a:spcBef>
      <a:spcAft>
        <a:spcPct val="0"/>
      </a:spcAft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1605595" algn="l" rtl="0" eaLnBrk="0" fontAlgn="base" hangingPunct="0">
      <a:spcBef>
        <a:spcPct val="30000"/>
      </a:spcBef>
      <a:spcAft>
        <a:spcPct val="0"/>
      </a:spcAft>
      <a:defRPr sz="1400" kern="1200">
        <a:solidFill>
          <a:schemeClr val="tx1"/>
        </a:solidFill>
        <a:latin typeface="+mn-lt"/>
        <a:ea typeface="+mn-ea"/>
        <a:cs typeface="+mn-cs"/>
      </a:defRPr>
    </a:lvl4pPr>
    <a:lvl5pPr marL="2140793" algn="l" rtl="0" eaLnBrk="0" fontAlgn="base" hangingPunct="0">
      <a:spcBef>
        <a:spcPct val="30000"/>
      </a:spcBef>
      <a:spcAft>
        <a:spcPct val="0"/>
      </a:spcAft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2675992" algn="l" defTabSz="1070397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6pPr>
    <a:lvl7pPr marL="3211190" algn="l" defTabSz="1070397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7pPr>
    <a:lvl8pPr marL="3746388" algn="l" defTabSz="1070397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8pPr>
    <a:lvl9pPr marL="4281587" algn="l" defTabSz="1070397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Masters/notesMaster10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3025745" cy="463891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955991" y="0"/>
            <a:ext cx="3027378" cy="463891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200"/>
            </a:lvl1pPr>
          </a:lstStyle>
          <a:p>
            <a:fld id="{92FC10EA-E5ED-483A-B2C8-4D9F1F389643}" type="datetime1">
              <a:rPr lang="fr-FR" smtClean="0"/>
              <a:t>13/03/2023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398463" y="696913"/>
            <a:ext cx="6188075" cy="34813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fr-FR" noProof="0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698500" y="4409168"/>
            <a:ext cx="5588000" cy="417796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 noProof="0"/>
              <a:t>Modifiez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  <a:p>
            <a:pPr lvl="3"/>
            <a:r>
              <a:rPr lang="fr-FR" noProof="0"/>
              <a:t>Quatrième niveau</a:t>
            </a:r>
          </a:p>
          <a:p>
            <a:pPr lvl="4"/>
            <a:r>
              <a:rPr lang="fr-FR" noProof="0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1" y="8816865"/>
            <a:ext cx="3025745" cy="465363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eaLnBrk="1" hangingPunct="1">
              <a:defRPr sz="1200"/>
            </a:lvl1pPr>
          </a:lstStyle>
          <a:p>
            <a:r>
              <a:rPr lang="fr-FR"/>
              <a:t>Title of the presentation</a:t>
            </a:r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955991" y="8816865"/>
            <a:ext cx="3027378" cy="465363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/>
            </a:lvl1pPr>
          </a:lstStyle>
          <a:p>
            <a:fld id="{930332B2-55D9-421F-A138-9E18F33D61D4}" type="slidenum">
              <a:rPr lang="fr-FR"/>
              <a:pPr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217892981"/>
      </p:ext>
    </p:extLst>
  </p:cSld>
  <p:clrMap bg1="lt1" tx1="dk1" bg2="lt2" tx2="dk2" accent1="accent1" accent2="accent2" accent3="accent3" accent4="accent4" accent5="accent5" accent6="accent6" hlink="hlink" folHlink="folHlink"/>
  <p:hf hdr="0" ftr="0"/>
  <p:notesStyle>
    <a:lvl1pPr algn="l" rtl="0" eaLnBrk="0" fontAlgn="base" hangingPunct="0">
      <a:spcBef>
        <a:spcPct val="30000"/>
      </a:spcBef>
      <a:spcAft>
        <a:spcPct val="0"/>
      </a:spcAft>
      <a:defRPr sz="1400" kern="1200">
        <a:solidFill>
          <a:schemeClr val="tx1"/>
        </a:solidFill>
        <a:latin typeface="+mn-lt"/>
        <a:ea typeface="+mn-ea"/>
        <a:cs typeface="+mn-cs"/>
      </a:defRPr>
    </a:lvl1pPr>
    <a:lvl2pPr marL="535198" algn="l" rtl="0" eaLnBrk="0" fontAlgn="base" hangingPunct="0">
      <a:spcBef>
        <a:spcPct val="30000"/>
      </a:spcBef>
      <a:spcAft>
        <a:spcPct val="0"/>
      </a:spcAft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1070397" algn="l" rtl="0" eaLnBrk="0" fontAlgn="base" hangingPunct="0">
      <a:spcBef>
        <a:spcPct val="30000"/>
      </a:spcBef>
      <a:spcAft>
        <a:spcPct val="0"/>
      </a:spcAft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1605595" algn="l" rtl="0" eaLnBrk="0" fontAlgn="base" hangingPunct="0">
      <a:spcBef>
        <a:spcPct val="30000"/>
      </a:spcBef>
      <a:spcAft>
        <a:spcPct val="0"/>
      </a:spcAft>
      <a:defRPr sz="1400" kern="1200">
        <a:solidFill>
          <a:schemeClr val="tx1"/>
        </a:solidFill>
        <a:latin typeface="+mn-lt"/>
        <a:ea typeface="+mn-ea"/>
        <a:cs typeface="+mn-cs"/>
      </a:defRPr>
    </a:lvl4pPr>
    <a:lvl5pPr marL="2140793" algn="l" rtl="0" eaLnBrk="0" fontAlgn="base" hangingPunct="0">
      <a:spcBef>
        <a:spcPct val="30000"/>
      </a:spcBef>
      <a:spcAft>
        <a:spcPct val="0"/>
      </a:spcAft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2675992" algn="l" defTabSz="1070397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6pPr>
    <a:lvl7pPr marL="3211190" algn="l" defTabSz="1070397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7pPr>
    <a:lvl8pPr marL="3746388" algn="l" defTabSz="1070397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8pPr>
    <a:lvl9pPr marL="4281587" algn="l" defTabSz="1070397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6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0.xml"/><Relationship Id="rId1" Type="http://schemas.openxmlformats.org/officeDocument/2006/relationships/notesMaster" Target="../notesMasters/notesMaster10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7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0.xml"/><Relationship Id="rId1" Type="http://schemas.openxmlformats.org/officeDocument/2006/relationships/notesMaster" Target="../notesMasters/notesMaster10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398463" y="696913"/>
            <a:ext cx="6188075" cy="3481387"/>
          </a:xfrm>
        </p:spPr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30332B2-55D9-421F-A138-9E18F33D61D4}" type="slidenum">
              <a:rPr lang="fr-FR" smtClean="0"/>
              <a:pPr/>
              <a:t>1</a:t>
            </a:fld>
            <a:endParaRPr lang="fr-FR"/>
          </a:p>
        </p:txBody>
      </p:sp>
      <p:sp>
        <p:nvSpPr>
          <p:cNvPr id="5" name="Espace réservé de la date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fld id="{6EF7D151-20BD-4463-84B7-F8BD64A3C23E}" type="datetime1">
              <a:rPr lang="fr-FR" smtClean="0"/>
              <a:t>20/03/202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3457542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228E8A5-B387-4099-9D40-EA81ADA00AF8}" type="slidenum">
              <a:rPr lang="fr-FR" smtClean="0"/>
              <a:t>6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88121609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92FC10EA-E5ED-483A-B2C8-4D9F1F389643}" type="datetime1">
              <a:rPr lang="fr-FR" smtClean="0"/>
              <a:t>20/03/2023</a:t>
            </a:fld>
            <a:endParaRPr lang="fr-FR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30332B2-55D9-421F-A138-9E18F33D61D4}" type="slidenum">
              <a:rPr lang="fr-FR" smtClean="0"/>
              <a:pPr/>
              <a:t>1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03266030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4B915070-D899-426F-9CA5-D57DF18BB759}" type="datetime1">
              <a:rPr lang="fr-FR" smtClean="0"/>
              <a:t>20/03/2023</a:t>
            </a:fld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30332B2-55D9-421F-A138-9E18F33D61D4}" type="slidenum">
              <a:rPr lang="fr-FR" smtClean="0"/>
              <a:pPr/>
              <a:t>16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22442772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Le scenario </a:t>
            </a:r>
            <a:r>
              <a:rPr lang="en-US" err="1"/>
              <a:t>est</a:t>
            </a:r>
            <a:r>
              <a:rPr lang="en-US"/>
              <a:t> </a:t>
            </a:r>
            <a:r>
              <a:rPr lang="en-US" err="1"/>
              <a:t>d’ecrit</a:t>
            </a:r>
            <a:r>
              <a:rPr lang="en-US"/>
              <a:t> </a:t>
            </a:r>
            <a:r>
              <a:rPr lang="en-US" err="1"/>
              <a:t>en</a:t>
            </a:r>
            <a:r>
              <a:rPr lang="en-US"/>
              <a:t> </a:t>
            </a:r>
            <a:r>
              <a:rPr lang="en-US" err="1"/>
              <a:t>langage</a:t>
            </a:r>
            <a:r>
              <a:rPr lang="en-US"/>
              <a:t> gherkin. Et </a:t>
            </a:r>
            <a:r>
              <a:rPr lang="en-US" err="1"/>
              <a:t>chaque</a:t>
            </a:r>
            <a:r>
              <a:rPr lang="en-US"/>
              <a:t> phrase sera interpreter </a:t>
            </a:r>
            <a:r>
              <a:rPr lang="en-US" err="1"/>
              <a:t>en</a:t>
            </a:r>
            <a:r>
              <a:rPr lang="en-US"/>
              <a:t> script de test.</a:t>
            </a:r>
            <a:endParaRPr lang="fr-F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228E8A5-B387-4099-9D40-EA81ADA00AF8}" type="slidenum">
              <a:rPr lang="fr-FR" smtClean="0"/>
              <a:t>2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94475818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EDD049B5-35E9-47D0-A5D5-547074989F08}" type="datetime1">
              <a:rPr lang="fr-FR" smtClean="0"/>
              <a:t>20/03/2023</a:t>
            </a:fld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30332B2-55D9-421F-A138-9E18F33D61D4}" type="slidenum">
              <a:rPr lang="fr-FR" smtClean="0"/>
              <a:pPr/>
              <a:t>2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948571109"/>
      </p:ext>
    </p:extLst>
  </p:cSld>
  <p:clrMapOvr>
    <a:masterClrMapping/>
  </p:clrMapOvr>
</p:notes>
</file>

<file path=ppt/notesSlides/notesSlide6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EDD049B5-35E9-47D0-A5D5-547074989F08}" type="datetime1">
              <a:rPr lang="fr-FR" smtClean="0"/>
              <a:t>13/03/2023</a:t>
            </a:fld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30332B2-55D9-421F-A138-9E18F33D61D4}" type="slidenum">
              <a:rPr lang="fr-FR" smtClean="0"/>
              <a:pPr/>
              <a:t>2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94857110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3 minutes.</a:t>
            </a:r>
            <a:endParaRPr lang="fr-FR"/>
          </a:p>
          <a:p>
            <a:endParaRPr lang="en-US"/>
          </a:p>
          <a:p>
            <a:r>
              <a:rPr lang="en-US"/>
              <a:t>On se pose</a:t>
            </a:r>
            <a:r>
              <a:rPr lang="en-US" baseline="0"/>
              <a:t> </a:t>
            </a:r>
            <a:r>
              <a:rPr lang="en-US" baseline="0" err="1"/>
              <a:t>une</a:t>
            </a:r>
            <a:r>
              <a:rPr lang="en-US" baseline="0"/>
              <a:t> question, </a:t>
            </a:r>
            <a:r>
              <a:rPr lang="en-US" baseline="0" err="1"/>
              <a:t>pourquoi</a:t>
            </a:r>
            <a:r>
              <a:rPr lang="en-US" baseline="0"/>
              <a:t> on </a:t>
            </a:r>
            <a:r>
              <a:rPr lang="en-US" baseline="0" err="1"/>
              <a:t>doit</a:t>
            </a:r>
            <a:r>
              <a:rPr lang="en-US" baseline="0"/>
              <a:t> </a:t>
            </a:r>
            <a:r>
              <a:rPr lang="en-US" baseline="0" err="1"/>
              <a:t>realiser</a:t>
            </a:r>
            <a:r>
              <a:rPr lang="en-US" baseline="0"/>
              <a:t> un framework ?</a:t>
            </a:r>
            <a:endParaRPr lang="en-US"/>
          </a:p>
          <a:p>
            <a:endParaRPr lang="fr-FR"/>
          </a:p>
          <a:p>
            <a:r>
              <a:rPr lang="fr-FR" baseline="0"/>
              <a:t>UFT </a:t>
            </a:r>
            <a:r>
              <a:rPr lang="fr-FR" baseline="0" err="1"/>
              <a:t>Developer</a:t>
            </a:r>
            <a:r>
              <a:rPr lang="fr-FR" baseline="0"/>
              <a:t> donne une interface programmation pour piloter les applications web via le code.</a:t>
            </a:r>
          </a:p>
          <a:p>
            <a:r>
              <a:rPr lang="fr-FR" baseline="0"/>
              <a:t>Mais pour pouvoir bien automatiser les tests, c’est pas simplement de coder les 200 scripts pour 200 cas de test.. </a:t>
            </a:r>
            <a:r>
              <a:rPr lang="en-US" baseline="0" err="1"/>
              <a:t>Mais</a:t>
            </a:r>
            <a:r>
              <a:rPr lang="en-US" baseline="0"/>
              <a:t> </a:t>
            </a:r>
            <a:r>
              <a:rPr lang="en-US" baseline="0" err="1"/>
              <a:t>il</a:t>
            </a:r>
            <a:r>
              <a:rPr lang="en-US" baseline="0"/>
              <a:t> y a beaucoup de choses </a:t>
            </a:r>
            <a:r>
              <a:rPr lang="en-US" baseline="0" err="1"/>
              <a:t>en</a:t>
            </a:r>
            <a:r>
              <a:rPr lang="en-US" baseline="0"/>
              <a:t> </a:t>
            </a:r>
            <a:r>
              <a:rPr lang="en-US" baseline="0" err="1"/>
              <a:t>commun</a:t>
            </a:r>
            <a:endParaRPr lang="en-US" baseline="0"/>
          </a:p>
          <a:p>
            <a:pPr marL="177742" indent="-177742" defTabSz="947958">
              <a:buFontTx/>
              <a:buChar char="-"/>
              <a:defRPr/>
            </a:pPr>
            <a:r>
              <a:rPr lang="en-US" baseline="0"/>
              <a:t>Structurer les tests pour </a:t>
            </a:r>
            <a:r>
              <a:rPr lang="en-US" baseline="0" err="1"/>
              <a:t>sa</a:t>
            </a:r>
            <a:r>
              <a:rPr lang="en-US" baseline="0"/>
              <a:t> </a:t>
            </a:r>
            <a:r>
              <a:rPr lang="en-US" baseline="0" err="1"/>
              <a:t>reutilisabilite</a:t>
            </a:r>
            <a:endParaRPr lang="fr-FR" baseline="0"/>
          </a:p>
          <a:p>
            <a:pPr marL="177742" indent="-177742">
              <a:buFontTx/>
              <a:buChar char="-"/>
            </a:pPr>
            <a:r>
              <a:rPr lang="fr-FR" baseline="0"/>
              <a:t>Externaliser et Gérer Les jeux de données</a:t>
            </a:r>
          </a:p>
          <a:p>
            <a:pPr marL="177742" indent="-177742">
              <a:buFontTx/>
              <a:buChar char="-"/>
            </a:pPr>
            <a:r>
              <a:rPr lang="en-US" baseline="0"/>
              <a:t>Le </a:t>
            </a:r>
            <a:r>
              <a:rPr lang="en-US" baseline="0" err="1"/>
              <a:t>moyen</a:t>
            </a:r>
            <a:r>
              <a:rPr lang="en-US" baseline="0"/>
              <a:t> de lancer le test : Comment </a:t>
            </a:r>
            <a:r>
              <a:rPr lang="en-US" baseline="0" err="1"/>
              <a:t>l’automaticien</a:t>
            </a:r>
            <a:r>
              <a:rPr lang="en-US" baseline="0"/>
              <a:t> </a:t>
            </a:r>
            <a:r>
              <a:rPr lang="en-US" baseline="0" err="1"/>
              <a:t>ou</a:t>
            </a:r>
            <a:r>
              <a:rPr lang="en-US" baseline="0"/>
              <a:t> </a:t>
            </a:r>
            <a:r>
              <a:rPr lang="en-US" baseline="0" err="1"/>
              <a:t>quelqu’un</a:t>
            </a:r>
            <a:r>
              <a:rPr lang="en-US" baseline="0"/>
              <a:t> </a:t>
            </a:r>
            <a:r>
              <a:rPr lang="en-US" baseline="0" err="1"/>
              <a:t>autre</a:t>
            </a:r>
            <a:r>
              <a:rPr lang="en-US" baseline="0"/>
              <a:t> </a:t>
            </a:r>
            <a:r>
              <a:rPr lang="en-US" baseline="0" err="1"/>
              <a:t>peut</a:t>
            </a:r>
            <a:r>
              <a:rPr lang="en-US" baseline="0"/>
              <a:t> lancer le test.</a:t>
            </a:r>
          </a:p>
          <a:p>
            <a:pPr marL="177742" indent="-177742">
              <a:buFontTx/>
              <a:buChar char="-"/>
            </a:pPr>
            <a:r>
              <a:rPr lang="en-US" baseline="0"/>
              <a:t>Le rapport et les </a:t>
            </a:r>
            <a:r>
              <a:rPr lang="en-US" baseline="0" err="1"/>
              <a:t>informations</a:t>
            </a:r>
            <a:r>
              <a:rPr lang="en-US" baseline="0"/>
              <a:t> pour </a:t>
            </a:r>
            <a:r>
              <a:rPr lang="en-US" baseline="0" err="1"/>
              <a:t>analyser</a:t>
            </a:r>
            <a:r>
              <a:rPr lang="en-US" baseline="0"/>
              <a:t> les </a:t>
            </a:r>
            <a:r>
              <a:rPr lang="en-US" baseline="0" err="1"/>
              <a:t>erreurs</a:t>
            </a:r>
            <a:endParaRPr lang="en-US" baseline="0"/>
          </a:p>
          <a:p>
            <a:pPr marL="177742" indent="-177742">
              <a:buFontTx/>
              <a:buChar char="-"/>
            </a:pPr>
            <a:endParaRPr lang="en-US" baseline="0"/>
          </a:p>
          <a:p>
            <a:r>
              <a:rPr lang="en-US" baseline="0"/>
              <a:t>Le Framework </a:t>
            </a:r>
            <a:r>
              <a:rPr lang="en-US" baseline="0" err="1"/>
              <a:t>WebEngine</a:t>
            </a:r>
            <a:r>
              <a:rPr lang="en-US" baseline="0"/>
              <a:t>, </a:t>
            </a:r>
            <a:r>
              <a:rPr lang="en-US" baseline="0" err="1"/>
              <a:t>construit</a:t>
            </a:r>
            <a:r>
              <a:rPr lang="en-US" baseline="0"/>
              <a:t> au-dessus de UFT Developer et .NET, a </a:t>
            </a:r>
            <a:r>
              <a:rPr lang="en-US" baseline="0" err="1"/>
              <a:t>standalis</a:t>
            </a:r>
            <a:r>
              <a:rPr lang="fr-FR" baseline="0"/>
              <a:t>é ces </a:t>
            </a:r>
            <a:r>
              <a:rPr lang="fr-FR" baseline="0" err="1"/>
              <a:t>procedures</a:t>
            </a:r>
            <a:r>
              <a:rPr lang="fr-FR" baseline="0"/>
              <a:t> et rend l’automatisation plus simple. Il donne aussi une </a:t>
            </a:r>
            <a:r>
              <a:rPr lang="fr-FR" baseline="0" err="1"/>
              <a:t>possiblite</a:t>
            </a:r>
            <a:r>
              <a:rPr lang="fr-FR" baseline="0"/>
              <a:t> de s’</a:t>
            </a:r>
            <a:r>
              <a:rPr lang="fr-FR" baseline="0" err="1"/>
              <a:t>integrer</a:t>
            </a:r>
            <a:r>
              <a:rPr lang="fr-FR" baseline="0"/>
              <a:t> avec la plateforme d’</a:t>
            </a:r>
            <a:r>
              <a:rPr lang="fr-FR" baseline="0" err="1"/>
              <a:t>integration</a:t>
            </a:r>
            <a:r>
              <a:rPr lang="fr-FR" baseline="0"/>
              <a:t> continue.</a:t>
            </a:r>
          </a:p>
          <a:p>
            <a:pPr marL="177742" indent="-177742">
              <a:buFontTx/>
              <a:buChar char="-"/>
            </a:pPr>
            <a:endParaRPr lang="fr-F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03BB967-652B-44E3-AC85-B50B589029DD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1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70916876"/>
      </p:ext>
    </p:extLst>
  </p:cSld>
  <p:clrMapOvr>
    <a:masterClrMapping/>
  </p:clrMapOvr>
</p:notes>
</file>

<file path=ppt/notesSlides/notesSlide7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3 minutes.</a:t>
            </a:r>
            <a:endParaRPr lang="fr-FR"/>
          </a:p>
          <a:p>
            <a:endParaRPr lang="en-US"/>
          </a:p>
          <a:p>
            <a:r>
              <a:rPr lang="en-US"/>
              <a:t>On se pose</a:t>
            </a:r>
            <a:r>
              <a:rPr lang="en-US" baseline="0"/>
              <a:t> </a:t>
            </a:r>
            <a:r>
              <a:rPr lang="en-US" baseline="0" err="1"/>
              <a:t>une</a:t>
            </a:r>
            <a:r>
              <a:rPr lang="en-US" baseline="0"/>
              <a:t> question, </a:t>
            </a:r>
            <a:r>
              <a:rPr lang="en-US" baseline="0" err="1"/>
              <a:t>pourquoi</a:t>
            </a:r>
            <a:r>
              <a:rPr lang="en-US" baseline="0"/>
              <a:t> on </a:t>
            </a:r>
            <a:r>
              <a:rPr lang="en-US" baseline="0" err="1"/>
              <a:t>doit</a:t>
            </a:r>
            <a:r>
              <a:rPr lang="en-US" baseline="0"/>
              <a:t> </a:t>
            </a:r>
            <a:r>
              <a:rPr lang="en-US" baseline="0" err="1"/>
              <a:t>realiser</a:t>
            </a:r>
            <a:r>
              <a:rPr lang="en-US" baseline="0"/>
              <a:t> un framework ?</a:t>
            </a:r>
            <a:endParaRPr lang="en-US"/>
          </a:p>
          <a:p>
            <a:endParaRPr lang="fr-FR"/>
          </a:p>
          <a:p>
            <a:r>
              <a:rPr lang="fr-FR" baseline="0"/>
              <a:t>UFT </a:t>
            </a:r>
            <a:r>
              <a:rPr lang="fr-FR" baseline="0" err="1"/>
              <a:t>Developer</a:t>
            </a:r>
            <a:r>
              <a:rPr lang="fr-FR" baseline="0"/>
              <a:t> donne une interface programmation pour piloter les applications web via le code.</a:t>
            </a:r>
          </a:p>
          <a:p>
            <a:r>
              <a:rPr lang="fr-FR" baseline="0"/>
              <a:t>Mais pour pouvoir bien automatiser les tests, c’est pas simplement de coder les 200 scripts pour 200 cas de test.. </a:t>
            </a:r>
            <a:r>
              <a:rPr lang="en-US" baseline="0" err="1"/>
              <a:t>Mais</a:t>
            </a:r>
            <a:r>
              <a:rPr lang="en-US" baseline="0"/>
              <a:t> </a:t>
            </a:r>
            <a:r>
              <a:rPr lang="en-US" baseline="0" err="1"/>
              <a:t>il</a:t>
            </a:r>
            <a:r>
              <a:rPr lang="en-US" baseline="0"/>
              <a:t> y a beaucoup de choses </a:t>
            </a:r>
            <a:r>
              <a:rPr lang="en-US" baseline="0" err="1"/>
              <a:t>en</a:t>
            </a:r>
            <a:r>
              <a:rPr lang="en-US" baseline="0"/>
              <a:t> </a:t>
            </a:r>
            <a:r>
              <a:rPr lang="en-US" baseline="0" err="1"/>
              <a:t>commun</a:t>
            </a:r>
            <a:endParaRPr lang="en-US" baseline="0"/>
          </a:p>
          <a:p>
            <a:pPr marL="177742" indent="-177742" defTabSz="947958">
              <a:buFontTx/>
              <a:buChar char="-"/>
              <a:defRPr/>
            </a:pPr>
            <a:r>
              <a:rPr lang="en-US" baseline="0"/>
              <a:t>Structurer les tests pour </a:t>
            </a:r>
            <a:r>
              <a:rPr lang="en-US" baseline="0" err="1"/>
              <a:t>sa</a:t>
            </a:r>
            <a:r>
              <a:rPr lang="en-US" baseline="0"/>
              <a:t> </a:t>
            </a:r>
            <a:r>
              <a:rPr lang="en-US" baseline="0" err="1"/>
              <a:t>reutilisabilite</a:t>
            </a:r>
            <a:endParaRPr lang="fr-FR" baseline="0"/>
          </a:p>
          <a:p>
            <a:pPr marL="177742" indent="-177742">
              <a:buFontTx/>
              <a:buChar char="-"/>
            </a:pPr>
            <a:r>
              <a:rPr lang="fr-FR" baseline="0"/>
              <a:t>Externaliser et Gérer Les jeux de données</a:t>
            </a:r>
          </a:p>
          <a:p>
            <a:pPr marL="177742" indent="-177742">
              <a:buFontTx/>
              <a:buChar char="-"/>
            </a:pPr>
            <a:r>
              <a:rPr lang="en-US" baseline="0"/>
              <a:t>Le </a:t>
            </a:r>
            <a:r>
              <a:rPr lang="en-US" baseline="0" err="1"/>
              <a:t>moyen</a:t>
            </a:r>
            <a:r>
              <a:rPr lang="en-US" baseline="0"/>
              <a:t> de lancer le test : Comment </a:t>
            </a:r>
            <a:r>
              <a:rPr lang="en-US" baseline="0" err="1"/>
              <a:t>l’automaticien</a:t>
            </a:r>
            <a:r>
              <a:rPr lang="en-US" baseline="0"/>
              <a:t> </a:t>
            </a:r>
            <a:r>
              <a:rPr lang="en-US" baseline="0" err="1"/>
              <a:t>ou</a:t>
            </a:r>
            <a:r>
              <a:rPr lang="en-US" baseline="0"/>
              <a:t> </a:t>
            </a:r>
            <a:r>
              <a:rPr lang="en-US" baseline="0" err="1"/>
              <a:t>quelqu’un</a:t>
            </a:r>
            <a:r>
              <a:rPr lang="en-US" baseline="0"/>
              <a:t> </a:t>
            </a:r>
            <a:r>
              <a:rPr lang="en-US" baseline="0" err="1"/>
              <a:t>autre</a:t>
            </a:r>
            <a:r>
              <a:rPr lang="en-US" baseline="0"/>
              <a:t> </a:t>
            </a:r>
            <a:r>
              <a:rPr lang="en-US" baseline="0" err="1"/>
              <a:t>peut</a:t>
            </a:r>
            <a:r>
              <a:rPr lang="en-US" baseline="0"/>
              <a:t> lancer le test.</a:t>
            </a:r>
          </a:p>
          <a:p>
            <a:pPr marL="177742" indent="-177742">
              <a:buFontTx/>
              <a:buChar char="-"/>
            </a:pPr>
            <a:r>
              <a:rPr lang="en-US" baseline="0"/>
              <a:t>Le rapport et les </a:t>
            </a:r>
            <a:r>
              <a:rPr lang="en-US" baseline="0" err="1"/>
              <a:t>informations</a:t>
            </a:r>
            <a:r>
              <a:rPr lang="en-US" baseline="0"/>
              <a:t> pour </a:t>
            </a:r>
            <a:r>
              <a:rPr lang="en-US" baseline="0" err="1"/>
              <a:t>analyser</a:t>
            </a:r>
            <a:r>
              <a:rPr lang="en-US" baseline="0"/>
              <a:t> les </a:t>
            </a:r>
            <a:r>
              <a:rPr lang="en-US" baseline="0" err="1"/>
              <a:t>erreurs</a:t>
            </a:r>
            <a:endParaRPr lang="en-US" baseline="0"/>
          </a:p>
          <a:p>
            <a:pPr marL="177742" indent="-177742">
              <a:buFontTx/>
              <a:buChar char="-"/>
            </a:pPr>
            <a:endParaRPr lang="en-US" baseline="0"/>
          </a:p>
          <a:p>
            <a:r>
              <a:rPr lang="en-US" baseline="0"/>
              <a:t>Le Framework </a:t>
            </a:r>
            <a:r>
              <a:rPr lang="en-US" baseline="0" err="1"/>
              <a:t>WebEngine</a:t>
            </a:r>
            <a:r>
              <a:rPr lang="en-US" baseline="0"/>
              <a:t>, </a:t>
            </a:r>
            <a:r>
              <a:rPr lang="en-US" baseline="0" err="1"/>
              <a:t>construit</a:t>
            </a:r>
            <a:r>
              <a:rPr lang="en-US" baseline="0"/>
              <a:t> au-dessus de UFT Developer et .NET, a </a:t>
            </a:r>
            <a:r>
              <a:rPr lang="en-US" baseline="0" err="1"/>
              <a:t>standalis</a:t>
            </a:r>
            <a:r>
              <a:rPr lang="fr-FR" baseline="0"/>
              <a:t>é ces </a:t>
            </a:r>
            <a:r>
              <a:rPr lang="fr-FR" baseline="0" err="1"/>
              <a:t>procedures</a:t>
            </a:r>
            <a:r>
              <a:rPr lang="fr-FR" baseline="0"/>
              <a:t> et rend l’automatisation plus simple. Il donne aussi une </a:t>
            </a:r>
            <a:r>
              <a:rPr lang="fr-FR" baseline="0" err="1"/>
              <a:t>possiblite</a:t>
            </a:r>
            <a:r>
              <a:rPr lang="fr-FR" baseline="0"/>
              <a:t> de s’</a:t>
            </a:r>
            <a:r>
              <a:rPr lang="fr-FR" baseline="0" err="1"/>
              <a:t>integrer</a:t>
            </a:r>
            <a:r>
              <a:rPr lang="fr-FR" baseline="0"/>
              <a:t> avec la plateforme d’</a:t>
            </a:r>
            <a:r>
              <a:rPr lang="fr-FR" baseline="0" err="1"/>
              <a:t>integration</a:t>
            </a:r>
            <a:r>
              <a:rPr lang="fr-FR" baseline="0"/>
              <a:t> continue.</a:t>
            </a:r>
          </a:p>
          <a:p>
            <a:pPr marL="177742" indent="-177742">
              <a:buFontTx/>
              <a:buChar char="-"/>
            </a:pPr>
            <a:endParaRPr lang="fr-F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03BB967-652B-44E3-AC85-B50B589029DD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1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7091687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0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0.xml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0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0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0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0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0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0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0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0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0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0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0.xml"/></Relationships>
</file>

<file path=ppt/slideLayouts/_rels/slideLayout2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0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0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0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0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0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0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0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2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0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0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0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0.xml"/></Relationships>
</file>

<file path=ppt/slideLayouts/_rels/slideLayout3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0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0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3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0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0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Relationship Id="rId4" Type="http://schemas.microsoft.com/office/2007/relationships/hdphoto" Target="../media/hdphoto1.wdp"/></Relationships>
</file>

<file path=ppt/slideLayouts/_rels/slideLayout4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0.xml"/><Relationship Id="rId4" Type="http://schemas.microsoft.com/office/2007/relationships/hdphoto" Target="../media/hdphoto1.wdp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11.png"/><Relationship Id="rId4" Type="http://schemas.microsoft.com/office/2007/relationships/hdphoto" Target="../media/hdphoto1.wdp"/></Relationships>
</file>

<file path=ppt/slideLayouts/_rels/slideLayout4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0.xml"/><Relationship Id="rId5" Type="http://schemas.openxmlformats.org/officeDocument/2006/relationships/image" Target="../media/image11.png"/><Relationship Id="rId4" Type="http://schemas.microsoft.com/office/2007/relationships/hdphoto" Target="../media/hdphoto1.wdp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4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0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5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0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0.xml"/></Relationships>
</file>

<file path=ppt/slideLayouts/_rels/slideLayout5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5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0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5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0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5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0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5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0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5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0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5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0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5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0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5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0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6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0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0.xml"/></Relationships>
</file>

<file path=ppt/slideLayouts/_rels/slideLayout6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/Relationships>
</file>

<file path=ppt/slideLayouts/_rels/slideLayout6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0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9.jpeg"/></Relationships>
</file>

<file path=ppt/slideLayouts/_rels/slideLayout6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30.xml"/><Relationship Id="rId4" Type="http://schemas.openxmlformats.org/officeDocument/2006/relationships/image" Target="../media/image19.jpeg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3.xml"/></Relationships>
</file>

<file path=ppt/slideLayouts/_rels/slideLayout6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30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68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7" Type="http://schemas.microsoft.com/office/2007/relationships/hdphoto" Target="../media/hdphoto4.wdp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23.png"/><Relationship Id="rId5" Type="http://schemas.microsoft.com/office/2007/relationships/hdphoto" Target="../media/hdphoto3.wdp"/><Relationship Id="rId4" Type="http://schemas.openxmlformats.org/officeDocument/2006/relationships/image" Target="../media/image22.png"/></Relationships>
</file>

<file path=ppt/slideLayouts/_rels/slideLayout680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7" Type="http://schemas.microsoft.com/office/2007/relationships/hdphoto" Target="../media/hdphoto4.wdp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30.xml"/><Relationship Id="rId6" Type="http://schemas.openxmlformats.org/officeDocument/2006/relationships/image" Target="../media/image23.png"/><Relationship Id="rId5" Type="http://schemas.microsoft.com/office/2007/relationships/hdphoto" Target="../media/hdphoto3.wdp"/><Relationship Id="rId4" Type="http://schemas.openxmlformats.org/officeDocument/2006/relationships/image" Target="../media/image22.png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3.xml"/></Relationships>
</file>

<file path=ppt/slideLayouts/_rels/slideLayout6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30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.xml"/><Relationship Id="rId6" Type="http://schemas.openxmlformats.org/officeDocument/2006/relationships/image" Target="../media/image27.png"/><Relationship Id="rId5" Type="http://schemas.openxmlformats.org/officeDocument/2006/relationships/image" Target="../media/image26.gif"/><Relationship Id="rId4" Type="http://schemas.openxmlformats.org/officeDocument/2006/relationships/image" Target="../media/image25.emf"/></Relationships>
</file>

<file path=ppt/slideLayouts/_rels/slideLayout70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0.xml"/><Relationship Id="rId7" Type="http://schemas.openxmlformats.org/officeDocument/2006/relationships/image" Target="../media/image27.png"/><Relationship Id="rId2" Type="http://schemas.openxmlformats.org/officeDocument/2006/relationships/tags" Target="../tags/tag10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6.gif"/><Relationship Id="rId5" Type="http://schemas.openxmlformats.org/officeDocument/2006/relationships/image" Target="../media/image25.emf"/><Relationship Id="rId4" Type="http://schemas.openxmlformats.org/officeDocument/2006/relationships/oleObject" Target="../embeddings/oleObject10.bin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7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0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7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0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gif"/><Relationship Id="rId1" Type="http://schemas.openxmlformats.org/officeDocument/2006/relationships/slideMaster" Target="../slideMasters/slideMaster3.xml"/></Relationships>
</file>

<file path=ppt/slideLayouts/_rels/slideLayout7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gif"/><Relationship Id="rId1" Type="http://schemas.openxmlformats.org/officeDocument/2006/relationships/slideMaster" Target="../slideMasters/slideMaster30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0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0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0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k object 16"/>
          <p:cNvSpPr>
            <a:spLocks/>
          </p:cNvSpPr>
          <p:nvPr userDrawn="1"/>
        </p:nvSpPr>
        <p:spPr bwMode="auto">
          <a:xfrm>
            <a:off x="0" y="1"/>
            <a:ext cx="9144000" cy="5143500"/>
          </a:xfrm>
          <a:custGeom>
            <a:avLst/>
            <a:gdLst>
              <a:gd name="T0" fmla="*/ 0 w 10692130"/>
              <a:gd name="T1" fmla="*/ 28 h 7560309"/>
              <a:gd name="T2" fmla="*/ 7838 w 10692130"/>
              <a:gd name="T3" fmla="*/ 28 h 7560309"/>
              <a:gd name="T4" fmla="*/ 7838 w 10692130"/>
              <a:gd name="T5" fmla="*/ 0 h 7560309"/>
              <a:gd name="T6" fmla="*/ 0 w 10692130"/>
              <a:gd name="T7" fmla="*/ 0 h 7560309"/>
              <a:gd name="T8" fmla="*/ 0 w 10692130"/>
              <a:gd name="T9" fmla="*/ 28 h 7560309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0692130" h="7560309">
                <a:moveTo>
                  <a:pt x="0" y="7559992"/>
                </a:moveTo>
                <a:lnTo>
                  <a:pt x="10692003" y="7559992"/>
                </a:lnTo>
                <a:lnTo>
                  <a:pt x="10692003" y="0"/>
                </a:lnTo>
                <a:lnTo>
                  <a:pt x="0" y="0"/>
                </a:lnTo>
                <a:lnTo>
                  <a:pt x="0" y="7559992"/>
                </a:lnTo>
                <a:close/>
              </a:path>
            </a:pathLst>
          </a:custGeom>
          <a:solidFill>
            <a:srgbClr val="0A7380"/>
          </a:solidFill>
          <a:ln w="9525">
            <a:noFill/>
            <a:round/>
            <a:headEnd/>
            <a:tailEnd/>
          </a:ln>
        </p:spPr>
        <p:txBody>
          <a:bodyPr lIns="0" tIns="0" rIns="0" bIns="0"/>
          <a:lstStyle/>
          <a:p>
            <a:endParaRPr lang="en-GB" noProof="0"/>
          </a:p>
        </p:txBody>
      </p:sp>
      <p:pic>
        <p:nvPicPr>
          <p:cNvPr id="3" name="Picture 2" descr="C:\Users\Administrateur\Desktop\new_switch_rvb_rouge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188912" y="823481"/>
            <a:ext cx="3816658" cy="34351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" name="Picture 2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17746" y="299279"/>
            <a:ext cx="674511" cy="6747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itre 1"/>
          <p:cNvSpPr txBox="1">
            <a:spLocks/>
          </p:cNvSpPr>
          <p:nvPr/>
        </p:nvSpPr>
        <p:spPr>
          <a:xfrm>
            <a:off x="4632390" y="1379283"/>
            <a:ext cx="4511610" cy="834634"/>
          </a:xfrm>
          <a:prstGeom prst="rect">
            <a:avLst/>
          </a:prstGeom>
        </p:spPr>
        <p:txBody>
          <a:bodyPr lIns="0" tIns="0" rIns="0" bIns="0"/>
          <a:lstStyle>
            <a:lvl1pPr algn="l" defTabSz="696913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68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algn="ctr" defTabSz="696913" rtl="0" fontAlgn="base">
              <a:spcBef>
                <a:spcPct val="0"/>
              </a:spcBef>
              <a:spcAft>
                <a:spcPct val="0"/>
              </a:spcAft>
              <a:defRPr sz="3400">
                <a:solidFill>
                  <a:schemeClr val="tx1"/>
                </a:solidFill>
                <a:latin typeface="Calibri" pitchFamily="34" charset="0"/>
              </a:defRPr>
            </a:lvl2pPr>
            <a:lvl3pPr algn="ctr" defTabSz="696913" rtl="0" fontAlgn="base">
              <a:spcBef>
                <a:spcPct val="0"/>
              </a:spcBef>
              <a:spcAft>
                <a:spcPct val="0"/>
              </a:spcAft>
              <a:defRPr sz="3400">
                <a:solidFill>
                  <a:schemeClr val="tx1"/>
                </a:solidFill>
                <a:latin typeface="Calibri" pitchFamily="34" charset="0"/>
              </a:defRPr>
            </a:lvl3pPr>
            <a:lvl4pPr algn="ctr" defTabSz="696913" rtl="0" fontAlgn="base">
              <a:spcBef>
                <a:spcPct val="0"/>
              </a:spcBef>
              <a:spcAft>
                <a:spcPct val="0"/>
              </a:spcAft>
              <a:defRPr sz="3400">
                <a:solidFill>
                  <a:schemeClr val="tx1"/>
                </a:solidFill>
                <a:latin typeface="Calibri" pitchFamily="34" charset="0"/>
              </a:defRPr>
            </a:lvl4pPr>
            <a:lvl5pPr algn="ctr" defTabSz="696913" rtl="0" fontAlgn="base">
              <a:spcBef>
                <a:spcPct val="0"/>
              </a:spcBef>
              <a:spcAft>
                <a:spcPct val="0"/>
              </a:spcAft>
              <a:defRPr sz="3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defTabSz="696913" rtl="0" fontAlgn="base">
              <a:spcBef>
                <a:spcPct val="0"/>
              </a:spcBef>
              <a:spcAft>
                <a:spcPct val="0"/>
              </a:spcAft>
              <a:defRPr sz="3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defTabSz="696913" rtl="0" fontAlgn="base">
              <a:spcBef>
                <a:spcPct val="0"/>
              </a:spcBef>
              <a:spcAft>
                <a:spcPct val="0"/>
              </a:spcAft>
              <a:defRPr sz="3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defTabSz="696913" rtl="0" fontAlgn="base">
              <a:spcBef>
                <a:spcPct val="0"/>
              </a:spcBef>
              <a:spcAft>
                <a:spcPct val="0"/>
              </a:spcAft>
              <a:defRPr sz="3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defTabSz="696913" rtl="0" fontAlgn="base">
              <a:spcBef>
                <a:spcPct val="0"/>
              </a:spcBef>
              <a:spcAft>
                <a:spcPct val="0"/>
              </a:spcAft>
              <a:defRPr sz="3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defRPr/>
            </a:pPr>
            <a:r>
              <a:rPr lang="en-GB" sz="6300" b="1" noProof="0"/>
              <a:t>Title 1</a:t>
            </a:r>
          </a:p>
        </p:txBody>
      </p:sp>
      <p:sp>
        <p:nvSpPr>
          <p:cNvPr id="6" name="Titre 2"/>
          <p:cNvSpPr txBox="1">
            <a:spLocks/>
          </p:cNvSpPr>
          <p:nvPr/>
        </p:nvSpPr>
        <p:spPr>
          <a:xfrm>
            <a:off x="3840815" y="2230647"/>
            <a:ext cx="5303185" cy="1007509"/>
          </a:xfrm>
          <a:prstGeom prst="rect">
            <a:avLst/>
          </a:prstGeom>
        </p:spPr>
        <p:txBody>
          <a:bodyPr lIns="107040" tIns="53520" rIns="107040" bIns="53520"/>
          <a:lstStyle>
            <a:lvl1pPr marL="0" indent="0" algn="l" defTabSz="696913" rtl="0" fontAlgn="base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6800" kern="1200" baseline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565150" indent="-217488" algn="l" defTabSz="696913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71538" indent="-173038" algn="l" defTabSz="696913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19200" indent="-173038" algn="l" defTabSz="696913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68450" indent="-173038" algn="l" defTabSz="696913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17634" indent="-174330" algn="l" defTabSz="69732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66295" indent="-174330" algn="l" defTabSz="69732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14955" indent="-174330" algn="l" defTabSz="69732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63616" indent="-174330" algn="l" defTabSz="69732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1" hangingPunct="1">
              <a:defRPr/>
            </a:pPr>
            <a:r>
              <a:rPr lang="en-GB" sz="6300" b="1" noProof="0"/>
              <a:t>Title 2</a:t>
            </a:r>
          </a:p>
        </p:txBody>
      </p:sp>
      <p:sp>
        <p:nvSpPr>
          <p:cNvPr id="7" name="Date / Lieu"/>
          <p:cNvSpPr txBox="1">
            <a:spLocks/>
          </p:cNvSpPr>
          <p:nvPr/>
        </p:nvSpPr>
        <p:spPr>
          <a:xfrm>
            <a:off x="3240629" y="3398018"/>
            <a:ext cx="5903371" cy="522344"/>
          </a:xfrm>
          <a:prstGeom prst="rect">
            <a:avLst/>
          </a:prstGeom>
        </p:spPr>
        <p:txBody>
          <a:bodyPr lIns="107040" tIns="53520" rIns="107040" bIns="53520"/>
          <a:lstStyle>
            <a:lvl1pPr marL="0" indent="0" algn="l" defTabSz="696913" rtl="0" fontAlgn="base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3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696913" rtl="0" fontAlgn="base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21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696913" rtl="0" fontAlgn="base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696913" rtl="0" fontAlgn="base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5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696913" rtl="0" fontAlgn="base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5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697321" rtl="0" eaLnBrk="1" latinLnBrk="0" hangingPunct="1">
              <a:spcBef>
                <a:spcPct val="20000"/>
              </a:spcBef>
              <a:buFont typeface="Arial" pitchFamily="34" charset="0"/>
              <a:buNone/>
              <a:defRPr sz="15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697321" rtl="0" eaLnBrk="1" latinLnBrk="0" hangingPunct="1">
              <a:spcBef>
                <a:spcPct val="20000"/>
              </a:spcBef>
              <a:buFont typeface="Arial" pitchFamily="34" charset="0"/>
              <a:buNone/>
              <a:defRPr sz="15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697321" rtl="0" eaLnBrk="1" latinLnBrk="0" hangingPunct="1">
              <a:spcBef>
                <a:spcPct val="20000"/>
              </a:spcBef>
              <a:buFont typeface="Arial" pitchFamily="34" charset="0"/>
              <a:buNone/>
              <a:defRPr sz="15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697321" rtl="0" eaLnBrk="1" latinLnBrk="0" hangingPunct="1">
              <a:spcBef>
                <a:spcPct val="20000"/>
              </a:spcBef>
              <a:buFont typeface="Arial" pitchFamily="34" charset="0"/>
              <a:buNone/>
              <a:defRPr sz="15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1" hangingPunct="1">
              <a:defRPr/>
            </a:pPr>
            <a:r>
              <a:rPr lang="en-GB" sz="3500" b="1" noProof="0">
                <a:latin typeface="+mj-lt"/>
              </a:rPr>
              <a:t>Date / Place</a:t>
            </a: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6_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k object 16"/>
          <p:cNvSpPr>
            <a:spLocks/>
          </p:cNvSpPr>
          <p:nvPr userDrawn="1"/>
        </p:nvSpPr>
        <p:spPr bwMode="auto">
          <a:xfrm>
            <a:off x="0" y="2"/>
            <a:ext cx="9144000" cy="5143500"/>
          </a:xfrm>
          <a:custGeom>
            <a:avLst/>
            <a:gdLst>
              <a:gd name="T0" fmla="*/ 0 w 10692130"/>
              <a:gd name="T1" fmla="*/ 28 h 7560309"/>
              <a:gd name="T2" fmla="*/ 7838 w 10692130"/>
              <a:gd name="T3" fmla="*/ 28 h 7560309"/>
              <a:gd name="T4" fmla="*/ 7838 w 10692130"/>
              <a:gd name="T5" fmla="*/ 0 h 7560309"/>
              <a:gd name="T6" fmla="*/ 0 w 10692130"/>
              <a:gd name="T7" fmla="*/ 0 h 7560309"/>
              <a:gd name="T8" fmla="*/ 0 w 10692130"/>
              <a:gd name="T9" fmla="*/ 28 h 7560309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0692130" h="7560309">
                <a:moveTo>
                  <a:pt x="0" y="7559992"/>
                </a:moveTo>
                <a:lnTo>
                  <a:pt x="10692003" y="7559992"/>
                </a:lnTo>
                <a:lnTo>
                  <a:pt x="10692003" y="0"/>
                </a:lnTo>
                <a:lnTo>
                  <a:pt x="0" y="0"/>
                </a:lnTo>
                <a:lnTo>
                  <a:pt x="0" y="7559992"/>
                </a:lnTo>
                <a:close/>
              </a:path>
            </a:pathLst>
          </a:custGeom>
          <a:solidFill>
            <a:srgbClr val="00AEC6"/>
          </a:solidFill>
          <a:ln w="9525">
            <a:noFill/>
            <a:round/>
            <a:headEnd/>
            <a:tailEnd/>
          </a:ln>
        </p:spPr>
        <p:txBody>
          <a:bodyPr lIns="0" tIns="0" rIns="0" bIns="0"/>
          <a:lstStyle/>
          <a:p>
            <a:endParaRPr lang="fr-FR"/>
          </a:p>
        </p:txBody>
      </p:sp>
      <p:pic>
        <p:nvPicPr>
          <p:cNvPr id="3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17747" y="299279"/>
            <a:ext cx="674511" cy="6747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2" descr="C:\Users\harpreet singh\Desktop\switch\half\PPT half switch-03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312865"/>
            <a:ext cx="4714875" cy="38306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2357437" y="1800227"/>
            <a:ext cx="5576888" cy="1752600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defRPr sz="5400">
                <a:solidFill>
                  <a:schemeClr val="bg1"/>
                </a:solidFill>
                <a:latin typeface="Source Sans Pro Black" pitchFamily="34" charset="0"/>
                <a:ea typeface="Source Sans Pro Black" pitchFamily="34" charset="0"/>
              </a:defRPr>
            </a:lvl1pPr>
          </a:lstStyle>
          <a:p>
            <a:r>
              <a:rPr lang="en-US"/>
              <a:t>    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25020394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6_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k object 16"/>
          <p:cNvSpPr>
            <a:spLocks/>
          </p:cNvSpPr>
          <p:nvPr userDrawn="1"/>
        </p:nvSpPr>
        <p:spPr bwMode="auto">
          <a:xfrm>
            <a:off x="0" y="2"/>
            <a:ext cx="9144000" cy="5143500"/>
          </a:xfrm>
          <a:custGeom>
            <a:avLst/>
            <a:gdLst>
              <a:gd name="T0" fmla="*/ 0 w 10692130"/>
              <a:gd name="T1" fmla="*/ 28 h 7560309"/>
              <a:gd name="T2" fmla="*/ 7838 w 10692130"/>
              <a:gd name="T3" fmla="*/ 28 h 7560309"/>
              <a:gd name="T4" fmla="*/ 7838 w 10692130"/>
              <a:gd name="T5" fmla="*/ 0 h 7560309"/>
              <a:gd name="T6" fmla="*/ 0 w 10692130"/>
              <a:gd name="T7" fmla="*/ 0 h 7560309"/>
              <a:gd name="T8" fmla="*/ 0 w 10692130"/>
              <a:gd name="T9" fmla="*/ 28 h 7560309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0692130" h="7560309">
                <a:moveTo>
                  <a:pt x="0" y="7559992"/>
                </a:moveTo>
                <a:lnTo>
                  <a:pt x="10692003" y="7559992"/>
                </a:lnTo>
                <a:lnTo>
                  <a:pt x="10692003" y="0"/>
                </a:lnTo>
                <a:lnTo>
                  <a:pt x="0" y="0"/>
                </a:lnTo>
                <a:lnTo>
                  <a:pt x="0" y="7559992"/>
                </a:lnTo>
                <a:close/>
              </a:path>
            </a:pathLst>
          </a:custGeom>
          <a:solidFill>
            <a:srgbClr val="00AEC6"/>
          </a:solidFill>
          <a:ln w="9525">
            <a:noFill/>
            <a:round/>
            <a:headEnd/>
            <a:tailEnd/>
          </a:ln>
        </p:spPr>
        <p:txBody>
          <a:bodyPr lIns="0" tIns="0" rIns="0" bIns="0"/>
          <a:lstStyle/>
          <a:p>
            <a:endParaRPr lang="fr-FR"/>
          </a:p>
        </p:txBody>
      </p:sp>
      <p:pic>
        <p:nvPicPr>
          <p:cNvPr id="3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17747" y="299279"/>
            <a:ext cx="674511" cy="6747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2" descr="C:\Users\harpreet singh\Desktop\switch\half\PPT half switch-03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312865"/>
            <a:ext cx="4714875" cy="38306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2357437" y="1800227"/>
            <a:ext cx="5576888" cy="1752600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defRPr sz="5400">
                <a:solidFill>
                  <a:schemeClr val="bg1"/>
                </a:solidFill>
                <a:latin typeface="Source Sans Pro Black" pitchFamily="34" charset="0"/>
                <a:ea typeface="Source Sans Pro Black" pitchFamily="34" charset="0"/>
              </a:defRPr>
            </a:lvl1pPr>
          </a:lstStyle>
          <a:p>
            <a:r>
              <a:rPr lang="en-US"/>
              <a:t>    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2502039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7_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k object 16"/>
          <p:cNvSpPr>
            <a:spLocks/>
          </p:cNvSpPr>
          <p:nvPr userDrawn="1"/>
        </p:nvSpPr>
        <p:spPr bwMode="auto">
          <a:xfrm>
            <a:off x="0" y="2"/>
            <a:ext cx="9144000" cy="5143500"/>
          </a:xfrm>
          <a:custGeom>
            <a:avLst/>
            <a:gdLst>
              <a:gd name="T0" fmla="*/ 0 w 10692130"/>
              <a:gd name="T1" fmla="*/ 28 h 7560309"/>
              <a:gd name="T2" fmla="*/ 7838 w 10692130"/>
              <a:gd name="T3" fmla="*/ 28 h 7560309"/>
              <a:gd name="T4" fmla="*/ 7838 w 10692130"/>
              <a:gd name="T5" fmla="*/ 0 h 7560309"/>
              <a:gd name="T6" fmla="*/ 0 w 10692130"/>
              <a:gd name="T7" fmla="*/ 0 h 7560309"/>
              <a:gd name="T8" fmla="*/ 0 w 10692130"/>
              <a:gd name="T9" fmla="*/ 28 h 7560309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0692130" h="7560309">
                <a:moveTo>
                  <a:pt x="0" y="7559992"/>
                </a:moveTo>
                <a:lnTo>
                  <a:pt x="10692003" y="7559992"/>
                </a:lnTo>
                <a:lnTo>
                  <a:pt x="10692003" y="0"/>
                </a:lnTo>
                <a:lnTo>
                  <a:pt x="0" y="0"/>
                </a:lnTo>
                <a:lnTo>
                  <a:pt x="0" y="7559992"/>
                </a:lnTo>
                <a:close/>
              </a:path>
            </a:pathLst>
          </a:custGeom>
          <a:solidFill>
            <a:srgbClr val="BC9D45"/>
          </a:solidFill>
          <a:ln w="9525">
            <a:noFill/>
            <a:round/>
            <a:headEnd/>
            <a:tailEnd/>
          </a:ln>
        </p:spPr>
        <p:txBody>
          <a:bodyPr lIns="0" tIns="0" rIns="0" bIns="0"/>
          <a:lstStyle/>
          <a:p>
            <a:endParaRPr lang="fr-FR"/>
          </a:p>
        </p:txBody>
      </p:sp>
      <p:pic>
        <p:nvPicPr>
          <p:cNvPr id="3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17747" y="299279"/>
            <a:ext cx="674511" cy="6747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3" descr="C:\Users\harpreet singh\Desktop\switch\half\PPT half switch-03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312865"/>
            <a:ext cx="4714875" cy="38306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2357437" y="1800227"/>
            <a:ext cx="5576888" cy="1752600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defRPr sz="5400">
                <a:solidFill>
                  <a:schemeClr val="bg1"/>
                </a:solidFill>
                <a:latin typeface="Source Sans Pro Black" pitchFamily="34" charset="0"/>
                <a:ea typeface="Source Sans Pro Black" pitchFamily="34" charset="0"/>
              </a:defRPr>
            </a:lvl1pPr>
          </a:lstStyle>
          <a:p>
            <a:r>
              <a:rPr lang="en-US"/>
              <a:t>    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50547487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k object 16"/>
          <p:cNvSpPr>
            <a:spLocks/>
          </p:cNvSpPr>
          <p:nvPr userDrawn="1"/>
        </p:nvSpPr>
        <p:spPr bwMode="auto">
          <a:xfrm>
            <a:off x="0" y="1"/>
            <a:ext cx="9144000" cy="5143500"/>
          </a:xfrm>
          <a:custGeom>
            <a:avLst/>
            <a:gdLst>
              <a:gd name="T0" fmla="*/ 0 w 10692130"/>
              <a:gd name="T1" fmla="*/ 28 h 7560309"/>
              <a:gd name="T2" fmla="*/ 7838 w 10692130"/>
              <a:gd name="T3" fmla="*/ 28 h 7560309"/>
              <a:gd name="T4" fmla="*/ 7838 w 10692130"/>
              <a:gd name="T5" fmla="*/ 0 h 7560309"/>
              <a:gd name="T6" fmla="*/ 0 w 10692130"/>
              <a:gd name="T7" fmla="*/ 0 h 7560309"/>
              <a:gd name="T8" fmla="*/ 0 w 10692130"/>
              <a:gd name="T9" fmla="*/ 28 h 7560309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0692130" h="7560309">
                <a:moveTo>
                  <a:pt x="0" y="7559992"/>
                </a:moveTo>
                <a:lnTo>
                  <a:pt x="10692003" y="7559992"/>
                </a:lnTo>
                <a:lnTo>
                  <a:pt x="10692003" y="0"/>
                </a:lnTo>
                <a:lnTo>
                  <a:pt x="0" y="0"/>
                </a:lnTo>
                <a:lnTo>
                  <a:pt x="0" y="7559992"/>
                </a:lnTo>
                <a:close/>
              </a:path>
            </a:pathLst>
          </a:custGeom>
          <a:solidFill>
            <a:srgbClr val="0A7380"/>
          </a:solidFill>
          <a:ln w="9525">
            <a:noFill/>
            <a:round/>
            <a:headEnd/>
            <a:tailEnd/>
          </a:ln>
        </p:spPr>
        <p:txBody>
          <a:bodyPr lIns="0" tIns="0" rIns="0" bIns="0"/>
          <a:lstStyle/>
          <a:p>
            <a:endParaRPr lang="en-GB" noProof="0"/>
          </a:p>
        </p:txBody>
      </p:sp>
      <p:pic>
        <p:nvPicPr>
          <p:cNvPr id="3" name="Picture 2" descr="C:\Users\Administrateur\Desktop\new_switch_rvb_rouge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188912" y="823481"/>
            <a:ext cx="3816658" cy="34351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" name="Picture 2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17746" y="299279"/>
            <a:ext cx="674511" cy="6747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itre 1"/>
          <p:cNvSpPr txBox="1">
            <a:spLocks/>
          </p:cNvSpPr>
          <p:nvPr/>
        </p:nvSpPr>
        <p:spPr>
          <a:xfrm>
            <a:off x="4632390" y="1379283"/>
            <a:ext cx="4511610" cy="834634"/>
          </a:xfrm>
          <a:prstGeom prst="rect">
            <a:avLst/>
          </a:prstGeom>
        </p:spPr>
        <p:txBody>
          <a:bodyPr lIns="0" tIns="0" rIns="0" bIns="0"/>
          <a:lstStyle>
            <a:lvl1pPr algn="l" defTabSz="696913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68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algn="ctr" defTabSz="696913" rtl="0" fontAlgn="base">
              <a:spcBef>
                <a:spcPct val="0"/>
              </a:spcBef>
              <a:spcAft>
                <a:spcPct val="0"/>
              </a:spcAft>
              <a:defRPr sz="3400">
                <a:solidFill>
                  <a:schemeClr val="tx1"/>
                </a:solidFill>
                <a:latin typeface="Calibri" pitchFamily="34" charset="0"/>
              </a:defRPr>
            </a:lvl2pPr>
            <a:lvl3pPr algn="ctr" defTabSz="696913" rtl="0" fontAlgn="base">
              <a:spcBef>
                <a:spcPct val="0"/>
              </a:spcBef>
              <a:spcAft>
                <a:spcPct val="0"/>
              </a:spcAft>
              <a:defRPr sz="3400">
                <a:solidFill>
                  <a:schemeClr val="tx1"/>
                </a:solidFill>
                <a:latin typeface="Calibri" pitchFamily="34" charset="0"/>
              </a:defRPr>
            </a:lvl3pPr>
            <a:lvl4pPr algn="ctr" defTabSz="696913" rtl="0" fontAlgn="base">
              <a:spcBef>
                <a:spcPct val="0"/>
              </a:spcBef>
              <a:spcAft>
                <a:spcPct val="0"/>
              </a:spcAft>
              <a:defRPr sz="3400">
                <a:solidFill>
                  <a:schemeClr val="tx1"/>
                </a:solidFill>
                <a:latin typeface="Calibri" pitchFamily="34" charset="0"/>
              </a:defRPr>
            </a:lvl4pPr>
            <a:lvl5pPr algn="ctr" defTabSz="696913" rtl="0" fontAlgn="base">
              <a:spcBef>
                <a:spcPct val="0"/>
              </a:spcBef>
              <a:spcAft>
                <a:spcPct val="0"/>
              </a:spcAft>
              <a:defRPr sz="3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defTabSz="696913" rtl="0" fontAlgn="base">
              <a:spcBef>
                <a:spcPct val="0"/>
              </a:spcBef>
              <a:spcAft>
                <a:spcPct val="0"/>
              </a:spcAft>
              <a:defRPr sz="3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defTabSz="696913" rtl="0" fontAlgn="base">
              <a:spcBef>
                <a:spcPct val="0"/>
              </a:spcBef>
              <a:spcAft>
                <a:spcPct val="0"/>
              </a:spcAft>
              <a:defRPr sz="3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defTabSz="696913" rtl="0" fontAlgn="base">
              <a:spcBef>
                <a:spcPct val="0"/>
              </a:spcBef>
              <a:spcAft>
                <a:spcPct val="0"/>
              </a:spcAft>
              <a:defRPr sz="3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defTabSz="696913" rtl="0" fontAlgn="base">
              <a:spcBef>
                <a:spcPct val="0"/>
              </a:spcBef>
              <a:spcAft>
                <a:spcPct val="0"/>
              </a:spcAft>
              <a:defRPr sz="3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defRPr/>
            </a:pPr>
            <a:r>
              <a:rPr lang="en-GB" sz="6300" b="1" noProof="0"/>
              <a:t>Title 1</a:t>
            </a:r>
          </a:p>
        </p:txBody>
      </p:sp>
      <p:sp>
        <p:nvSpPr>
          <p:cNvPr id="6" name="Titre 2"/>
          <p:cNvSpPr txBox="1">
            <a:spLocks/>
          </p:cNvSpPr>
          <p:nvPr/>
        </p:nvSpPr>
        <p:spPr>
          <a:xfrm>
            <a:off x="3840815" y="2230647"/>
            <a:ext cx="5303185" cy="1007509"/>
          </a:xfrm>
          <a:prstGeom prst="rect">
            <a:avLst/>
          </a:prstGeom>
        </p:spPr>
        <p:txBody>
          <a:bodyPr lIns="107040" tIns="53520" rIns="107040" bIns="53520"/>
          <a:lstStyle>
            <a:lvl1pPr marL="0" indent="0" algn="l" defTabSz="696913" rtl="0" fontAlgn="base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6800" kern="1200" baseline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565150" indent="-217488" algn="l" defTabSz="696913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71538" indent="-173038" algn="l" defTabSz="696913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19200" indent="-173038" algn="l" defTabSz="696913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68450" indent="-173038" algn="l" defTabSz="696913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17634" indent="-174330" algn="l" defTabSz="69732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66295" indent="-174330" algn="l" defTabSz="69732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14955" indent="-174330" algn="l" defTabSz="69732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63616" indent="-174330" algn="l" defTabSz="69732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1" hangingPunct="1">
              <a:defRPr/>
            </a:pPr>
            <a:r>
              <a:rPr lang="en-GB" sz="6300" b="1" noProof="0"/>
              <a:t>Title 2</a:t>
            </a:r>
          </a:p>
        </p:txBody>
      </p:sp>
      <p:sp>
        <p:nvSpPr>
          <p:cNvPr id="7" name="Date / Lieu"/>
          <p:cNvSpPr txBox="1">
            <a:spLocks/>
          </p:cNvSpPr>
          <p:nvPr/>
        </p:nvSpPr>
        <p:spPr>
          <a:xfrm>
            <a:off x="3240629" y="3398018"/>
            <a:ext cx="5903371" cy="522344"/>
          </a:xfrm>
          <a:prstGeom prst="rect">
            <a:avLst/>
          </a:prstGeom>
        </p:spPr>
        <p:txBody>
          <a:bodyPr lIns="107040" tIns="53520" rIns="107040" bIns="53520"/>
          <a:lstStyle>
            <a:lvl1pPr marL="0" indent="0" algn="l" defTabSz="696913" rtl="0" fontAlgn="base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3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696913" rtl="0" fontAlgn="base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21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696913" rtl="0" fontAlgn="base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696913" rtl="0" fontAlgn="base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5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696913" rtl="0" fontAlgn="base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5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697321" rtl="0" eaLnBrk="1" latinLnBrk="0" hangingPunct="1">
              <a:spcBef>
                <a:spcPct val="20000"/>
              </a:spcBef>
              <a:buFont typeface="Arial" pitchFamily="34" charset="0"/>
              <a:buNone/>
              <a:defRPr sz="15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697321" rtl="0" eaLnBrk="1" latinLnBrk="0" hangingPunct="1">
              <a:spcBef>
                <a:spcPct val="20000"/>
              </a:spcBef>
              <a:buFont typeface="Arial" pitchFamily="34" charset="0"/>
              <a:buNone/>
              <a:defRPr sz="15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697321" rtl="0" eaLnBrk="1" latinLnBrk="0" hangingPunct="1">
              <a:spcBef>
                <a:spcPct val="20000"/>
              </a:spcBef>
              <a:buFont typeface="Arial" pitchFamily="34" charset="0"/>
              <a:buNone/>
              <a:defRPr sz="15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697321" rtl="0" eaLnBrk="1" latinLnBrk="0" hangingPunct="1">
              <a:spcBef>
                <a:spcPct val="20000"/>
              </a:spcBef>
              <a:buFont typeface="Arial" pitchFamily="34" charset="0"/>
              <a:buNone/>
              <a:defRPr sz="15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1" hangingPunct="1">
              <a:defRPr/>
            </a:pPr>
            <a:r>
              <a:rPr lang="en-GB" sz="3500" b="1" noProof="0">
                <a:latin typeface="+mj-lt"/>
              </a:rPr>
              <a:t>Date / Place</a:t>
            </a:r>
          </a:p>
        </p:txBody>
      </p:sp>
    </p:spTree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7_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k object 16"/>
          <p:cNvSpPr>
            <a:spLocks/>
          </p:cNvSpPr>
          <p:nvPr userDrawn="1"/>
        </p:nvSpPr>
        <p:spPr bwMode="auto">
          <a:xfrm>
            <a:off x="0" y="2"/>
            <a:ext cx="9144000" cy="5143500"/>
          </a:xfrm>
          <a:custGeom>
            <a:avLst/>
            <a:gdLst>
              <a:gd name="T0" fmla="*/ 0 w 10692130"/>
              <a:gd name="T1" fmla="*/ 28 h 7560309"/>
              <a:gd name="T2" fmla="*/ 7838 w 10692130"/>
              <a:gd name="T3" fmla="*/ 28 h 7560309"/>
              <a:gd name="T4" fmla="*/ 7838 w 10692130"/>
              <a:gd name="T5" fmla="*/ 0 h 7560309"/>
              <a:gd name="T6" fmla="*/ 0 w 10692130"/>
              <a:gd name="T7" fmla="*/ 0 h 7560309"/>
              <a:gd name="T8" fmla="*/ 0 w 10692130"/>
              <a:gd name="T9" fmla="*/ 28 h 7560309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0692130" h="7560309">
                <a:moveTo>
                  <a:pt x="0" y="7559992"/>
                </a:moveTo>
                <a:lnTo>
                  <a:pt x="10692003" y="7559992"/>
                </a:lnTo>
                <a:lnTo>
                  <a:pt x="10692003" y="0"/>
                </a:lnTo>
                <a:lnTo>
                  <a:pt x="0" y="0"/>
                </a:lnTo>
                <a:lnTo>
                  <a:pt x="0" y="7559992"/>
                </a:lnTo>
                <a:close/>
              </a:path>
            </a:pathLst>
          </a:custGeom>
          <a:solidFill>
            <a:srgbClr val="BC9D45"/>
          </a:solidFill>
          <a:ln w="9525">
            <a:noFill/>
            <a:round/>
            <a:headEnd/>
            <a:tailEnd/>
          </a:ln>
        </p:spPr>
        <p:txBody>
          <a:bodyPr lIns="0" tIns="0" rIns="0" bIns="0"/>
          <a:lstStyle/>
          <a:p>
            <a:endParaRPr lang="fr-FR"/>
          </a:p>
        </p:txBody>
      </p:sp>
      <p:pic>
        <p:nvPicPr>
          <p:cNvPr id="3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17747" y="299279"/>
            <a:ext cx="674511" cy="6747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3" descr="C:\Users\harpreet singh\Desktop\switch\half\PPT half switch-03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312865"/>
            <a:ext cx="4714875" cy="38306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2357437" y="1800227"/>
            <a:ext cx="5576888" cy="1752600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defRPr sz="5400">
                <a:solidFill>
                  <a:schemeClr val="bg1"/>
                </a:solidFill>
                <a:latin typeface="Source Sans Pro Black" pitchFamily="34" charset="0"/>
                <a:ea typeface="Source Sans Pro Black" pitchFamily="34" charset="0"/>
              </a:defRPr>
            </a:lvl1pPr>
          </a:lstStyle>
          <a:p>
            <a:r>
              <a:rPr lang="en-US"/>
              <a:t>    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5054748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8_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k object 16"/>
          <p:cNvSpPr>
            <a:spLocks/>
          </p:cNvSpPr>
          <p:nvPr userDrawn="1"/>
        </p:nvSpPr>
        <p:spPr bwMode="auto">
          <a:xfrm>
            <a:off x="0" y="2"/>
            <a:ext cx="9144000" cy="5143500"/>
          </a:xfrm>
          <a:custGeom>
            <a:avLst/>
            <a:gdLst>
              <a:gd name="T0" fmla="*/ 0 w 10692130"/>
              <a:gd name="T1" fmla="*/ 28 h 7560309"/>
              <a:gd name="T2" fmla="*/ 7838 w 10692130"/>
              <a:gd name="T3" fmla="*/ 28 h 7560309"/>
              <a:gd name="T4" fmla="*/ 7838 w 10692130"/>
              <a:gd name="T5" fmla="*/ 0 h 7560309"/>
              <a:gd name="T6" fmla="*/ 0 w 10692130"/>
              <a:gd name="T7" fmla="*/ 0 h 7560309"/>
              <a:gd name="T8" fmla="*/ 0 w 10692130"/>
              <a:gd name="T9" fmla="*/ 28 h 7560309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0692130" h="7560309">
                <a:moveTo>
                  <a:pt x="0" y="7559992"/>
                </a:moveTo>
                <a:lnTo>
                  <a:pt x="10692003" y="7559992"/>
                </a:lnTo>
                <a:lnTo>
                  <a:pt x="10692003" y="0"/>
                </a:lnTo>
                <a:lnTo>
                  <a:pt x="0" y="0"/>
                </a:lnTo>
                <a:lnTo>
                  <a:pt x="0" y="7559992"/>
                </a:lnTo>
                <a:close/>
              </a:path>
            </a:pathLst>
          </a:custGeom>
          <a:solidFill>
            <a:srgbClr val="914146"/>
          </a:solidFill>
          <a:ln w="9525">
            <a:noFill/>
            <a:round/>
            <a:headEnd/>
            <a:tailEnd/>
          </a:ln>
        </p:spPr>
        <p:txBody>
          <a:bodyPr lIns="0" tIns="0" rIns="0" bIns="0"/>
          <a:lstStyle/>
          <a:p>
            <a:endParaRPr lang="fr-FR"/>
          </a:p>
        </p:txBody>
      </p:sp>
      <p:pic>
        <p:nvPicPr>
          <p:cNvPr id="3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17747" y="299279"/>
            <a:ext cx="674511" cy="6747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075" name="Picture 3" descr="C:\Users\harpreet singh\Desktop\switch\half\PPT half switch-03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312865"/>
            <a:ext cx="4714875" cy="38306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2357437" y="1800227"/>
            <a:ext cx="5576888" cy="1752600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defRPr sz="5400">
                <a:solidFill>
                  <a:schemeClr val="bg1"/>
                </a:solidFill>
                <a:latin typeface="Source Sans Pro Black" pitchFamily="34" charset="0"/>
                <a:ea typeface="Source Sans Pro Black" pitchFamily="34" charset="0"/>
              </a:defRPr>
            </a:lvl1pPr>
          </a:lstStyle>
          <a:p>
            <a:r>
              <a:rPr lang="en-US"/>
              <a:t>    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12707847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8_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k object 16"/>
          <p:cNvSpPr>
            <a:spLocks/>
          </p:cNvSpPr>
          <p:nvPr userDrawn="1"/>
        </p:nvSpPr>
        <p:spPr bwMode="auto">
          <a:xfrm>
            <a:off x="0" y="2"/>
            <a:ext cx="9144000" cy="5143500"/>
          </a:xfrm>
          <a:custGeom>
            <a:avLst/>
            <a:gdLst>
              <a:gd name="T0" fmla="*/ 0 w 10692130"/>
              <a:gd name="T1" fmla="*/ 28 h 7560309"/>
              <a:gd name="T2" fmla="*/ 7838 w 10692130"/>
              <a:gd name="T3" fmla="*/ 28 h 7560309"/>
              <a:gd name="T4" fmla="*/ 7838 w 10692130"/>
              <a:gd name="T5" fmla="*/ 0 h 7560309"/>
              <a:gd name="T6" fmla="*/ 0 w 10692130"/>
              <a:gd name="T7" fmla="*/ 0 h 7560309"/>
              <a:gd name="T8" fmla="*/ 0 w 10692130"/>
              <a:gd name="T9" fmla="*/ 28 h 7560309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0692130" h="7560309">
                <a:moveTo>
                  <a:pt x="0" y="7559992"/>
                </a:moveTo>
                <a:lnTo>
                  <a:pt x="10692003" y="7559992"/>
                </a:lnTo>
                <a:lnTo>
                  <a:pt x="10692003" y="0"/>
                </a:lnTo>
                <a:lnTo>
                  <a:pt x="0" y="0"/>
                </a:lnTo>
                <a:lnTo>
                  <a:pt x="0" y="7559992"/>
                </a:lnTo>
                <a:close/>
              </a:path>
            </a:pathLst>
          </a:custGeom>
          <a:solidFill>
            <a:srgbClr val="914146"/>
          </a:solidFill>
          <a:ln w="9525">
            <a:noFill/>
            <a:round/>
            <a:headEnd/>
            <a:tailEnd/>
          </a:ln>
        </p:spPr>
        <p:txBody>
          <a:bodyPr lIns="0" tIns="0" rIns="0" bIns="0"/>
          <a:lstStyle/>
          <a:p>
            <a:endParaRPr lang="fr-FR"/>
          </a:p>
        </p:txBody>
      </p:sp>
      <p:pic>
        <p:nvPicPr>
          <p:cNvPr id="3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17747" y="299279"/>
            <a:ext cx="674511" cy="6747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075" name="Picture 3" descr="C:\Users\harpreet singh\Desktop\switch\half\PPT half switch-03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312865"/>
            <a:ext cx="4714875" cy="38306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2357437" y="1800227"/>
            <a:ext cx="5576888" cy="1752600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defRPr sz="5400">
                <a:solidFill>
                  <a:schemeClr val="bg1"/>
                </a:solidFill>
                <a:latin typeface="Source Sans Pro Black" pitchFamily="34" charset="0"/>
                <a:ea typeface="Source Sans Pro Black" pitchFamily="34" charset="0"/>
              </a:defRPr>
            </a:lvl1pPr>
          </a:lstStyle>
          <a:p>
            <a:r>
              <a:rPr lang="en-US"/>
              <a:t>    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1270784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9_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k object 16"/>
          <p:cNvSpPr>
            <a:spLocks/>
          </p:cNvSpPr>
          <p:nvPr userDrawn="1"/>
        </p:nvSpPr>
        <p:spPr bwMode="auto">
          <a:xfrm>
            <a:off x="0" y="2"/>
            <a:ext cx="9144000" cy="5143500"/>
          </a:xfrm>
          <a:custGeom>
            <a:avLst/>
            <a:gdLst>
              <a:gd name="T0" fmla="*/ 0 w 10692130"/>
              <a:gd name="T1" fmla="*/ 28 h 7560309"/>
              <a:gd name="T2" fmla="*/ 7838 w 10692130"/>
              <a:gd name="T3" fmla="*/ 28 h 7560309"/>
              <a:gd name="T4" fmla="*/ 7838 w 10692130"/>
              <a:gd name="T5" fmla="*/ 0 h 7560309"/>
              <a:gd name="T6" fmla="*/ 0 w 10692130"/>
              <a:gd name="T7" fmla="*/ 0 h 7560309"/>
              <a:gd name="T8" fmla="*/ 0 w 10692130"/>
              <a:gd name="T9" fmla="*/ 28 h 7560309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0692130" h="7560309">
                <a:moveTo>
                  <a:pt x="0" y="7559992"/>
                </a:moveTo>
                <a:lnTo>
                  <a:pt x="10692003" y="7559992"/>
                </a:lnTo>
                <a:lnTo>
                  <a:pt x="10692003" y="0"/>
                </a:lnTo>
                <a:lnTo>
                  <a:pt x="0" y="0"/>
                </a:lnTo>
                <a:lnTo>
                  <a:pt x="0" y="7559992"/>
                </a:lnTo>
                <a:close/>
              </a:path>
            </a:pathLst>
          </a:custGeom>
          <a:solidFill>
            <a:srgbClr val="9FD9B4"/>
          </a:solidFill>
          <a:ln w="9525">
            <a:noFill/>
            <a:round/>
            <a:headEnd/>
            <a:tailEnd/>
          </a:ln>
        </p:spPr>
        <p:txBody>
          <a:bodyPr lIns="0" tIns="0" rIns="0" bIns="0"/>
          <a:lstStyle/>
          <a:p>
            <a:endParaRPr lang="fr-FR"/>
          </a:p>
        </p:txBody>
      </p:sp>
      <p:pic>
        <p:nvPicPr>
          <p:cNvPr id="3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17747" y="299279"/>
            <a:ext cx="674511" cy="6747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098" name="Picture 2" descr="C:\Users\harpreet singh\Desktop\switch\half\PPT half switch-05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312863"/>
            <a:ext cx="4714875" cy="38306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2357437" y="1800227"/>
            <a:ext cx="5576888" cy="1752600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defRPr sz="5400">
                <a:solidFill>
                  <a:srgbClr val="00008F"/>
                </a:solidFill>
                <a:latin typeface="Source Sans Pro Black" pitchFamily="34" charset="0"/>
                <a:ea typeface="Source Sans Pro Black" pitchFamily="34" charset="0"/>
              </a:defRPr>
            </a:lvl1pPr>
          </a:lstStyle>
          <a:p>
            <a:r>
              <a:rPr lang="en-US"/>
              <a:t>    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87211006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9_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k object 16"/>
          <p:cNvSpPr>
            <a:spLocks/>
          </p:cNvSpPr>
          <p:nvPr userDrawn="1"/>
        </p:nvSpPr>
        <p:spPr bwMode="auto">
          <a:xfrm>
            <a:off x="0" y="2"/>
            <a:ext cx="9144000" cy="5143500"/>
          </a:xfrm>
          <a:custGeom>
            <a:avLst/>
            <a:gdLst>
              <a:gd name="T0" fmla="*/ 0 w 10692130"/>
              <a:gd name="T1" fmla="*/ 28 h 7560309"/>
              <a:gd name="T2" fmla="*/ 7838 w 10692130"/>
              <a:gd name="T3" fmla="*/ 28 h 7560309"/>
              <a:gd name="T4" fmla="*/ 7838 w 10692130"/>
              <a:gd name="T5" fmla="*/ 0 h 7560309"/>
              <a:gd name="T6" fmla="*/ 0 w 10692130"/>
              <a:gd name="T7" fmla="*/ 0 h 7560309"/>
              <a:gd name="T8" fmla="*/ 0 w 10692130"/>
              <a:gd name="T9" fmla="*/ 28 h 7560309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0692130" h="7560309">
                <a:moveTo>
                  <a:pt x="0" y="7559992"/>
                </a:moveTo>
                <a:lnTo>
                  <a:pt x="10692003" y="7559992"/>
                </a:lnTo>
                <a:lnTo>
                  <a:pt x="10692003" y="0"/>
                </a:lnTo>
                <a:lnTo>
                  <a:pt x="0" y="0"/>
                </a:lnTo>
                <a:lnTo>
                  <a:pt x="0" y="7559992"/>
                </a:lnTo>
                <a:close/>
              </a:path>
            </a:pathLst>
          </a:custGeom>
          <a:solidFill>
            <a:srgbClr val="9FD9B4"/>
          </a:solidFill>
          <a:ln w="9525">
            <a:noFill/>
            <a:round/>
            <a:headEnd/>
            <a:tailEnd/>
          </a:ln>
        </p:spPr>
        <p:txBody>
          <a:bodyPr lIns="0" tIns="0" rIns="0" bIns="0"/>
          <a:lstStyle/>
          <a:p>
            <a:endParaRPr lang="fr-FR"/>
          </a:p>
        </p:txBody>
      </p:sp>
      <p:pic>
        <p:nvPicPr>
          <p:cNvPr id="3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17747" y="299279"/>
            <a:ext cx="674511" cy="6747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098" name="Picture 2" descr="C:\Users\harpreet singh\Desktop\switch\half\PPT half switch-05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312863"/>
            <a:ext cx="4714875" cy="38306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2357437" y="1800227"/>
            <a:ext cx="5576888" cy="1752600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defRPr sz="5400">
                <a:solidFill>
                  <a:srgbClr val="00008F"/>
                </a:solidFill>
                <a:latin typeface="Source Sans Pro Black" pitchFamily="34" charset="0"/>
                <a:ea typeface="Source Sans Pro Black" pitchFamily="34" charset="0"/>
              </a:defRPr>
            </a:lvl1pPr>
          </a:lstStyle>
          <a:p>
            <a:r>
              <a:rPr lang="en-US"/>
              <a:t>    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8721100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1_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k object 16"/>
          <p:cNvSpPr>
            <a:spLocks/>
          </p:cNvSpPr>
          <p:nvPr userDrawn="1"/>
        </p:nvSpPr>
        <p:spPr bwMode="auto">
          <a:xfrm>
            <a:off x="0" y="2"/>
            <a:ext cx="9144000" cy="5143500"/>
          </a:xfrm>
          <a:custGeom>
            <a:avLst/>
            <a:gdLst>
              <a:gd name="T0" fmla="*/ 0 w 10692130"/>
              <a:gd name="T1" fmla="*/ 28 h 7560309"/>
              <a:gd name="T2" fmla="*/ 7838 w 10692130"/>
              <a:gd name="T3" fmla="*/ 28 h 7560309"/>
              <a:gd name="T4" fmla="*/ 7838 w 10692130"/>
              <a:gd name="T5" fmla="*/ 0 h 7560309"/>
              <a:gd name="T6" fmla="*/ 0 w 10692130"/>
              <a:gd name="T7" fmla="*/ 0 h 7560309"/>
              <a:gd name="T8" fmla="*/ 0 w 10692130"/>
              <a:gd name="T9" fmla="*/ 28 h 7560309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0692130" h="7560309">
                <a:moveTo>
                  <a:pt x="0" y="7559992"/>
                </a:moveTo>
                <a:lnTo>
                  <a:pt x="10692003" y="7559992"/>
                </a:lnTo>
                <a:lnTo>
                  <a:pt x="10692003" y="0"/>
                </a:lnTo>
                <a:lnTo>
                  <a:pt x="0" y="0"/>
                </a:lnTo>
                <a:lnTo>
                  <a:pt x="0" y="7559992"/>
                </a:lnTo>
                <a:close/>
              </a:path>
            </a:pathLst>
          </a:custGeom>
          <a:solidFill>
            <a:srgbClr val="00AEC6"/>
          </a:solidFill>
          <a:ln w="9525">
            <a:noFill/>
            <a:round/>
            <a:headEnd/>
            <a:tailEnd/>
          </a:ln>
        </p:spPr>
        <p:txBody>
          <a:bodyPr lIns="0" tIns="0" rIns="0" bIns="0"/>
          <a:lstStyle/>
          <a:p>
            <a:endParaRPr lang="fr-FR"/>
          </a:p>
        </p:txBody>
      </p:sp>
      <p:pic>
        <p:nvPicPr>
          <p:cNvPr id="3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17747" y="299279"/>
            <a:ext cx="674511" cy="6747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2" descr="C:\Users\harpreet singh\Desktop\switch\half\PPT half switch-03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312865"/>
            <a:ext cx="4714875" cy="38306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2025803" y="1809750"/>
            <a:ext cx="5105400" cy="17526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4400">
                <a:solidFill>
                  <a:schemeClr val="bg1"/>
                </a:solidFill>
                <a:latin typeface="Source Sans Pro Black" pitchFamily="34" charset="0"/>
                <a:ea typeface="Source Sans Pro Black" pitchFamily="34" charset="0"/>
              </a:defRPr>
            </a:lvl1pPr>
          </a:lstStyle>
          <a:p>
            <a:r>
              <a:rPr lang="en-US"/>
              <a:t>    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47834989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1_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k object 16"/>
          <p:cNvSpPr>
            <a:spLocks/>
          </p:cNvSpPr>
          <p:nvPr userDrawn="1"/>
        </p:nvSpPr>
        <p:spPr bwMode="auto">
          <a:xfrm>
            <a:off x="0" y="2"/>
            <a:ext cx="9144000" cy="5143500"/>
          </a:xfrm>
          <a:custGeom>
            <a:avLst/>
            <a:gdLst>
              <a:gd name="T0" fmla="*/ 0 w 10692130"/>
              <a:gd name="T1" fmla="*/ 28 h 7560309"/>
              <a:gd name="T2" fmla="*/ 7838 w 10692130"/>
              <a:gd name="T3" fmla="*/ 28 h 7560309"/>
              <a:gd name="T4" fmla="*/ 7838 w 10692130"/>
              <a:gd name="T5" fmla="*/ 0 h 7560309"/>
              <a:gd name="T6" fmla="*/ 0 w 10692130"/>
              <a:gd name="T7" fmla="*/ 0 h 7560309"/>
              <a:gd name="T8" fmla="*/ 0 w 10692130"/>
              <a:gd name="T9" fmla="*/ 28 h 7560309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0692130" h="7560309">
                <a:moveTo>
                  <a:pt x="0" y="7559992"/>
                </a:moveTo>
                <a:lnTo>
                  <a:pt x="10692003" y="7559992"/>
                </a:lnTo>
                <a:lnTo>
                  <a:pt x="10692003" y="0"/>
                </a:lnTo>
                <a:lnTo>
                  <a:pt x="0" y="0"/>
                </a:lnTo>
                <a:lnTo>
                  <a:pt x="0" y="7559992"/>
                </a:lnTo>
                <a:close/>
              </a:path>
            </a:pathLst>
          </a:custGeom>
          <a:solidFill>
            <a:srgbClr val="00AEC6"/>
          </a:solidFill>
          <a:ln w="9525">
            <a:noFill/>
            <a:round/>
            <a:headEnd/>
            <a:tailEnd/>
          </a:ln>
        </p:spPr>
        <p:txBody>
          <a:bodyPr lIns="0" tIns="0" rIns="0" bIns="0"/>
          <a:lstStyle/>
          <a:p>
            <a:endParaRPr lang="fr-FR"/>
          </a:p>
        </p:txBody>
      </p:sp>
      <p:pic>
        <p:nvPicPr>
          <p:cNvPr id="3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17747" y="299279"/>
            <a:ext cx="674511" cy="6747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2" descr="C:\Users\harpreet singh\Desktop\switch\half\PPT half switch-03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312865"/>
            <a:ext cx="4714875" cy="38306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2025803" y="1809750"/>
            <a:ext cx="5105400" cy="17526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4400">
                <a:solidFill>
                  <a:schemeClr val="bg1"/>
                </a:solidFill>
                <a:latin typeface="Source Sans Pro Black" pitchFamily="34" charset="0"/>
                <a:ea typeface="Source Sans Pro Black" pitchFamily="34" charset="0"/>
              </a:defRPr>
            </a:lvl1pPr>
          </a:lstStyle>
          <a:p>
            <a:r>
              <a:rPr lang="en-US"/>
              <a:t>    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4783498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k object 16"/>
          <p:cNvSpPr>
            <a:spLocks/>
          </p:cNvSpPr>
          <p:nvPr userDrawn="1"/>
        </p:nvSpPr>
        <p:spPr bwMode="auto">
          <a:xfrm>
            <a:off x="0" y="1"/>
            <a:ext cx="9144000" cy="5143500"/>
          </a:xfrm>
          <a:custGeom>
            <a:avLst/>
            <a:gdLst>
              <a:gd name="T0" fmla="*/ 0 w 10692130"/>
              <a:gd name="T1" fmla="*/ 28 h 7560309"/>
              <a:gd name="T2" fmla="*/ 7838 w 10692130"/>
              <a:gd name="T3" fmla="*/ 28 h 7560309"/>
              <a:gd name="T4" fmla="*/ 7838 w 10692130"/>
              <a:gd name="T5" fmla="*/ 0 h 7560309"/>
              <a:gd name="T6" fmla="*/ 0 w 10692130"/>
              <a:gd name="T7" fmla="*/ 0 h 7560309"/>
              <a:gd name="T8" fmla="*/ 0 w 10692130"/>
              <a:gd name="T9" fmla="*/ 28 h 7560309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0692130" h="7560309">
                <a:moveTo>
                  <a:pt x="0" y="7559992"/>
                </a:moveTo>
                <a:lnTo>
                  <a:pt x="10692003" y="7559992"/>
                </a:lnTo>
                <a:lnTo>
                  <a:pt x="10692003" y="0"/>
                </a:lnTo>
                <a:lnTo>
                  <a:pt x="0" y="0"/>
                </a:lnTo>
                <a:lnTo>
                  <a:pt x="0" y="7559992"/>
                </a:lnTo>
                <a:close/>
              </a:path>
            </a:pathLst>
          </a:custGeom>
          <a:solidFill>
            <a:srgbClr val="0A7380"/>
          </a:solidFill>
          <a:ln w="9525">
            <a:noFill/>
            <a:round/>
            <a:headEnd/>
            <a:tailEnd/>
          </a:ln>
        </p:spPr>
        <p:txBody>
          <a:bodyPr lIns="0" tIns="0" rIns="0" bIns="0"/>
          <a:lstStyle/>
          <a:p>
            <a:endParaRPr lang="fr-FR"/>
          </a:p>
        </p:txBody>
      </p:sp>
      <p:pic>
        <p:nvPicPr>
          <p:cNvPr id="3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17746" y="299279"/>
            <a:ext cx="674511" cy="6747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tangle 5"/>
          <p:cNvSpPr/>
          <p:nvPr userDrawn="1"/>
        </p:nvSpPr>
        <p:spPr>
          <a:xfrm>
            <a:off x="2458345" y="1"/>
            <a:ext cx="6685655" cy="5143500"/>
          </a:xfrm>
          <a:custGeom>
            <a:avLst/>
            <a:gdLst>
              <a:gd name="connsiteX0" fmla="*/ 0 w 7250400"/>
              <a:gd name="connsiteY0" fmla="*/ 0 h 6858000"/>
              <a:gd name="connsiteX1" fmla="*/ 7250400 w 7250400"/>
              <a:gd name="connsiteY1" fmla="*/ 0 h 6858000"/>
              <a:gd name="connsiteX2" fmla="*/ 7250400 w 7250400"/>
              <a:gd name="connsiteY2" fmla="*/ 6858000 h 6858000"/>
              <a:gd name="connsiteX3" fmla="*/ 0 w 7250400"/>
              <a:gd name="connsiteY3" fmla="*/ 6858000 h 6858000"/>
              <a:gd name="connsiteX4" fmla="*/ 0 w 7250400"/>
              <a:gd name="connsiteY4" fmla="*/ 0 h 6858000"/>
              <a:gd name="connsiteX0" fmla="*/ 5326743 w 7250400"/>
              <a:gd name="connsiteY0" fmla="*/ 29029 h 6858000"/>
              <a:gd name="connsiteX1" fmla="*/ 7250400 w 7250400"/>
              <a:gd name="connsiteY1" fmla="*/ 0 h 6858000"/>
              <a:gd name="connsiteX2" fmla="*/ 7250400 w 7250400"/>
              <a:gd name="connsiteY2" fmla="*/ 6858000 h 6858000"/>
              <a:gd name="connsiteX3" fmla="*/ 0 w 7250400"/>
              <a:gd name="connsiteY3" fmla="*/ 6858000 h 6858000"/>
              <a:gd name="connsiteX4" fmla="*/ 5326743 w 7250400"/>
              <a:gd name="connsiteY4" fmla="*/ 29029 h 6858000"/>
              <a:gd name="connsiteX0" fmla="*/ 5297715 w 7250400"/>
              <a:gd name="connsiteY0" fmla="*/ 14514 h 6858000"/>
              <a:gd name="connsiteX1" fmla="*/ 7250400 w 7250400"/>
              <a:gd name="connsiteY1" fmla="*/ 0 h 6858000"/>
              <a:gd name="connsiteX2" fmla="*/ 7250400 w 7250400"/>
              <a:gd name="connsiteY2" fmla="*/ 6858000 h 6858000"/>
              <a:gd name="connsiteX3" fmla="*/ 0 w 7250400"/>
              <a:gd name="connsiteY3" fmla="*/ 6858000 h 6858000"/>
              <a:gd name="connsiteX4" fmla="*/ 5297715 w 7250400"/>
              <a:gd name="connsiteY4" fmla="*/ 14514 h 6858000"/>
              <a:gd name="connsiteX0" fmla="*/ 5302478 w 7250400"/>
              <a:gd name="connsiteY0" fmla="*/ 2607 h 6858000"/>
              <a:gd name="connsiteX1" fmla="*/ 7250400 w 7250400"/>
              <a:gd name="connsiteY1" fmla="*/ 0 h 6858000"/>
              <a:gd name="connsiteX2" fmla="*/ 7250400 w 7250400"/>
              <a:gd name="connsiteY2" fmla="*/ 6858000 h 6858000"/>
              <a:gd name="connsiteX3" fmla="*/ 0 w 7250400"/>
              <a:gd name="connsiteY3" fmla="*/ 6858000 h 6858000"/>
              <a:gd name="connsiteX4" fmla="*/ 5302478 w 7250400"/>
              <a:gd name="connsiteY4" fmla="*/ 2607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250400" h="6858000">
                <a:moveTo>
                  <a:pt x="5302478" y="2607"/>
                </a:moveTo>
                <a:lnTo>
                  <a:pt x="7250400" y="0"/>
                </a:lnTo>
                <a:lnTo>
                  <a:pt x="7250400" y="6858000"/>
                </a:lnTo>
                <a:lnTo>
                  <a:pt x="0" y="6858000"/>
                </a:lnTo>
                <a:lnTo>
                  <a:pt x="5302478" y="2607"/>
                </a:lnTo>
                <a:close/>
              </a:path>
            </a:pathLst>
          </a:custGeom>
          <a:solidFill>
            <a:srgbClr val="00AEC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040" tIns="53520" rIns="107040" bIns="53520" anchor="ctr"/>
          <a:lstStyle/>
          <a:p>
            <a:pPr algn="ctr" eaLnBrk="1" hangingPunct="1">
              <a:defRPr/>
            </a:pPr>
            <a:endParaRPr lang="fr-FR">
              <a:latin typeface="+mj-lt"/>
            </a:endParaRPr>
          </a:p>
        </p:txBody>
      </p:sp>
    </p:spTree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k object 16"/>
          <p:cNvSpPr>
            <a:spLocks/>
          </p:cNvSpPr>
          <p:nvPr userDrawn="1"/>
        </p:nvSpPr>
        <p:spPr bwMode="auto">
          <a:xfrm>
            <a:off x="0" y="1"/>
            <a:ext cx="9144000" cy="5143500"/>
          </a:xfrm>
          <a:custGeom>
            <a:avLst/>
            <a:gdLst>
              <a:gd name="T0" fmla="*/ 0 w 10692130"/>
              <a:gd name="T1" fmla="*/ 28 h 7560309"/>
              <a:gd name="T2" fmla="*/ 7838 w 10692130"/>
              <a:gd name="T3" fmla="*/ 28 h 7560309"/>
              <a:gd name="T4" fmla="*/ 7838 w 10692130"/>
              <a:gd name="T5" fmla="*/ 0 h 7560309"/>
              <a:gd name="T6" fmla="*/ 0 w 10692130"/>
              <a:gd name="T7" fmla="*/ 0 h 7560309"/>
              <a:gd name="T8" fmla="*/ 0 w 10692130"/>
              <a:gd name="T9" fmla="*/ 28 h 7560309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0692130" h="7560309">
                <a:moveTo>
                  <a:pt x="0" y="7559992"/>
                </a:moveTo>
                <a:lnTo>
                  <a:pt x="10692003" y="7559992"/>
                </a:lnTo>
                <a:lnTo>
                  <a:pt x="10692003" y="0"/>
                </a:lnTo>
                <a:lnTo>
                  <a:pt x="0" y="0"/>
                </a:lnTo>
                <a:lnTo>
                  <a:pt x="0" y="7559992"/>
                </a:lnTo>
                <a:close/>
              </a:path>
            </a:pathLst>
          </a:custGeom>
          <a:solidFill>
            <a:srgbClr val="0A7380"/>
          </a:solidFill>
          <a:ln w="9525">
            <a:noFill/>
            <a:round/>
            <a:headEnd/>
            <a:tailEnd/>
          </a:ln>
        </p:spPr>
        <p:txBody>
          <a:bodyPr lIns="0" tIns="0" rIns="0" bIns="0"/>
          <a:lstStyle/>
          <a:p>
            <a:endParaRPr lang="fr-FR"/>
          </a:p>
        </p:txBody>
      </p:sp>
      <p:pic>
        <p:nvPicPr>
          <p:cNvPr id="3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17746" y="299279"/>
            <a:ext cx="674511" cy="6747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tangle 5"/>
          <p:cNvSpPr/>
          <p:nvPr userDrawn="1"/>
        </p:nvSpPr>
        <p:spPr>
          <a:xfrm>
            <a:off x="2458345" y="1"/>
            <a:ext cx="6685655" cy="5143500"/>
          </a:xfrm>
          <a:custGeom>
            <a:avLst/>
            <a:gdLst>
              <a:gd name="connsiteX0" fmla="*/ 0 w 7250400"/>
              <a:gd name="connsiteY0" fmla="*/ 0 h 6858000"/>
              <a:gd name="connsiteX1" fmla="*/ 7250400 w 7250400"/>
              <a:gd name="connsiteY1" fmla="*/ 0 h 6858000"/>
              <a:gd name="connsiteX2" fmla="*/ 7250400 w 7250400"/>
              <a:gd name="connsiteY2" fmla="*/ 6858000 h 6858000"/>
              <a:gd name="connsiteX3" fmla="*/ 0 w 7250400"/>
              <a:gd name="connsiteY3" fmla="*/ 6858000 h 6858000"/>
              <a:gd name="connsiteX4" fmla="*/ 0 w 7250400"/>
              <a:gd name="connsiteY4" fmla="*/ 0 h 6858000"/>
              <a:gd name="connsiteX0" fmla="*/ 5326743 w 7250400"/>
              <a:gd name="connsiteY0" fmla="*/ 29029 h 6858000"/>
              <a:gd name="connsiteX1" fmla="*/ 7250400 w 7250400"/>
              <a:gd name="connsiteY1" fmla="*/ 0 h 6858000"/>
              <a:gd name="connsiteX2" fmla="*/ 7250400 w 7250400"/>
              <a:gd name="connsiteY2" fmla="*/ 6858000 h 6858000"/>
              <a:gd name="connsiteX3" fmla="*/ 0 w 7250400"/>
              <a:gd name="connsiteY3" fmla="*/ 6858000 h 6858000"/>
              <a:gd name="connsiteX4" fmla="*/ 5326743 w 7250400"/>
              <a:gd name="connsiteY4" fmla="*/ 29029 h 6858000"/>
              <a:gd name="connsiteX0" fmla="*/ 5297715 w 7250400"/>
              <a:gd name="connsiteY0" fmla="*/ 14514 h 6858000"/>
              <a:gd name="connsiteX1" fmla="*/ 7250400 w 7250400"/>
              <a:gd name="connsiteY1" fmla="*/ 0 h 6858000"/>
              <a:gd name="connsiteX2" fmla="*/ 7250400 w 7250400"/>
              <a:gd name="connsiteY2" fmla="*/ 6858000 h 6858000"/>
              <a:gd name="connsiteX3" fmla="*/ 0 w 7250400"/>
              <a:gd name="connsiteY3" fmla="*/ 6858000 h 6858000"/>
              <a:gd name="connsiteX4" fmla="*/ 5297715 w 7250400"/>
              <a:gd name="connsiteY4" fmla="*/ 14514 h 6858000"/>
              <a:gd name="connsiteX0" fmla="*/ 5302478 w 7250400"/>
              <a:gd name="connsiteY0" fmla="*/ 2607 h 6858000"/>
              <a:gd name="connsiteX1" fmla="*/ 7250400 w 7250400"/>
              <a:gd name="connsiteY1" fmla="*/ 0 h 6858000"/>
              <a:gd name="connsiteX2" fmla="*/ 7250400 w 7250400"/>
              <a:gd name="connsiteY2" fmla="*/ 6858000 h 6858000"/>
              <a:gd name="connsiteX3" fmla="*/ 0 w 7250400"/>
              <a:gd name="connsiteY3" fmla="*/ 6858000 h 6858000"/>
              <a:gd name="connsiteX4" fmla="*/ 5302478 w 7250400"/>
              <a:gd name="connsiteY4" fmla="*/ 2607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250400" h="6858000">
                <a:moveTo>
                  <a:pt x="5302478" y="2607"/>
                </a:moveTo>
                <a:lnTo>
                  <a:pt x="7250400" y="0"/>
                </a:lnTo>
                <a:lnTo>
                  <a:pt x="7250400" y="6858000"/>
                </a:lnTo>
                <a:lnTo>
                  <a:pt x="0" y="6858000"/>
                </a:lnTo>
                <a:lnTo>
                  <a:pt x="5302478" y="2607"/>
                </a:lnTo>
                <a:close/>
              </a:path>
            </a:pathLst>
          </a:custGeom>
          <a:solidFill>
            <a:srgbClr val="00AEC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040" tIns="53520" rIns="107040" bIns="53520" anchor="ctr"/>
          <a:lstStyle/>
          <a:p>
            <a:pPr algn="ctr" eaLnBrk="1" hangingPunct="1">
              <a:defRPr/>
            </a:pPr>
            <a:endParaRPr lang="fr-FR">
              <a:latin typeface="+mj-lt"/>
            </a:endParaRPr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k object 16"/>
          <p:cNvSpPr>
            <a:spLocks/>
          </p:cNvSpPr>
          <p:nvPr userDrawn="1"/>
        </p:nvSpPr>
        <p:spPr bwMode="auto">
          <a:xfrm>
            <a:off x="0" y="2"/>
            <a:ext cx="9144000" cy="5143500"/>
          </a:xfrm>
          <a:custGeom>
            <a:avLst/>
            <a:gdLst>
              <a:gd name="T0" fmla="*/ 0 w 10692130"/>
              <a:gd name="T1" fmla="*/ 28 h 7560309"/>
              <a:gd name="T2" fmla="*/ 7838 w 10692130"/>
              <a:gd name="T3" fmla="*/ 28 h 7560309"/>
              <a:gd name="T4" fmla="*/ 7838 w 10692130"/>
              <a:gd name="T5" fmla="*/ 0 h 7560309"/>
              <a:gd name="T6" fmla="*/ 0 w 10692130"/>
              <a:gd name="T7" fmla="*/ 0 h 7560309"/>
              <a:gd name="T8" fmla="*/ 0 w 10692130"/>
              <a:gd name="T9" fmla="*/ 28 h 7560309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0692130" h="7560309">
                <a:moveTo>
                  <a:pt x="0" y="7559992"/>
                </a:moveTo>
                <a:lnTo>
                  <a:pt x="10692003" y="7559992"/>
                </a:lnTo>
                <a:lnTo>
                  <a:pt x="10692003" y="0"/>
                </a:lnTo>
                <a:lnTo>
                  <a:pt x="0" y="0"/>
                </a:lnTo>
                <a:lnTo>
                  <a:pt x="0" y="7559992"/>
                </a:lnTo>
                <a:close/>
              </a:path>
            </a:pathLst>
          </a:custGeom>
          <a:solidFill>
            <a:srgbClr val="0A7380"/>
          </a:solidFill>
          <a:ln w="9525">
            <a:noFill/>
            <a:round/>
            <a:headEnd/>
            <a:tailEnd/>
          </a:ln>
        </p:spPr>
        <p:txBody>
          <a:bodyPr lIns="0" tIns="0" rIns="0" bIns="0"/>
          <a:lstStyle/>
          <a:p>
            <a:endParaRPr lang="fr-FR"/>
          </a:p>
        </p:txBody>
      </p:sp>
      <p:pic>
        <p:nvPicPr>
          <p:cNvPr id="3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17747" y="299279"/>
            <a:ext cx="674511" cy="6747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tangle 5"/>
          <p:cNvSpPr/>
          <p:nvPr userDrawn="1"/>
        </p:nvSpPr>
        <p:spPr>
          <a:xfrm>
            <a:off x="2458347" y="2"/>
            <a:ext cx="6685655" cy="5143500"/>
          </a:xfrm>
          <a:custGeom>
            <a:avLst/>
            <a:gdLst>
              <a:gd name="connsiteX0" fmla="*/ 0 w 7250400"/>
              <a:gd name="connsiteY0" fmla="*/ 0 h 6858000"/>
              <a:gd name="connsiteX1" fmla="*/ 7250400 w 7250400"/>
              <a:gd name="connsiteY1" fmla="*/ 0 h 6858000"/>
              <a:gd name="connsiteX2" fmla="*/ 7250400 w 7250400"/>
              <a:gd name="connsiteY2" fmla="*/ 6858000 h 6858000"/>
              <a:gd name="connsiteX3" fmla="*/ 0 w 7250400"/>
              <a:gd name="connsiteY3" fmla="*/ 6858000 h 6858000"/>
              <a:gd name="connsiteX4" fmla="*/ 0 w 7250400"/>
              <a:gd name="connsiteY4" fmla="*/ 0 h 6858000"/>
              <a:gd name="connsiteX0" fmla="*/ 5326743 w 7250400"/>
              <a:gd name="connsiteY0" fmla="*/ 29029 h 6858000"/>
              <a:gd name="connsiteX1" fmla="*/ 7250400 w 7250400"/>
              <a:gd name="connsiteY1" fmla="*/ 0 h 6858000"/>
              <a:gd name="connsiteX2" fmla="*/ 7250400 w 7250400"/>
              <a:gd name="connsiteY2" fmla="*/ 6858000 h 6858000"/>
              <a:gd name="connsiteX3" fmla="*/ 0 w 7250400"/>
              <a:gd name="connsiteY3" fmla="*/ 6858000 h 6858000"/>
              <a:gd name="connsiteX4" fmla="*/ 5326743 w 7250400"/>
              <a:gd name="connsiteY4" fmla="*/ 29029 h 6858000"/>
              <a:gd name="connsiteX0" fmla="*/ 5297715 w 7250400"/>
              <a:gd name="connsiteY0" fmla="*/ 14514 h 6858000"/>
              <a:gd name="connsiteX1" fmla="*/ 7250400 w 7250400"/>
              <a:gd name="connsiteY1" fmla="*/ 0 h 6858000"/>
              <a:gd name="connsiteX2" fmla="*/ 7250400 w 7250400"/>
              <a:gd name="connsiteY2" fmla="*/ 6858000 h 6858000"/>
              <a:gd name="connsiteX3" fmla="*/ 0 w 7250400"/>
              <a:gd name="connsiteY3" fmla="*/ 6858000 h 6858000"/>
              <a:gd name="connsiteX4" fmla="*/ 5297715 w 7250400"/>
              <a:gd name="connsiteY4" fmla="*/ 14514 h 6858000"/>
              <a:gd name="connsiteX0" fmla="*/ 5302478 w 7250400"/>
              <a:gd name="connsiteY0" fmla="*/ 2607 h 6858000"/>
              <a:gd name="connsiteX1" fmla="*/ 7250400 w 7250400"/>
              <a:gd name="connsiteY1" fmla="*/ 0 h 6858000"/>
              <a:gd name="connsiteX2" fmla="*/ 7250400 w 7250400"/>
              <a:gd name="connsiteY2" fmla="*/ 6858000 h 6858000"/>
              <a:gd name="connsiteX3" fmla="*/ 0 w 7250400"/>
              <a:gd name="connsiteY3" fmla="*/ 6858000 h 6858000"/>
              <a:gd name="connsiteX4" fmla="*/ 5302478 w 7250400"/>
              <a:gd name="connsiteY4" fmla="*/ 2607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250400" h="6858000">
                <a:moveTo>
                  <a:pt x="5302478" y="2607"/>
                </a:moveTo>
                <a:lnTo>
                  <a:pt x="7250400" y="0"/>
                </a:lnTo>
                <a:lnTo>
                  <a:pt x="7250400" y="6858000"/>
                </a:lnTo>
                <a:lnTo>
                  <a:pt x="0" y="6858000"/>
                </a:lnTo>
                <a:lnTo>
                  <a:pt x="5302478" y="2607"/>
                </a:lnTo>
                <a:close/>
              </a:path>
            </a:pathLst>
          </a:custGeom>
          <a:solidFill>
            <a:srgbClr val="00AEC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023" tIns="53513" rIns="107023" bIns="53513" anchor="ctr"/>
          <a:lstStyle/>
          <a:p>
            <a:pPr algn="ctr" eaLnBrk="1" hangingPunct="1">
              <a:defRPr/>
            </a:pPr>
            <a:endParaRPr lang="fr-FR">
              <a:latin typeface="+mj-lt"/>
            </a:endParaRPr>
          </a:p>
        </p:txBody>
      </p:sp>
      <p:sp>
        <p:nvSpPr>
          <p:cNvPr id="6" name="Espace réservé du contenu 8"/>
          <p:cNvSpPr>
            <a:spLocks noGrp="1"/>
          </p:cNvSpPr>
          <p:nvPr>
            <p:ph sz="quarter" idx="13" hasCustomPrompt="1"/>
          </p:nvPr>
        </p:nvSpPr>
        <p:spPr>
          <a:xfrm>
            <a:off x="6096000" y="4095750"/>
            <a:ext cx="2743200" cy="1133038"/>
          </a:xfrm>
          <a:prstGeom prst="rect">
            <a:avLst/>
          </a:prstGeom>
        </p:spPr>
        <p:txBody>
          <a:bodyPr lIns="107023" tIns="53513" rIns="107023" bIns="53513"/>
          <a:lstStyle>
            <a:lvl1pPr>
              <a:lnSpc>
                <a:spcPct val="100000"/>
              </a:lnSpc>
              <a:buClr>
                <a:srgbClr val="027180"/>
              </a:buClr>
              <a:buSzPct val="85000"/>
              <a:buFont typeface="fleche_rond" pitchFamily="2" charset="0"/>
              <a:buChar char=""/>
              <a:defRPr sz="1000" baseline="0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buClr>
                <a:srgbClr val="027180"/>
              </a:buClr>
              <a:buSzPct val="85000"/>
              <a:buFont typeface="fleche_rond" pitchFamily="2" charset="0"/>
              <a:buChar char=""/>
              <a:defRPr sz="1100">
                <a:solidFill>
                  <a:schemeClr val="bg1"/>
                </a:solidFill>
              </a:defRPr>
            </a:lvl2pPr>
            <a:lvl3pPr marL="945748" indent="-209960">
              <a:lnSpc>
                <a:spcPct val="100000"/>
              </a:lnSpc>
              <a:buFont typeface="Source Sans Pro" pitchFamily="34" charset="0"/>
              <a:buChar char="–"/>
              <a:defRPr sz="1050">
                <a:solidFill>
                  <a:schemeClr val="bg1"/>
                </a:solidFill>
              </a:defRPr>
            </a:lvl3pPr>
            <a:lvl4pPr marL="1049799" indent="-104051">
              <a:lnSpc>
                <a:spcPct val="100000"/>
              </a:lnSpc>
              <a:buFont typeface="Source Sans Pro" pitchFamily="34" charset="0"/>
              <a:buChar char="•"/>
              <a:defRPr sz="700">
                <a:solidFill>
                  <a:schemeClr val="bg1"/>
                </a:solidFill>
              </a:defRPr>
            </a:lvl4pPr>
            <a:lvl5pPr marL="1257900" indent="-104051">
              <a:lnSpc>
                <a:spcPct val="100000"/>
              </a:lnSpc>
              <a:buFont typeface="Source Sans Pro" pitchFamily="34" charset="0"/>
              <a:buChar char="&gt;"/>
              <a:defRPr sz="5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/>
              <a:t>Click to edit Master text styles never use more than 40 words. Use Source Sans Pro font in size of 10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1976437" y="1695452"/>
            <a:ext cx="5767388" cy="1752600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defRPr sz="5400">
                <a:solidFill>
                  <a:schemeClr val="bg1"/>
                </a:solidFill>
                <a:latin typeface="Source Sans Pro Black" pitchFamily="34" charset="0"/>
                <a:ea typeface="Source Sans Pro Black" pitchFamily="34" charset="0"/>
              </a:defRPr>
            </a:lvl1pPr>
          </a:lstStyle>
          <a:p>
            <a:r>
              <a:rPr lang="en-US"/>
              <a:t>    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21702076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k object 16"/>
          <p:cNvSpPr>
            <a:spLocks/>
          </p:cNvSpPr>
          <p:nvPr userDrawn="1"/>
        </p:nvSpPr>
        <p:spPr bwMode="auto">
          <a:xfrm>
            <a:off x="0" y="2"/>
            <a:ext cx="9144000" cy="5143500"/>
          </a:xfrm>
          <a:custGeom>
            <a:avLst/>
            <a:gdLst>
              <a:gd name="T0" fmla="*/ 0 w 10692130"/>
              <a:gd name="T1" fmla="*/ 28 h 7560309"/>
              <a:gd name="T2" fmla="*/ 7838 w 10692130"/>
              <a:gd name="T3" fmla="*/ 28 h 7560309"/>
              <a:gd name="T4" fmla="*/ 7838 w 10692130"/>
              <a:gd name="T5" fmla="*/ 0 h 7560309"/>
              <a:gd name="T6" fmla="*/ 0 w 10692130"/>
              <a:gd name="T7" fmla="*/ 0 h 7560309"/>
              <a:gd name="T8" fmla="*/ 0 w 10692130"/>
              <a:gd name="T9" fmla="*/ 28 h 7560309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0692130" h="7560309">
                <a:moveTo>
                  <a:pt x="0" y="7559992"/>
                </a:moveTo>
                <a:lnTo>
                  <a:pt x="10692003" y="7559992"/>
                </a:lnTo>
                <a:lnTo>
                  <a:pt x="10692003" y="0"/>
                </a:lnTo>
                <a:lnTo>
                  <a:pt x="0" y="0"/>
                </a:lnTo>
                <a:lnTo>
                  <a:pt x="0" y="7559992"/>
                </a:lnTo>
                <a:close/>
              </a:path>
            </a:pathLst>
          </a:custGeom>
          <a:solidFill>
            <a:srgbClr val="0A7380"/>
          </a:solidFill>
          <a:ln w="9525">
            <a:noFill/>
            <a:round/>
            <a:headEnd/>
            <a:tailEnd/>
          </a:ln>
        </p:spPr>
        <p:txBody>
          <a:bodyPr lIns="0" tIns="0" rIns="0" bIns="0"/>
          <a:lstStyle/>
          <a:p>
            <a:endParaRPr lang="fr-FR"/>
          </a:p>
        </p:txBody>
      </p:sp>
      <p:pic>
        <p:nvPicPr>
          <p:cNvPr id="3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17747" y="299279"/>
            <a:ext cx="674511" cy="6747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tangle 5"/>
          <p:cNvSpPr/>
          <p:nvPr userDrawn="1"/>
        </p:nvSpPr>
        <p:spPr>
          <a:xfrm>
            <a:off x="2458347" y="2"/>
            <a:ext cx="6685655" cy="5143500"/>
          </a:xfrm>
          <a:custGeom>
            <a:avLst/>
            <a:gdLst>
              <a:gd name="connsiteX0" fmla="*/ 0 w 7250400"/>
              <a:gd name="connsiteY0" fmla="*/ 0 h 6858000"/>
              <a:gd name="connsiteX1" fmla="*/ 7250400 w 7250400"/>
              <a:gd name="connsiteY1" fmla="*/ 0 h 6858000"/>
              <a:gd name="connsiteX2" fmla="*/ 7250400 w 7250400"/>
              <a:gd name="connsiteY2" fmla="*/ 6858000 h 6858000"/>
              <a:gd name="connsiteX3" fmla="*/ 0 w 7250400"/>
              <a:gd name="connsiteY3" fmla="*/ 6858000 h 6858000"/>
              <a:gd name="connsiteX4" fmla="*/ 0 w 7250400"/>
              <a:gd name="connsiteY4" fmla="*/ 0 h 6858000"/>
              <a:gd name="connsiteX0" fmla="*/ 5326743 w 7250400"/>
              <a:gd name="connsiteY0" fmla="*/ 29029 h 6858000"/>
              <a:gd name="connsiteX1" fmla="*/ 7250400 w 7250400"/>
              <a:gd name="connsiteY1" fmla="*/ 0 h 6858000"/>
              <a:gd name="connsiteX2" fmla="*/ 7250400 w 7250400"/>
              <a:gd name="connsiteY2" fmla="*/ 6858000 h 6858000"/>
              <a:gd name="connsiteX3" fmla="*/ 0 w 7250400"/>
              <a:gd name="connsiteY3" fmla="*/ 6858000 h 6858000"/>
              <a:gd name="connsiteX4" fmla="*/ 5326743 w 7250400"/>
              <a:gd name="connsiteY4" fmla="*/ 29029 h 6858000"/>
              <a:gd name="connsiteX0" fmla="*/ 5297715 w 7250400"/>
              <a:gd name="connsiteY0" fmla="*/ 14514 h 6858000"/>
              <a:gd name="connsiteX1" fmla="*/ 7250400 w 7250400"/>
              <a:gd name="connsiteY1" fmla="*/ 0 h 6858000"/>
              <a:gd name="connsiteX2" fmla="*/ 7250400 w 7250400"/>
              <a:gd name="connsiteY2" fmla="*/ 6858000 h 6858000"/>
              <a:gd name="connsiteX3" fmla="*/ 0 w 7250400"/>
              <a:gd name="connsiteY3" fmla="*/ 6858000 h 6858000"/>
              <a:gd name="connsiteX4" fmla="*/ 5297715 w 7250400"/>
              <a:gd name="connsiteY4" fmla="*/ 14514 h 6858000"/>
              <a:gd name="connsiteX0" fmla="*/ 5302478 w 7250400"/>
              <a:gd name="connsiteY0" fmla="*/ 2607 h 6858000"/>
              <a:gd name="connsiteX1" fmla="*/ 7250400 w 7250400"/>
              <a:gd name="connsiteY1" fmla="*/ 0 h 6858000"/>
              <a:gd name="connsiteX2" fmla="*/ 7250400 w 7250400"/>
              <a:gd name="connsiteY2" fmla="*/ 6858000 h 6858000"/>
              <a:gd name="connsiteX3" fmla="*/ 0 w 7250400"/>
              <a:gd name="connsiteY3" fmla="*/ 6858000 h 6858000"/>
              <a:gd name="connsiteX4" fmla="*/ 5302478 w 7250400"/>
              <a:gd name="connsiteY4" fmla="*/ 2607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250400" h="6858000">
                <a:moveTo>
                  <a:pt x="5302478" y="2607"/>
                </a:moveTo>
                <a:lnTo>
                  <a:pt x="7250400" y="0"/>
                </a:lnTo>
                <a:lnTo>
                  <a:pt x="7250400" y="6858000"/>
                </a:lnTo>
                <a:lnTo>
                  <a:pt x="0" y="6858000"/>
                </a:lnTo>
                <a:lnTo>
                  <a:pt x="5302478" y="2607"/>
                </a:lnTo>
                <a:close/>
              </a:path>
            </a:pathLst>
          </a:custGeom>
          <a:solidFill>
            <a:srgbClr val="00AEC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023" tIns="53513" rIns="107023" bIns="53513" anchor="ctr"/>
          <a:lstStyle/>
          <a:p>
            <a:pPr algn="ctr" eaLnBrk="1" hangingPunct="1">
              <a:defRPr/>
            </a:pPr>
            <a:endParaRPr lang="fr-FR">
              <a:latin typeface="+mj-lt"/>
            </a:endParaRPr>
          </a:p>
        </p:txBody>
      </p:sp>
      <p:sp>
        <p:nvSpPr>
          <p:cNvPr id="6" name="Espace réservé du contenu 8"/>
          <p:cNvSpPr>
            <a:spLocks noGrp="1"/>
          </p:cNvSpPr>
          <p:nvPr>
            <p:ph sz="quarter" idx="13" hasCustomPrompt="1"/>
          </p:nvPr>
        </p:nvSpPr>
        <p:spPr>
          <a:xfrm>
            <a:off x="6096000" y="4095750"/>
            <a:ext cx="2743200" cy="1133038"/>
          </a:xfrm>
          <a:prstGeom prst="rect">
            <a:avLst/>
          </a:prstGeom>
        </p:spPr>
        <p:txBody>
          <a:bodyPr lIns="107023" tIns="53513" rIns="107023" bIns="53513"/>
          <a:lstStyle>
            <a:lvl1pPr>
              <a:lnSpc>
                <a:spcPct val="100000"/>
              </a:lnSpc>
              <a:buClr>
                <a:srgbClr val="027180"/>
              </a:buClr>
              <a:buSzPct val="85000"/>
              <a:buFont typeface="fleche_rond" pitchFamily="2" charset="0"/>
              <a:buChar char=""/>
              <a:defRPr sz="1000" baseline="0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buClr>
                <a:srgbClr val="027180"/>
              </a:buClr>
              <a:buSzPct val="85000"/>
              <a:buFont typeface="fleche_rond" pitchFamily="2" charset="0"/>
              <a:buChar char=""/>
              <a:defRPr sz="1100">
                <a:solidFill>
                  <a:schemeClr val="bg1"/>
                </a:solidFill>
              </a:defRPr>
            </a:lvl2pPr>
            <a:lvl3pPr marL="945748" indent="-209960">
              <a:lnSpc>
                <a:spcPct val="100000"/>
              </a:lnSpc>
              <a:buFont typeface="Source Sans Pro" pitchFamily="34" charset="0"/>
              <a:buChar char="–"/>
              <a:defRPr sz="1050">
                <a:solidFill>
                  <a:schemeClr val="bg1"/>
                </a:solidFill>
              </a:defRPr>
            </a:lvl3pPr>
            <a:lvl4pPr marL="1049799" indent="-104051">
              <a:lnSpc>
                <a:spcPct val="100000"/>
              </a:lnSpc>
              <a:buFont typeface="Source Sans Pro" pitchFamily="34" charset="0"/>
              <a:buChar char="•"/>
              <a:defRPr sz="700">
                <a:solidFill>
                  <a:schemeClr val="bg1"/>
                </a:solidFill>
              </a:defRPr>
            </a:lvl4pPr>
            <a:lvl5pPr marL="1257900" indent="-104051">
              <a:lnSpc>
                <a:spcPct val="100000"/>
              </a:lnSpc>
              <a:buFont typeface="Source Sans Pro" pitchFamily="34" charset="0"/>
              <a:buChar char="&gt;"/>
              <a:defRPr sz="5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/>
              <a:t>Click to edit Master text styles never use more than 40 words. Use Source Sans Pro font in size of 10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1976437" y="1695452"/>
            <a:ext cx="5767388" cy="1752600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defRPr sz="5400">
                <a:solidFill>
                  <a:schemeClr val="bg1"/>
                </a:solidFill>
                <a:latin typeface="Source Sans Pro Black" pitchFamily="34" charset="0"/>
                <a:ea typeface="Source Sans Pro Black" pitchFamily="34" charset="0"/>
              </a:defRPr>
            </a:lvl1pPr>
          </a:lstStyle>
          <a:p>
            <a:r>
              <a:rPr lang="en-US"/>
              <a:t>    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2170207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k object 16"/>
          <p:cNvSpPr>
            <a:spLocks/>
          </p:cNvSpPr>
          <p:nvPr userDrawn="1"/>
        </p:nvSpPr>
        <p:spPr bwMode="auto">
          <a:xfrm>
            <a:off x="0" y="2"/>
            <a:ext cx="9144000" cy="5143500"/>
          </a:xfrm>
          <a:custGeom>
            <a:avLst/>
            <a:gdLst>
              <a:gd name="T0" fmla="*/ 0 w 10692130"/>
              <a:gd name="T1" fmla="*/ 28 h 7560309"/>
              <a:gd name="T2" fmla="*/ 7838 w 10692130"/>
              <a:gd name="T3" fmla="*/ 28 h 7560309"/>
              <a:gd name="T4" fmla="*/ 7838 w 10692130"/>
              <a:gd name="T5" fmla="*/ 0 h 7560309"/>
              <a:gd name="T6" fmla="*/ 0 w 10692130"/>
              <a:gd name="T7" fmla="*/ 0 h 7560309"/>
              <a:gd name="T8" fmla="*/ 0 w 10692130"/>
              <a:gd name="T9" fmla="*/ 28 h 7560309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0692130" h="7560309">
                <a:moveTo>
                  <a:pt x="0" y="7559992"/>
                </a:moveTo>
                <a:lnTo>
                  <a:pt x="10692003" y="7559992"/>
                </a:lnTo>
                <a:lnTo>
                  <a:pt x="10692003" y="0"/>
                </a:lnTo>
                <a:lnTo>
                  <a:pt x="0" y="0"/>
                </a:lnTo>
                <a:lnTo>
                  <a:pt x="0" y="7559992"/>
                </a:lnTo>
                <a:close/>
              </a:path>
            </a:pathLst>
          </a:custGeom>
          <a:solidFill>
            <a:srgbClr val="9FD9B4"/>
          </a:solidFill>
          <a:ln w="9525">
            <a:noFill/>
            <a:round/>
            <a:headEnd/>
            <a:tailEnd/>
          </a:ln>
        </p:spPr>
        <p:txBody>
          <a:bodyPr lIns="0" tIns="0" rIns="0" bIns="0"/>
          <a:lstStyle/>
          <a:p>
            <a:endParaRPr lang="fr-FR"/>
          </a:p>
        </p:txBody>
      </p:sp>
      <p:pic>
        <p:nvPicPr>
          <p:cNvPr id="3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17747" y="299279"/>
            <a:ext cx="674511" cy="6747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tangle 5"/>
          <p:cNvSpPr/>
          <p:nvPr userDrawn="1"/>
        </p:nvSpPr>
        <p:spPr>
          <a:xfrm>
            <a:off x="2458347" y="2"/>
            <a:ext cx="6685655" cy="5143500"/>
          </a:xfrm>
          <a:custGeom>
            <a:avLst/>
            <a:gdLst>
              <a:gd name="connsiteX0" fmla="*/ 0 w 7250400"/>
              <a:gd name="connsiteY0" fmla="*/ 0 h 6858000"/>
              <a:gd name="connsiteX1" fmla="*/ 7250400 w 7250400"/>
              <a:gd name="connsiteY1" fmla="*/ 0 h 6858000"/>
              <a:gd name="connsiteX2" fmla="*/ 7250400 w 7250400"/>
              <a:gd name="connsiteY2" fmla="*/ 6858000 h 6858000"/>
              <a:gd name="connsiteX3" fmla="*/ 0 w 7250400"/>
              <a:gd name="connsiteY3" fmla="*/ 6858000 h 6858000"/>
              <a:gd name="connsiteX4" fmla="*/ 0 w 7250400"/>
              <a:gd name="connsiteY4" fmla="*/ 0 h 6858000"/>
              <a:gd name="connsiteX0" fmla="*/ 5326743 w 7250400"/>
              <a:gd name="connsiteY0" fmla="*/ 29029 h 6858000"/>
              <a:gd name="connsiteX1" fmla="*/ 7250400 w 7250400"/>
              <a:gd name="connsiteY1" fmla="*/ 0 h 6858000"/>
              <a:gd name="connsiteX2" fmla="*/ 7250400 w 7250400"/>
              <a:gd name="connsiteY2" fmla="*/ 6858000 h 6858000"/>
              <a:gd name="connsiteX3" fmla="*/ 0 w 7250400"/>
              <a:gd name="connsiteY3" fmla="*/ 6858000 h 6858000"/>
              <a:gd name="connsiteX4" fmla="*/ 5326743 w 7250400"/>
              <a:gd name="connsiteY4" fmla="*/ 29029 h 6858000"/>
              <a:gd name="connsiteX0" fmla="*/ 5297715 w 7250400"/>
              <a:gd name="connsiteY0" fmla="*/ 14514 h 6858000"/>
              <a:gd name="connsiteX1" fmla="*/ 7250400 w 7250400"/>
              <a:gd name="connsiteY1" fmla="*/ 0 h 6858000"/>
              <a:gd name="connsiteX2" fmla="*/ 7250400 w 7250400"/>
              <a:gd name="connsiteY2" fmla="*/ 6858000 h 6858000"/>
              <a:gd name="connsiteX3" fmla="*/ 0 w 7250400"/>
              <a:gd name="connsiteY3" fmla="*/ 6858000 h 6858000"/>
              <a:gd name="connsiteX4" fmla="*/ 5297715 w 7250400"/>
              <a:gd name="connsiteY4" fmla="*/ 14514 h 6858000"/>
              <a:gd name="connsiteX0" fmla="*/ 5302478 w 7250400"/>
              <a:gd name="connsiteY0" fmla="*/ 2607 h 6858000"/>
              <a:gd name="connsiteX1" fmla="*/ 7250400 w 7250400"/>
              <a:gd name="connsiteY1" fmla="*/ 0 h 6858000"/>
              <a:gd name="connsiteX2" fmla="*/ 7250400 w 7250400"/>
              <a:gd name="connsiteY2" fmla="*/ 6858000 h 6858000"/>
              <a:gd name="connsiteX3" fmla="*/ 0 w 7250400"/>
              <a:gd name="connsiteY3" fmla="*/ 6858000 h 6858000"/>
              <a:gd name="connsiteX4" fmla="*/ 5302478 w 7250400"/>
              <a:gd name="connsiteY4" fmla="*/ 2607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250400" h="6858000">
                <a:moveTo>
                  <a:pt x="5302478" y="2607"/>
                </a:moveTo>
                <a:lnTo>
                  <a:pt x="7250400" y="0"/>
                </a:lnTo>
                <a:lnTo>
                  <a:pt x="7250400" y="6858000"/>
                </a:lnTo>
                <a:lnTo>
                  <a:pt x="0" y="6858000"/>
                </a:lnTo>
                <a:lnTo>
                  <a:pt x="5302478" y="2607"/>
                </a:lnTo>
                <a:close/>
              </a:path>
            </a:pathLst>
          </a:custGeom>
          <a:solidFill>
            <a:srgbClr val="00ADC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023" tIns="53513" rIns="107023" bIns="53513" anchor="ctr"/>
          <a:lstStyle/>
          <a:p>
            <a:pPr algn="ctr" eaLnBrk="1" hangingPunct="1">
              <a:defRPr/>
            </a:pPr>
            <a:endParaRPr lang="fr-FR">
              <a:latin typeface="+mj-lt"/>
            </a:endParaRPr>
          </a:p>
        </p:txBody>
      </p:sp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1976437" y="1695452"/>
            <a:ext cx="5767388" cy="1752600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defRPr sz="5400">
                <a:solidFill>
                  <a:srgbClr val="00008F"/>
                </a:solidFill>
                <a:latin typeface="Source Sans Pro Black" pitchFamily="34" charset="0"/>
                <a:ea typeface="Source Sans Pro Black" pitchFamily="34" charset="0"/>
              </a:defRPr>
            </a:lvl1pPr>
          </a:lstStyle>
          <a:p>
            <a:r>
              <a:rPr lang="en-US"/>
              <a:t>    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17877348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k object 16"/>
          <p:cNvSpPr>
            <a:spLocks/>
          </p:cNvSpPr>
          <p:nvPr userDrawn="1"/>
        </p:nvSpPr>
        <p:spPr bwMode="auto">
          <a:xfrm>
            <a:off x="0" y="2"/>
            <a:ext cx="9144000" cy="5143500"/>
          </a:xfrm>
          <a:custGeom>
            <a:avLst/>
            <a:gdLst>
              <a:gd name="T0" fmla="*/ 0 w 10692130"/>
              <a:gd name="T1" fmla="*/ 28 h 7560309"/>
              <a:gd name="T2" fmla="*/ 7838 w 10692130"/>
              <a:gd name="T3" fmla="*/ 28 h 7560309"/>
              <a:gd name="T4" fmla="*/ 7838 w 10692130"/>
              <a:gd name="T5" fmla="*/ 0 h 7560309"/>
              <a:gd name="T6" fmla="*/ 0 w 10692130"/>
              <a:gd name="T7" fmla="*/ 0 h 7560309"/>
              <a:gd name="T8" fmla="*/ 0 w 10692130"/>
              <a:gd name="T9" fmla="*/ 28 h 7560309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0692130" h="7560309">
                <a:moveTo>
                  <a:pt x="0" y="7559992"/>
                </a:moveTo>
                <a:lnTo>
                  <a:pt x="10692003" y="7559992"/>
                </a:lnTo>
                <a:lnTo>
                  <a:pt x="10692003" y="0"/>
                </a:lnTo>
                <a:lnTo>
                  <a:pt x="0" y="0"/>
                </a:lnTo>
                <a:lnTo>
                  <a:pt x="0" y="7559992"/>
                </a:lnTo>
                <a:close/>
              </a:path>
            </a:pathLst>
          </a:custGeom>
          <a:solidFill>
            <a:srgbClr val="9FD9B4"/>
          </a:solidFill>
          <a:ln w="9525">
            <a:noFill/>
            <a:round/>
            <a:headEnd/>
            <a:tailEnd/>
          </a:ln>
        </p:spPr>
        <p:txBody>
          <a:bodyPr lIns="0" tIns="0" rIns="0" bIns="0"/>
          <a:lstStyle/>
          <a:p>
            <a:endParaRPr lang="fr-FR"/>
          </a:p>
        </p:txBody>
      </p:sp>
      <p:pic>
        <p:nvPicPr>
          <p:cNvPr id="3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17747" y="299279"/>
            <a:ext cx="674511" cy="6747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tangle 5"/>
          <p:cNvSpPr/>
          <p:nvPr userDrawn="1"/>
        </p:nvSpPr>
        <p:spPr>
          <a:xfrm>
            <a:off x="2458347" y="2"/>
            <a:ext cx="6685655" cy="5143500"/>
          </a:xfrm>
          <a:custGeom>
            <a:avLst/>
            <a:gdLst>
              <a:gd name="connsiteX0" fmla="*/ 0 w 7250400"/>
              <a:gd name="connsiteY0" fmla="*/ 0 h 6858000"/>
              <a:gd name="connsiteX1" fmla="*/ 7250400 w 7250400"/>
              <a:gd name="connsiteY1" fmla="*/ 0 h 6858000"/>
              <a:gd name="connsiteX2" fmla="*/ 7250400 w 7250400"/>
              <a:gd name="connsiteY2" fmla="*/ 6858000 h 6858000"/>
              <a:gd name="connsiteX3" fmla="*/ 0 w 7250400"/>
              <a:gd name="connsiteY3" fmla="*/ 6858000 h 6858000"/>
              <a:gd name="connsiteX4" fmla="*/ 0 w 7250400"/>
              <a:gd name="connsiteY4" fmla="*/ 0 h 6858000"/>
              <a:gd name="connsiteX0" fmla="*/ 5326743 w 7250400"/>
              <a:gd name="connsiteY0" fmla="*/ 29029 h 6858000"/>
              <a:gd name="connsiteX1" fmla="*/ 7250400 w 7250400"/>
              <a:gd name="connsiteY1" fmla="*/ 0 h 6858000"/>
              <a:gd name="connsiteX2" fmla="*/ 7250400 w 7250400"/>
              <a:gd name="connsiteY2" fmla="*/ 6858000 h 6858000"/>
              <a:gd name="connsiteX3" fmla="*/ 0 w 7250400"/>
              <a:gd name="connsiteY3" fmla="*/ 6858000 h 6858000"/>
              <a:gd name="connsiteX4" fmla="*/ 5326743 w 7250400"/>
              <a:gd name="connsiteY4" fmla="*/ 29029 h 6858000"/>
              <a:gd name="connsiteX0" fmla="*/ 5297715 w 7250400"/>
              <a:gd name="connsiteY0" fmla="*/ 14514 h 6858000"/>
              <a:gd name="connsiteX1" fmla="*/ 7250400 w 7250400"/>
              <a:gd name="connsiteY1" fmla="*/ 0 h 6858000"/>
              <a:gd name="connsiteX2" fmla="*/ 7250400 w 7250400"/>
              <a:gd name="connsiteY2" fmla="*/ 6858000 h 6858000"/>
              <a:gd name="connsiteX3" fmla="*/ 0 w 7250400"/>
              <a:gd name="connsiteY3" fmla="*/ 6858000 h 6858000"/>
              <a:gd name="connsiteX4" fmla="*/ 5297715 w 7250400"/>
              <a:gd name="connsiteY4" fmla="*/ 14514 h 6858000"/>
              <a:gd name="connsiteX0" fmla="*/ 5302478 w 7250400"/>
              <a:gd name="connsiteY0" fmla="*/ 2607 h 6858000"/>
              <a:gd name="connsiteX1" fmla="*/ 7250400 w 7250400"/>
              <a:gd name="connsiteY1" fmla="*/ 0 h 6858000"/>
              <a:gd name="connsiteX2" fmla="*/ 7250400 w 7250400"/>
              <a:gd name="connsiteY2" fmla="*/ 6858000 h 6858000"/>
              <a:gd name="connsiteX3" fmla="*/ 0 w 7250400"/>
              <a:gd name="connsiteY3" fmla="*/ 6858000 h 6858000"/>
              <a:gd name="connsiteX4" fmla="*/ 5302478 w 7250400"/>
              <a:gd name="connsiteY4" fmla="*/ 2607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250400" h="6858000">
                <a:moveTo>
                  <a:pt x="5302478" y="2607"/>
                </a:moveTo>
                <a:lnTo>
                  <a:pt x="7250400" y="0"/>
                </a:lnTo>
                <a:lnTo>
                  <a:pt x="7250400" y="6858000"/>
                </a:lnTo>
                <a:lnTo>
                  <a:pt x="0" y="6858000"/>
                </a:lnTo>
                <a:lnTo>
                  <a:pt x="5302478" y="2607"/>
                </a:lnTo>
                <a:close/>
              </a:path>
            </a:pathLst>
          </a:custGeom>
          <a:solidFill>
            <a:srgbClr val="00ADC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023" tIns="53513" rIns="107023" bIns="53513" anchor="ctr"/>
          <a:lstStyle/>
          <a:p>
            <a:pPr algn="ctr" eaLnBrk="1" hangingPunct="1">
              <a:defRPr/>
            </a:pPr>
            <a:endParaRPr lang="fr-FR">
              <a:latin typeface="+mj-lt"/>
            </a:endParaRPr>
          </a:p>
        </p:txBody>
      </p:sp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1976437" y="1695452"/>
            <a:ext cx="5767388" cy="1752600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defRPr sz="5400">
                <a:solidFill>
                  <a:srgbClr val="00008F"/>
                </a:solidFill>
                <a:latin typeface="Source Sans Pro Black" pitchFamily="34" charset="0"/>
                <a:ea typeface="Source Sans Pro Black" pitchFamily="34" charset="0"/>
              </a:defRPr>
            </a:lvl1pPr>
          </a:lstStyle>
          <a:p>
            <a:r>
              <a:rPr lang="en-US"/>
              <a:t>    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1787734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k object 16"/>
          <p:cNvSpPr>
            <a:spLocks/>
          </p:cNvSpPr>
          <p:nvPr userDrawn="1"/>
        </p:nvSpPr>
        <p:spPr bwMode="auto">
          <a:xfrm>
            <a:off x="0" y="2"/>
            <a:ext cx="9144000" cy="5143500"/>
          </a:xfrm>
          <a:custGeom>
            <a:avLst/>
            <a:gdLst>
              <a:gd name="T0" fmla="*/ 0 w 10692130"/>
              <a:gd name="T1" fmla="*/ 28 h 7560309"/>
              <a:gd name="T2" fmla="*/ 7838 w 10692130"/>
              <a:gd name="T3" fmla="*/ 28 h 7560309"/>
              <a:gd name="T4" fmla="*/ 7838 w 10692130"/>
              <a:gd name="T5" fmla="*/ 0 h 7560309"/>
              <a:gd name="T6" fmla="*/ 0 w 10692130"/>
              <a:gd name="T7" fmla="*/ 0 h 7560309"/>
              <a:gd name="T8" fmla="*/ 0 w 10692130"/>
              <a:gd name="T9" fmla="*/ 28 h 7560309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0692130" h="7560309">
                <a:moveTo>
                  <a:pt x="0" y="7559992"/>
                </a:moveTo>
                <a:lnTo>
                  <a:pt x="10692003" y="7559992"/>
                </a:lnTo>
                <a:lnTo>
                  <a:pt x="10692003" y="0"/>
                </a:lnTo>
                <a:lnTo>
                  <a:pt x="0" y="0"/>
                </a:lnTo>
                <a:lnTo>
                  <a:pt x="0" y="7559992"/>
                </a:lnTo>
                <a:close/>
              </a:path>
            </a:pathLst>
          </a:custGeom>
          <a:solidFill>
            <a:srgbClr val="0A7380"/>
          </a:solidFill>
          <a:ln w="9525">
            <a:noFill/>
            <a:round/>
            <a:headEnd/>
            <a:tailEnd/>
          </a:ln>
        </p:spPr>
        <p:txBody>
          <a:bodyPr lIns="0" tIns="0" rIns="0" bIns="0"/>
          <a:lstStyle/>
          <a:p>
            <a:endParaRPr lang="fr-FR"/>
          </a:p>
        </p:txBody>
      </p:sp>
      <p:pic>
        <p:nvPicPr>
          <p:cNvPr id="3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17747" y="299279"/>
            <a:ext cx="674511" cy="6747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tangle 5"/>
          <p:cNvSpPr/>
          <p:nvPr userDrawn="1"/>
        </p:nvSpPr>
        <p:spPr>
          <a:xfrm>
            <a:off x="2458347" y="2"/>
            <a:ext cx="6685655" cy="5143500"/>
          </a:xfrm>
          <a:custGeom>
            <a:avLst/>
            <a:gdLst>
              <a:gd name="connsiteX0" fmla="*/ 0 w 7250400"/>
              <a:gd name="connsiteY0" fmla="*/ 0 h 6858000"/>
              <a:gd name="connsiteX1" fmla="*/ 7250400 w 7250400"/>
              <a:gd name="connsiteY1" fmla="*/ 0 h 6858000"/>
              <a:gd name="connsiteX2" fmla="*/ 7250400 w 7250400"/>
              <a:gd name="connsiteY2" fmla="*/ 6858000 h 6858000"/>
              <a:gd name="connsiteX3" fmla="*/ 0 w 7250400"/>
              <a:gd name="connsiteY3" fmla="*/ 6858000 h 6858000"/>
              <a:gd name="connsiteX4" fmla="*/ 0 w 7250400"/>
              <a:gd name="connsiteY4" fmla="*/ 0 h 6858000"/>
              <a:gd name="connsiteX0" fmla="*/ 5326743 w 7250400"/>
              <a:gd name="connsiteY0" fmla="*/ 29029 h 6858000"/>
              <a:gd name="connsiteX1" fmla="*/ 7250400 w 7250400"/>
              <a:gd name="connsiteY1" fmla="*/ 0 h 6858000"/>
              <a:gd name="connsiteX2" fmla="*/ 7250400 w 7250400"/>
              <a:gd name="connsiteY2" fmla="*/ 6858000 h 6858000"/>
              <a:gd name="connsiteX3" fmla="*/ 0 w 7250400"/>
              <a:gd name="connsiteY3" fmla="*/ 6858000 h 6858000"/>
              <a:gd name="connsiteX4" fmla="*/ 5326743 w 7250400"/>
              <a:gd name="connsiteY4" fmla="*/ 29029 h 6858000"/>
              <a:gd name="connsiteX0" fmla="*/ 5297715 w 7250400"/>
              <a:gd name="connsiteY0" fmla="*/ 14514 h 6858000"/>
              <a:gd name="connsiteX1" fmla="*/ 7250400 w 7250400"/>
              <a:gd name="connsiteY1" fmla="*/ 0 h 6858000"/>
              <a:gd name="connsiteX2" fmla="*/ 7250400 w 7250400"/>
              <a:gd name="connsiteY2" fmla="*/ 6858000 h 6858000"/>
              <a:gd name="connsiteX3" fmla="*/ 0 w 7250400"/>
              <a:gd name="connsiteY3" fmla="*/ 6858000 h 6858000"/>
              <a:gd name="connsiteX4" fmla="*/ 5297715 w 7250400"/>
              <a:gd name="connsiteY4" fmla="*/ 14514 h 6858000"/>
              <a:gd name="connsiteX0" fmla="*/ 5302478 w 7250400"/>
              <a:gd name="connsiteY0" fmla="*/ 2607 h 6858000"/>
              <a:gd name="connsiteX1" fmla="*/ 7250400 w 7250400"/>
              <a:gd name="connsiteY1" fmla="*/ 0 h 6858000"/>
              <a:gd name="connsiteX2" fmla="*/ 7250400 w 7250400"/>
              <a:gd name="connsiteY2" fmla="*/ 6858000 h 6858000"/>
              <a:gd name="connsiteX3" fmla="*/ 0 w 7250400"/>
              <a:gd name="connsiteY3" fmla="*/ 6858000 h 6858000"/>
              <a:gd name="connsiteX4" fmla="*/ 5302478 w 7250400"/>
              <a:gd name="connsiteY4" fmla="*/ 2607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250400" h="6858000">
                <a:moveTo>
                  <a:pt x="5302478" y="2607"/>
                </a:moveTo>
                <a:lnTo>
                  <a:pt x="7250400" y="0"/>
                </a:lnTo>
                <a:lnTo>
                  <a:pt x="7250400" y="6858000"/>
                </a:lnTo>
                <a:lnTo>
                  <a:pt x="0" y="6858000"/>
                </a:lnTo>
                <a:lnTo>
                  <a:pt x="5302478" y="2607"/>
                </a:lnTo>
                <a:close/>
              </a:path>
            </a:pathLst>
          </a:custGeom>
          <a:solidFill>
            <a:srgbClr val="BC9D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023" tIns="53513" rIns="107023" bIns="53513" anchor="ctr"/>
          <a:lstStyle/>
          <a:p>
            <a:pPr algn="ctr" eaLnBrk="1" hangingPunct="1">
              <a:defRPr/>
            </a:pPr>
            <a:endParaRPr lang="fr-FR">
              <a:latin typeface="+mj-lt"/>
            </a:endParaRPr>
          </a:p>
        </p:txBody>
      </p:sp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1976437" y="1695452"/>
            <a:ext cx="5767388" cy="1752600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defRPr sz="5400">
                <a:solidFill>
                  <a:schemeClr val="bg1"/>
                </a:solidFill>
                <a:latin typeface="Source Sans Pro Black" pitchFamily="34" charset="0"/>
                <a:ea typeface="Source Sans Pro Black" pitchFamily="34" charset="0"/>
              </a:defRPr>
            </a:lvl1pPr>
          </a:lstStyle>
          <a:p>
            <a:r>
              <a:rPr lang="en-US"/>
              <a:t>    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88163847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k object 16"/>
          <p:cNvSpPr>
            <a:spLocks/>
          </p:cNvSpPr>
          <p:nvPr userDrawn="1"/>
        </p:nvSpPr>
        <p:spPr bwMode="auto">
          <a:xfrm>
            <a:off x="0" y="2"/>
            <a:ext cx="9144000" cy="5143500"/>
          </a:xfrm>
          <a:custGeom>
            <a:avLst/>
            <a:gdLst>
              <a:gd name="T0" fmla="*/ 0 w 10692130"/>
              <a:gd name="T1" fmla="*/ 28 h 7560309"/>
              <a:gd name="T2" fmla="*/ 7838 w 10692130"/>
              <a:gd name="T3" fmla="*/ 28 h 7560309"/>
              <a:gd name="T4" fmla="*/ 7838 w 10692130"/>
              <a:gd name="T5" fmla="*/ 0 h 7560309"/>
              <a:gd name="T6" fmla="*/ 0 w 10692130"/>
              <a:gd name="T7" fmla="*/ 0 h 7560309"/>
              <a:gd name="T8" fmla="*/ 0 w 10692130"/>
              <a:gd name="T9" fmla="*/ 28 h 7560309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0692130" h="7560309">
                <a:moveTo>
                  <a:pt x="0" y="7559992"/>
                </a:moveTo>
                <a:lnTo>
                  <a:pt x="10692003" y="7559992"/>
                </a:lnTo>
                <a:lnTo>
                  <a:pt x="10692003" y="0"/>
                </a:lnTo>
                <a:lnTo>
                  <a:pt x="0" y="0"/>
                </a:lnTo>
                <a:lnTo>
                  <a:pt x="0" y="7559992"/>
                </a:lnTo>
                <a:close/>
              </a:path>
            </a:pathLst>
          </a:custGeom>
          <a:solidFill>
            <a:srgbClr val="0A7380"/>
          </a:solidFill>
          <a:ln w="9525">
            <a:noFill/>
            <a:round/>
            <a:headEnd/>
            <a:tailEnd/>
          </a:ln>
        </p:spPr>
        <p:txBody>
          <a:bodyPr lIns="0" tIns="0" rIns="0" bIns="0"/>
          <a:lstStyle/>
          <a:p>
            <a:endParaRPr lang="fr-FR"/>
          </a:p>
        </p:txBody>
      </p:sp>
      <p:pic>
        <p:nvPicPr>
          <p:cNvPr id="3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17747" y="299279"/>
            <a:ext cx="674511" cy="6747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tangle 5"/>
          <p:cNvSpPr/>
          <p:nvPr userDrawn="1"/>
        </p:nvSpPr>
        <p:spPr>
          <a:xfrm>
            <a:off x="2458347" y="2"/>
            <a:ext cx="6685655" cy="5143500"/>
          </a:xfrm>
          <a:custGeom>
            <a:avLst/>
            <a:gdLst>
              <a:gd name="connsiteX0" fmla="*/ 0 w 7250400"/>
              <a:gd name="connsiteY0" fmla="*/ 0 h 6858000"/>
              <a:gd name="connsiteX1" fmla="*/ 7250400 w 7250400"/>
              <a:gd name="connsiteY1" fmla="*/ 0 h 6858000"/>
              <a:gd name="connsiteX2" fmla="*/ 7250400 w 7250400"/>
              <a:gd name="connsiteY2" fmla="*/ 6858000 h 6858000"/>
              <a:gd name="connsiteX3" fmla="*/ 0 w 7250400"/>
              <a:gd name="connsiteY3" fmla="*/ 6858000 h 6858000"/>
              <a:gd name="connsiteX4" fmla="*/ 0 w 7250400"/>
              <a:gd name="connsiteY4" fmla="*/ 0 h 6858000"/>
              <a:gd name="connsiteX0" fmla="*/ 5326743 w 7250400"/>
              <a:gd name="connsiteY0" fmla="*/ 29029 h 6858000"/>
              <a:gd name="connsiteX1" fmla="*/ 7250400 w 7250400"/>
              <a:gd name="connsiteY1" fmla="*/ 0 h 6858000"/>
              <a:gd name="connsiteX2" fmla="*/ 7250400 w 7250400"/>
              <a:gd name="connsiteY2" fmla="*/ 6858000 h 6858000"/>
              <a:gd name="connsiteX3" fmla="*/ 0 w 7250400"/>
              <a:gd name="connsiteY3" fmla="*/ 6858000 h 6858000"/>
              <a:gd name="connsiteX4" fmla="*/ 5326743 w 7250400"/>
              <a:gd name="connsiteY4" fmla="*/ 29029 h 6858000"/>
              <a:gd name="connsiteX0" fmla="*/ 5297715 w 7250400"/>
              <a:gd name="connsiteY0" fmla="*/ 14514 h 6858000"/>
              <a:gd name="connsiteX1" fmla="*/ 7250400 w 7250400"/>
              <a:gd name="connsiteY1" fmla="*/ 0 h 6858000"/>
              <a:gd name="connsiteX2" fmla="*/ 7250400 w 7250400"/>
              <a:gd name="connsiteY2" fmla="*/ 6858000 h 6858000"/>
              <a:gd name="connsiteX3" fmla="*/ 0 w 7250400"/>
              <a:gd name="connsiteY3" fmla="*/ 6858000 h 6858000"/>
              <a:gd name="connsiteX4" fmla="*/ 5297715 w 7250400"/>
              <a:gd name="connsiteY4" fmla="*/ 14514 h 6858000"/>
              <a:gd name="connsiteX0" fmla="*/ 5302478 w 7250400"/>
              <a:gd name="connsiteY0" fmla="*/ 2607 h 6858000"/>
              <a:gd name="connsiteX1" fmla="*/ 7250400 w 7250400"/>
              <a:gd name="connsiteY1" fmla="*/ 0 h 6858000"/>
              <a:gd name="connsiteX2" fmla="*/ 7250400 w 7250400"/>
              <a:gd name="connsiteY2" fmla="*/ 6858000 h 6858000"/>
              <a:gd name="connsiteX3" fmla="*/ 0 w 7250400"/>
              <a:gd name="connsiteY3" fmla="*/ 6858000 h 6858000"/>
              <a:gd name="connsiteX4" fmla="*/ 5302478 w 7250400"/>
              <a:gd name="connsiteY4" fmla="*/ 2607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250400" h="6858000">
                <a:moveTo>
                  <a:pt x="5302478" y="2607"/>
                </a:moveTo>
                <a:lnTo>
                  <a:pt x="7250400" y="0"/>
                </a:lnTo>
                <a:lnTo>
                  <a:pt x="7250400" y="6858000"/>
                </a:lnTo>
                <a:lnTo>
                  <a:pt x="0" y="6858000"/>
                </a:lnTo>
                <a:lnTo>
                  <a:pt x="5302478" y="2607"/>
                </a:lnTo>
                <a:close/>
              </a:path>
            </a:pathLst>
          </a:custGeom>
          <a:solidFill>
            <a:srgbClr val="BC9D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023" tIns="53513" rIns="107023" bIns="53513" anchor="ctr"/>
          <a:lstStyle/>
          <a:p>
            <a:pPr algn="ctr" eaLnBrk="1" hangingPunct="1">
              <a:defRPr/>
            </a:pPr>
            <a:endParaRPr lang="fr-FR">
              <a:latin typeface="+mj-lt"/>
            </a:endParaRPr>
          </a:p>
        </p:txBody>
      </p:sp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1976437" y="1695452"/>
            <a:ext cx="5767388" cy="1752600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defRPr sz="5400">
                <a:solidFill>
                  <a:schemeClr val="bg1"/>
                </a:solidFill>
                <a:latin typeface="Source Sans Pro Black" pitchFamily="34" charset="0"/>
                <a:ea typeface="Source Sans Pro Black" pitchFamily="34" charset="0"/>
              </a:defRPr>
            </a:lvl1pPr>
          </a:lstStyle>
          <a:p>
            <a:r>
              <a:rPr lang="en-US"/>
              <a:t>    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8816384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k object 16"/>
          <p:cNvSpPr>
            <a:spLocks/>
          </p:cNvSpPr>
          <p:nvPr userDrawn="1"/>
        </p:nvSpPr>
        <p:spPr bwMode="auto">
          <a:xfrm>
            <a:off x="0" y="2"/>
            <a:ext cx="9144000" cy="5143500"/>
          </a:xfrm>
          <a:custGeom>
            <a:avLst/>
            <a:gdLst>
              <a:gd name="T0" fmla="*/ 0 w 10692130"/>
              <a:gd name="T1" fmla="*/ 28 h 7560309"/>
              <a:gd name="T2" fmla="*/ 7838 w 10692130"/>
              <a:gd name="T3" fmla="*/ 28 h 7560309"/>
              <a:gd name="T4" fmla="*/ 7838 w 10692130"/>
              <a:gd name="T5" fmla="*/ 0 h 7560309"/>
              <a:gd name="T6" fmla="*/ 0 w 10692130"/>
              <a:gd name="T7" fmla="*/ 0 h 7560309"/>
              <a:gd name="T8" fmla="*/ 0 w 10692130"/>
              <a:gd name="T9" fmla="*/ 28 h 7560309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0692130" h="7560309">
                <a:moveTo>
                  <a:pt x="0" y="7559992"/>
                </a:moveTo>
                <a:lnTo>
                  <a:pt x="10692003" y="7559992"/>
                </a:lnTo>
                <a:lnTo>
                  <a:pt x="10692003" y="0"/>
                </a:lnTo>
                <a:lnTo>
                  <a:pt x="0" y="0"/>
                </a:lnTo>
                <a:lnTo>
                  <a:pt x="0" y="7559992"/>
                </a:lnTo>
                <a:close/>
              </a:path>
            </a:pathLst>
          </a:custGeom>
          <a:solidFill>
            <a:srgbClr val="914146"/>
          </a:solidFill>
          <a:ln w="9525">
            <a:noFill/>
            <a:round/>
            <a:headEnd/>
            <a:tailEnd/>
          </a:ln>
        </p:spPr>
        <p:txBody>
          <a:bodyPr lIns="0" tIns="0" rIns="0" bIns="0"/>
          <a:lstStyle/>
          <a:p>
            <a:endParaRPr lang="fr-FR"/>
          </a:p>
        </p:txBody>
      </p:sp>
      <p:pic>
        <p:nvPicPr>
          <p:cNvPr id="3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17747" y="299279"/>
            <a:ext cx="674511" cy="6747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tangle 5"/>
          <p:cNvSpPr/>
          <p:nvPr userDrawn="1"/>
        </p:nvSpPr>
        <p:spPr>
          <a:xfrm>
            <a:off x="2458347" y="2"/>
            <a:ext cx="6685655" cy="5143500"/>
          </a:xfrm>
          <a:custGeom>
            <a:avLst/>
            <a:gdLst>
              <a:gd name="connsiteX0" fmla="*/ 0 w 7250400"/>
              <a:gd name="connsiteY0" fmla="*/ 0 h 6858000"/>
              <a:gd name="connsiteX1" fmla="*/ 7250400 w 7250400"/>
              <a:gd name="connsiteY1" fmla="*/ 0 h 6858000"/>
              <a:gd name="connsiteX2" fmla="*/ 7250400 w 7250400"/>
              <a:gd name="connsiteY2" fmla="*/ 6858000 h 6858000"/>
              <a:gd name="connsiteX3" fmla="*/ 0 w 7250400"/>
              <a:gd name="connsiteY3" fmla="*/ 6858000 h 6858000"/>
              <a:gd name="connsiteX4" fmla="*/ 0 w 7250400"/>
              <a:gd name="connsiteY4" fmla="*/ 0 h 6858000"/>
              <a:gd name="connsiteX0" fmla="*/ 5326743 w 7250400"/>
              <a:gd name="connsiteY0" fmla="*/ 29029 h 6858000"/>
              <a:gd name="connsiteX1" fmla="*/ 7250400 w 7250400"/>
              <a:gd name="connsiteY1" fmla="*/ 0 h 6858000"/>
              <a:gd name="connsiteX2" fmla="*/ 7250400 w 7250400"/>
              <a:gd name="connsiteY2" fmla="*/ 6858000 h 6858000"/>
              <a:gd name="connsiteX3" fmla="*/ 0 w 7250400"/>
              <a:gd name="connsiteY3" fmla="*/ 6858000 h 6858000"/>
              <a:gd name="connsiteX4" fmla="*/ 5326743 w 7250400"/>
              <a:gd name="connsiteY4" fmla="*/ 29029 h 6858000"/>
              <a:gd name="connsiteX0" fmla="*/ 5297715 w 7250400"/>
              <a:gd name="connsiteY0" fmla="*/ 14514 h 6858000"/>
              <a:gd name="connsiteX1" fmla="*/ 7250400 w 7250400"/>
              <a:gd name="connsiteY1" fmla="*/ 0 h 6858000"/>
              <a:gd name="connsiteX2" fmla="*/ 7250400 w 7250400"/>
              <a:gd name="connsiteY2" fmla="*/ 6858000 h 6858000"/>
              <a:gd name="connsiteX3" fmla="*/ 0 w 7250400"/>
              <a:gd name="connsiteY3" fmla="*/ 6858000 h 6858000"/>
              <a:gd name="connsiteX4" fmla="*/ 5297715 w 7250400"/>
              <a:gd name="connsiteY4" fmla="*/ 14514 h 6858000"/>
              <a:gd name="connsiteX0" fmla="*/ 5302478 w 7250400"/>
              <a:gd name="connsiteY0" fmla="*/ 2607 h 6858000"/>
              <a:gd name="connsiteX1" fmla="*/ 7250400 w 7250400"/>
              <a:gd name="connsiteY1" fmla="*/ 0 h 6858000"/>
              <a:gd name="connsiteX2" fmla="*/ 7250400 w 7250400"/>
              <a:gd name="connsiteY2" fmla="*/ 6858000 h 6858000"/>
              <a:gd name="connsiteX3" fmla="*/ 0 w 7250400"/>
              <a:gd name="connsiteY3" fmla="*/ 6858000 h 6858000"/>
              <a:gd name="connsiteX4" fmla="*/ 5302478 w 7250400"/>
              <a:gd name="connsiteY4" fmla="*/ 2607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250400" h="6858000">
                <a:moveTo>
                  <a:pt x="5302478" y="2607"/>
                </a:moveTo>
                <a:lnTo>
                  <a:pt x="7250400" y="0"/>
                </a:lnTo>
                <a:lnTo>
                  <a:pt x="7250400" y="6858000"/>
                </a:lnTo>
                <a:lnTo>
                  <a:pt x="0" y="6858000"/>
                </a:lnTo>
                <a:lnTo>
                  <a:pt x="5302478" y="2607"/>
                </a:lnTo>
                <a:close/>
              </a:path>
            </a:pathLst>
          </a:custGeom>
          <a:solidFill>
            <a:srgbClr val="9FD9B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023" tIns="53513" rIns="107023" bIns="53513" anchor="ctr"/>
          <a:lstStyle/>
          <a:p>
            <a:pPr algn="ctr" eaLnBrk="1" hangingPunct="1">
              <a:defRPr/>
            </a:pPr>
            <a:endParaRPr lang="fr-FR">
              <a:latin typeface="+mj-lt"/>
            </a:endParaRPr>
          </a:p>
        </p:txBody>
      </p:sp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1976437" y="1695452"/>
            <a:ext cx="5767388" cy="1752600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defRPr sz="5400">
                <a:solidFill>
                  <a:schemeClr val="bg1"/>
                </a:solidFill>
                <a:latin typeface="Source Sans Pro Black" pitchFamily="34" charset="0"/>
                <a:ea typeface="Source Sans Pro Black" pitchFamily="34" charset="0"/>
              </a:defRPr>
            </a:lvl1pPr>
          </a:lstStyle>
          <a:p>
            <a:r>
              <a:rPr lang="en-US"/>
              <a:t>    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04260375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k object 16"/>
          <p:cNvSpPr>
            <a:spLocks/>
          </p:cNvSpPr>
          <p:nvPr userDrawn="1"/>
        </p:nvSpPr>
        <p:spPr bwMode="auto">
          <a:xfrm>
            <a:off x="0" y="2"/>
            <a:ext cx="9144000" cy="5143500"/>
          </a:xfrm>
          <a:custGeom>
            <a:avLst/>
            <a:gdLst>
              <a:gd name="T0" fmla="*/ 0 w 10692130"/>
              <a:gd name="T1" fmla="*/ 28 h 7560309"/>
              <a:gd name="T2" fmla="*/ 7838 w 10692130"/>
              <a:gd name="T3" fmla="*/ 28 h 7560309"/>
              <a:gd name="T4" fmla="*/ 7838 w 10692130"/>
              <a:gd name="T5" fmla="*/ 0 h 7560309"/>
              <a:gd name="T6" fmla="*/ 0 w 10692130"/>
              <a:gd name="T7" fmla="*/ 0 h 7560309"/>
              <a:gd name="T8" fmla="*/ 0 w 10692130"/>
              <a:gd name="T9" fmla="*/ 28 h 7560309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0692130" h="7560309">
                <a:moveTo>
                  <a:pt x="0" y="7559992"/>
                </a:moveTo>
                <a:lnTo>
                  <a:pt x="10692003" y="7559992"/>
                </a:lnTo>
                <a:lnTo>
                  <a:pt x="10692003" y="0"/>
                </a:lnTo>
                <a:lnTo>
                  <a:pt x="0" y="0"/>
                </a:lnTo>
                <a:lnTo>
                  <a:pt x="0" y="7559992"/>
                </a:lnTo>
                <a:close/>
              </a:path>
            </a:pathLst>
          </a:custGeom>
          <a:solidFill>
            <a:srgbClr val="914146"/>
          </a:solidFill>
          <a:ln w="9525">
            <a:noFill/>
            <a:round/>
            <a:headEnd/>
            <a:tailEnd/>
          </a:ln>
        </p:spPr>
        <p:txBody>
          <a:bodyPr lIns="0" tIns="0" rIns="0" bIns="0"/>
          <a:lstStyle/>
          <a:p>
            <a:endParaRPr lang="fr-FR"/>
          </a:p>
        </p:txBody>
      </p:sp>
      <p:pic>
        <p:nvPicPr>
          <p:cNvPr id="3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17747" y="299279"/>
            <a:ext cx="674511" cy="6747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tangle 5"/>
          <p:cNvSpPr/>
          <p:nvPr userDrawn="1"/>
        </p:nvSpPr>
        <p:spPr>
          <a:xfrm>
            <a:off x="2458347" y="2"/>
            <a:ext cx="6685655" cy="5143500"/>
          </a:xfrm>
          <a:custGeom>
            <a:avLst/>
            <a:gdLst>
              <a:gd name="connsiteX0" fmla="*/ 0 w 7250400"/>
              <a:gd name="connsiteY0" fmla="*/ 0 h 6858000"/>
              <a:gd name="connsiteX1" fmla="*/ 7250400 w 7250400"/>
              <a:gd name="connsiteY1" fmla="*/ 0 h 6858000"/>
              <a:gd name="connsiteX2" fmla="*/ 7250400 w 7250400"/>
              <a:gd name="connsiteY2" fmla="*/ 6858000 h 6858000"/>
              <a:gd name="connsiteX3" fmla="*/ 0 w 7250400"/>
              <a:gd name="connsiteY3" fmla="*/ 6858000 h 6858000"/>
              <a:gd name="connsiteX4" fmla="*/ 0 w 7250400"/>
              <a:gd name="connsiteY4" fmla="*/ 0 h 6858000"/>
              <a:gd name="connsiteX0" fmla="*/ 5326743 w 7250400"/>
              <a:gd name="connsiteY0" fmla="*/ 29029 h 6858000"/>
              <a:gd name="connsiteX1" fmla="*/ 7250400 w 7250400"/>
              <a:gd name="connsiteY1" fmla="*/ 0 h 6858000"/>
              <a:gd name="connsiteX2" fmla="*/ 7250400 w 7250400"/>
              <a:gd name="connsiteY2" fmla="*/ 6858000 h 6858000"/>
              <a:gd name="connsiteX3" fmla="*/ 0 w 7250400"/>
              <a:gd name="connsiteY3" fmla="*/ 6858000 h 6858000"/>
              <a:gd name="connsiteX4" fmla="*/ 5326743 w 7250400"/>
              <a:gd name="connsiteY4" fmla="*/ 29029 h 6858000"/>
              <a:gd name="connsiteX0" fmla="*/ 5297715 w 7250400"/>
              <a:gd name="connsiteY0" fmla="*/ 14514 h 6858000"/>
              <a:gd name="connsiteX1" fmla="*/ 7250400 w 7250400"/>
              <a:gd name="connsiteY1" fmla="*/ 0 h 6858000"/>
              <a:gd name="connsiteX2" fmla="*/ 7250400 w 7250400"/>
              <a:gd name="connsiteY2" fmla="*/ 6858000 h 6858000"/>
              <a:gd name="connsiteX3" fmla="*/ 0 w 7250400"/>
              <a:gd name="connsiteY3" fmla="*/ 6858000 h 6858000"/>
              <a:gd name="connsiteX4" fmla="*/ 5297715 w 7250400"/>
              <a:gd name="connsiteY4" fmla="*/ 14514 h 6858000"/>
              <a:gd name="connsiteX0" fmla="*/ 5302478 w 7250400"/>
              <a:gd name="connsiteY0" fmla="*/ 2607 h 6858000"/>
              <a:gd name="connsiteX1" fmla="*/ 7250400 w 7250400"/>
              <a:gd name="connsiteY1" fmla="*/ 0 h 6858000"/>
              <a:gd name="connsiteX2" fmla="*/ 7250400 w 7250400"/>
              <a:gd name="connsiteY2" fmla="*/ 6858000 h 6858000"/>
              <a:gd name="connsiteX3" fmla="*/ 0 w 7250400"/>
              <a:gd name="connsiteY3" fmla="*/ 6858000 h 6858000"/>
              <a:gd name="connsiteX4" fmla="*/ 5302478 w 7250400"/>
              <a:gd name="connsiteY4" fmla="*/ 2607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250400" h="6858000">
                <a:moveTo>
                  <a:pt x="5302478" y="2607"/>
                </a:moveTo>
                <a:lnTo>
                  <a:pt x="7250400" y="0"/>
                </a:lnTo>
                <a:lnTo>
                  <a:pt x="7250400" y="6858000"/>
                </a:lnTo>
                <a:lnTo>
                  <a:pt x="0" y="6858000"/>
                </a:lnTo>
                <a:lnTo>
                  <a:pt x="5302478" y="2607"/>
                </a:lnTo>
                <a:close/>
              </a:path>
            </a:pathLst>
          </a:custGeom>
          <a:solidFill>
            <a:srgbClr val="9FD9B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023" tIns="53513" rIns="107023" bIns="53513" anchor="ctr"/>
          <a:lstStyle/>
          <a:p>
            <a:pPr algn="ctr" eaLnBrk="1" hangingPunct="1">
              <a:defRPr/>
            </a:pPr>
            <a:endParaRPr lang="fr-FR">
              <a:latin typeface="+mj-lt"/>
            </a:endParaRPr>
          </a:p>
        </p:txBody>
      </p:sp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1976437" y="1695452"/>
            <a:ext cx="5767388" cy="1752600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defRPr sz="5400">
                <a:solidFill>
                  <a:schemeClr val="bg1"/>
                </a:solidFill>
                <a:latin typeface="Source Sans Pro Black" pitchFamily="34" charset="0"/>
                <a:ea typeface="Source Sans Pro Black" pitchFamily="34" charset="0"/>
              </a:defRPr>
            </a:lvl1pPr>
          </a:lstStyle>
          <a:p>
            <a:r>
              <a:rPr lang="en-US"/>
              <a:t>    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0426037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Logo AXA" descr="\\Mac\AllFiles\Volumes\DOSSIERS EN COURS\17_1098 AXA_Creation_gabarits\elements\png\new_logo_axa_rgb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727773" y="4727113"/>
            <a:ext cx="209971" cy="2100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Sommaire"/>
          <p:cNvSpPr>
            <a:spLocks noGrp="1"/>
          </p:cNvSpPr>
          <p:nvPr>
            <p:ph type="title" hasCustomPrompt="1"/>
          </p:nvPr>
        </p:nvSpPr>
        <p:spPr>
          <a:xfrm>
            <a:off x="273896" y="321585"/>
            <a:ext cx="8596209" cy="337232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000" b="1" i="0">
                <a:solidFill>
                  <a:srgbClr val="00008F"/>
                </a:solidFill>
                <a:latin typeface="+mj-lt"/>
              </a:defRPr>
            </a:lvl1pPr>
          </a:lstStyle>
          <a:p>
            <a:r>
              <a:rPr lang="en-GB" noProof="0"/>
              <a:t>Click to edit Master title style</a:t>
            </a:r>
          </a:p>
        </p:txBody>
      </p:sp>
      <p:sp>
        <p:nvSpPr>
          <p:cNvPr id="14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273895" y="674463"/>
            <a:ext cx="8596106" cy="252924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buNone/>
              <a:defRPr sz="1800">
                <a:solidFill>
                  <a:srgbClr val="027180"/>
                </a:solidFill>
                <a:latin typeface="+mj-lt"/>
              </a:defRPr>
            </a:lvl1pPr>
          </a:lstStyle>
          <a:p>
            <a:pPr lvl="0"/>
            <a:r>
              <a:rPr lang="en-GB" noProof="0"/>
              <a:t>Click to edit Master text styles</a:t>
            </a:r>
          </a:p>
        </p:txBody>
      </p:sp>
      <p:sp>
        <p:nvSpPr>
          <p:cNvPr id="15" name="Espace réservé du numéro de diapositive 4"/>
          <p:cNvSpPr>
            <a:spLocks noGrp="1"/>
          </p:cNvSpPr>
          <p:nvPr>
            <p:ph type="sldNum" sz="quarter" idx="14"/>
          </p:nvPr>
        </p:nvSpPr>
        <p:spPr>
          <a:xfrm>
            <a:off x="273150" y="4805184"/>
            <a:ext cx="252710" cy="169157"/>
          </a:xfrm>
        </p:spPr>
        <p:txBody>
          <a:bodyPr anchor="ctr"/>
          <a:lstStyle>
            <a:lvl1pPr>
              <a:defRPr/>
            </a:lvl1pPr>
          </a:lstStyle>
          <a:p>
            <a:fld id="{438FEFB8-6B6E-4DC1-A5E4-A1258711B442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5"/>
          </p:nvPr>
        </p:nvSpPr>
        <p:spPr>
          <a:xfrm>
            <a:off x="457107" y="4755701"/>
            <a:ext cx="2133166" cy="273254"/>
          </a:xfrm>
        </p:spPr>
        <p:txBody>
          <a:bodyPr/>
          <a:lstStyle/>
          <a:p>
            <a:fld id="{24021889-362E-4411-BFE4-5498A183F2C1}" type="datetime1">
              <a:rPr lang="fr-FR" smtClean="0"/>
              <a:t>20/03/2023</a:t>
            </a:fld>
            <a:endParaRPr lang="fr-FR"/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6"/>
          </p:nvPr>
        </p:nvSpPr>
        <p:spPr>
          <a:xfrm>
            <a:off x="3123566" y="4755701"/>
            <a:ext cx="2896869" cy="273254"/>
          </a:xfrm>
        </p:spPr>
        <p:txBody>
          <a:bodyPr/>
          <a:lstStyle>
            <a:lvl1pPr>
              <a:defRPr sz="900">
                <a:solidFill>
                  <a:srgbClr val="FF0000"/>
                </a:solidFill>
                <a:latin typeface="+mn-lt"/>
              </a:defRPr>
            </a:lvl1pPr>
          </a:lstStyle>
          <a:p>
            <a:r>
              <a:rPr lang="fr-FR"/>
              <a:t>CONFIDENTIALITY LEVEL</a:t>
            </a: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k object 16"/>
          <p:cNvSpPr>
            <a:spLocks/>
          </p:cNvSpPr>
          <p:nvPr userDrawn="1"/>
        </p:nvSpPr>
        <p:spPr bwMode="auto">
          <a:xfrm>
            <a:off x="0" y="2"/>
            <a:ext cx="9144000" cy="5143500"/>
          </a:xfrm>
          <a:custGeom>
            <a:avLst/>
            <a:gdLst>
              <a:gd name="T0" fmla="*/ 0 w 10692130"/>
              <a:gd name="T1" fmla="*/ 28 h 7560309"/>
              <a:gd name="T2" fmla="*/ 7838 w 10692130"/>
              <a:gd name="T3" fmla="*/ 28 h 7560309"/>
              <a:gd name="T4" fmla="*/ 7838 w 10692130"/>
              <a:gd name="T5" fmla="*/ 0 h 7560309"/>
              <a:gd name="T6" fmla="*/ 0 w 10692130"/>
              <a:gd name="T7" fmla="*/ 0 h 7560309"/>
              <a:gd name="T8" fmla="*/ 0 w 10692130"/>
              <a:gd name="T9" fmla="*/ 28 h 7560309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0692130" h="7560309">
                <a:moveTo>
                  <a:pt x="0" y="7559992"/>
                </a:moveTo>
                <a:lnTo>
                  <a:pt x="10692003" y="7559992"/>
                </a:lnTo>
                <a:lnTo>
                  <a:pt x="10692003" y="0"/>
                </a:lnTo>
                <a:lnTo>
                  <a:pt x="0" y="0"/>
                </a:lnTo>
                <a:lnTo>
                  <a:pt x="0" y="7559992"/>
                </a:lnTo>
                <a:close/>
              </a:path>
            </a:pathLst>
          </a:custGeom>
          <a:solidFill>
            <a:srgbClr val="00ADC6"/>
          </a:solidFill>
          <a:ln w="9525">
            <a:noFill/>
            <a:round/>
            <a:headEnd/>
            <a:tailEnd/>
          </a:ln>
        </p:spPr>
        <p:txBody>
          <a:bodyPr lIns="0" tIns="0" rIns="0" bIns="0"/>
          <a:lstStyle/>
          <a:p>
            <a:endParaRPr lang="fr-FR"/>
          </a:p>
        </p:txBody>
      </p:sp>
      <p:pic>
        <p:nvPicPr>
          <p:cNvPr id="3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17747" y="299279"/>
            <a:ext cx="674511" cy="6747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tangle 5"/>
          <p:cNvSpPr/>
          <p:nvPr userDrawn="1"/>
        </p:nvSpPr>
        <p:spPr>
          <a:xfrm>
            <a:off x="2458347" y="2"/>
            <a:ext cx="6685655" cy="5143500"/>
          </a:xfrm>
          <a:custGeom>
            <a:avLst/>
            <a:gdLst>
              <a:gd name="connsiteX0" fmla="*/ 0 w 7250400"/>
              <a:gd name="connsiteY0" fmla="*/ 0 h 6858000"/>
              <a:gd name="connsiteX1" fmla="*/ 7250400 w 7250400"/>
              <a:gd name="connsiteY1" fmla="*/ 0 h 6858000"/>
              <a:gd name="connsiteX2" fmla="*/ 7250400 w 7250400"/>
              <a:gd name="connsiteY2" fmla="*/ 6858000 h 6858000"/>
              <a:gd name="connsiteX3" fmla="*/ 0 w 7250400"/>
              <a:gd name="connsiteY3" fmla="*/ 6858000 h 6858000"/>
              <a:gd name="connsiteX4" fmla="*/ 0 w 7250400"/>
              <a:gd name="connsiteY4" fmla="*/ 0 h 6858000"/>
              <a:gd name="connsiteX0" fmla="*/ 5326743 w 7250400"/>
              <a:gd name="connsiteY0" fmla="*/ 29029 h 6858000"/>
              <a:gd name="connsiteX1" fmla="*/ 7250400 w 7250400"/>
              <a:gd name="connsiteY1" fmla="*/ 0 h 6858000"/>
              <a:gd name="connsiteX2" fmla="*/ 7250400 w 7250400"/>
              <a:gd name="connsiteY2" fmla="*/ 6858000 h 6858000"/>
              <a:gd name="connsiteX3" fmla="*/ 0 w 7250400"/>
              <a:gd name="connsiteY3" fmla="*/ 6858000 h 6858000"/>
              <a:gd name="connsiteX4" fmla="*/ 5326743 w 7250400"/>
              <a:gd name="connsiteY4" fmla="*/ 29029 h 6858000"/>
              <a:gd name="connsiteX0" fmla="*/ 5297715 w 7250400"/>
              <a:gd name="connsiteY0" fmla="*/ 14514 h 6858000"/>
              <a:gd name="connsiteX1" fmla="*/ 7250400 w 7250400"/>
              <a:gd name="connsiteY1" fmla="*/ 0 h 6858000"/>
              <a:gd name="connsiteX2" fmla="*/ 7250400 w 7250400"/>
              <a:gd name="connsiteY2" fmla="*/ 6858000 h 6858000"/>
              <a:gd name="connsiteX3" fmla="*/ 0 w 7250400"/>
              <a:gd name="connsiteY3" fmla="*/ 6858000 h 6858000"/>
              <a:gd name="connsiteX4" fmla="*/ 5297715 w 7250400"/>
              <a:gd name="connsiteY4" fmla="*/ 14514 h 6858000"/>
              <a:gd name="connsiteX0" fmla="*/ 5302478 w 7250400"/>
              <a:gd name="connsiteY0" fmla="*/ 2607 h 6858000"/>
              <a:gd name="connsiteX1" fmla="*/ 7250400 w 7250400"/>
              <a:gd name="connsiteY1" fmla="*/ 0 h 6858000"/>
              <a:gd name="connsiteX2" fmla="*/ 7250400 w 7250400"/>
              <a:gd name="connsiteY2" fmla="*/ 6858000 h 6858000"/>
              <a:gd name="connsiteX3" fmla="*/ 0 w 7250400"/>
              <a:gd name="connsiteY3" fmla="*/ 6858000 h 6858000"/>
              <a:gd name="connsiteX4" fmla="*/ 5302478 w 7250400"/>
              <a:gd name="connsiteY4" fmla="*/ 2607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250400" h="6858000">
                <a:moveTo>
                  <a:pt x="5302478" y="2607"/>
                </a:moveTo>
                <a:lnTo>
                  <a:pt x="7250400" y="0"/>
                </a:lnTo>
                <a:lnTo>
                  <a:pt x="7250400" y="6858000"/>
                </a:lnTo>
                <a:lnTo>
                  <a:pt x="0" y="6858000"/>
                </a:lnTo>
                <a:lnTo>
                  <a:pt x="5302478" y="2607"/>
                </a:lnTo>
                <a:close/>
              </a:path>
            </a:pathLst>
          </a:custGeom>
          <a:solidFill>
            <a:srgbClr val="9FD9B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023" tIns="53513" rIns="107023" bIns="53513" anchor="ctr"/>
          <a:lstStyle/>
          <a:p>
            <a:pPr algn="ctr" eaLnBrk="1" hangingPunct="1">
              <a:defRPr/>
            </a:pPr>
            <a:endParaRPr lang="fr-FR">
              <a:latin typeface="+mj-lt"/>
            </a:endParaRPr>
          </a:p>
        </p:txBody>
      </p:sp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1976437" y="1695452"/>
            <a:ext cx="5767388" cy="1752600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defRPr sz="5400">
                <a:solidFill>
                  <a:schemeClr val="bg1"/>
                </a:solidFill>
                <a:latin typeface="Source Sans Pro Black" pitchFamily="34" charset="0"/>
                <a:ea typeface="Source Sans Pro Black" pitchFamily="34" charset="0"/>
              </a:defRPr>
            </a:lvl1pPr>
          </a:lstStyle>
          <a:p>
            <a:r>
              <a:rPr lang="en-US"/>
              <a:t>    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912943845"/>
      </p:ext>
    </p:extLst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k object 16"/>
          <p:cNvSpPr>
            <a:spLocks/>
          </p:cNvSpPr>
          <p:nvPr userDrawn="1"/>
        </p:nvSpPr>
        <p:spPr bwMode="auto">
          <a:xfrm>
            <a:off x="0" y="2"/>
            <a:ext cx="9144000" cy="5143500"/>
          </a:xfrm>
          <a:custGeom>
            <a:avLst/>
            <a:gdLst>
              <a:gd name="T0" fmla="*/ 0 w 10692130"/>
              <a:gd name="T1" fmla="*/ 28 h 7560309"/>
              <a:gd name="T2" fmla="*/ 7838 w 10692130"/>
              <a:gd name="T3" fmla="*/ 28 h 7560309"/>
              <a:gd name="T4" fmla="*/ 7838 w 10692130"/>
              <a:gd name="T5" fmla="*/ 0 h 7560309"/>
              <a:gd name="T6" fmla="*/ 0 w 10692130"/>
              <a:gd name="T7" fmla="*/ 0 h 7560309"/>
              <a:gd name="T8" fmla="*/ 0 w 10692130"/>
              <a:gd name="T9" fmla="*/ 28 h 7560309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0692130" h="7560309">
                <a:moveTo>
                  <a:pt x="0" y="7559992"/>
                </a:moveTo>
                <a:lnTo>
                  <a:pt x="10692003" y="7559992"/>
                </a:lnTo>
                <a:lnTo>
                  <a:pt x="10692003" y="0"/>
                </a:lnTo>
                <a:lnTo>
                  <a:pt x="0" y="0"/>
                </a:lnTo>
                <a:lnTo>
                  <a:pt x="0" y="7559992"/>
                </a:lnTo>
                <a:close/>
              </a:path>
            </a:pathLst>
          </a:custGeom>
          <a:solidFill>
            <a:srgbClr val="00ADC6"/>
          </a:solidFill>
          <a:ln w="9525">
            <a:noFill/>
            <a:round/>
            <a:headEnd/>
            <a:tailEnd/>
          </a:ln>
        </p:spPr>
        <p:txBody>
          <a:bodyPr lIns="0" tIns="0" rIns="0" bIns="0"/>
          <a:lstStyle/>
          <a:p>
            <a:endParaRPr lang="fr-FR"/>
          </a:p>
        </p:txBody>
      </p:sp>
      <p:pic>
        <p:nvPicPr>
          <p:cNvPr id="3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17747" y="299279"/>
            <a:ext cx="674511" cy="6747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tangle 5"/>
          <p:cNvSpPr/>
          <p:nvPr userDrawn="1"/>
        </p:nvSpPr>
        <p:spPr>
          <a:xfrm>
            <a:off x="2458347" y="2"/>
            <a:ext cx="6685655" cy="5143500"/>
          </a:xfrm>
          <a:custGeom>
            <a:avLst/>
            <a:gdLst>
              <a:gd name="connsiteX0" fmla="*/ 0 w 7250400"/>
              <a:gd name="connsiteY0" fmla="*/ 0 h 6858000"/>
              <a:gd name="connsiteX1" fmla="*/ 7250400 w 7250400"/>
              <a:gd name="connsiteY1" fmla="*/ 0 h 6858000"/>
              <a:gd name="connsiteX2" fmla="*/ 7250400 w 7250400"/>
              <a:gd name="connsiteY2" fmla="*/ 6858000 h 6858000"/>
              <a:gd name="connsiteX3" fmla="*/ 0 w 7250400"/>
              <a:gd name="connsiteY3" fmla="*/ 6858000 h 6858000"/>
              <a:gd name="connsiteX4" fmla="*/ 0 w 7250400"/>
              <a:gd name="connsiteY4" fmla="*/ 0 h 6858000"/>
              <a:gd name="connsiteX0" fmla="*/ 5326743 w 7250400"/>
              <a:gd name="connsiteY0" fmla="*/ 29029 h 6858000"/>
              <a:gd name="connsiteX1" fmla="*/ 7250400 w 7250400"/>
              <a:gd name="connsiteY1" fmla="*/ 0 h 6858000"/>
              <a:gd name="connsiteX2" fmla="*/ 7250400 w 7250400"/>
              <a:gd name="connsiteY2" fmla="*/ 6858000 h 6858000"/>
              <a:gd name="connsiteX3" fmla="*/ 0 w 7250400"/>
              <a:gd name="connsiteY3" fmla="*/ 6858000 h 6858000"/>
              <a:gd name="connsiteX4" fmla="*/ 5326743 w 7250400"/>
              <a:gd name="connsiteY4" fmla="*/ 29029 h 6858000"/>
              <a:gd name="connsiteX0" fmla="*/ 5297715 w 7250400"/>
              <a:gd name="connsiteY0" fmla="*/ 14514 h 6858000"/>
              <a:gd name="connsiteX1" fmla="*/ 7250400 w 7250400"/>
              <a:gd name="connsiteY1" fmla="*/ 0 h 6858000"/>
              <a:gd name="connsiteX2" fmla="*/ 7250400 w 7250400"/>
              <a:gd name="connsiteY2" fmla="*/ 6858000 h 6858000"/>
              <a:gd name="connsiteX3" fmla="*/ 0 w 7250400"/>
              <a:gd name="connsiteY3" fmla="*/ 6858000 h 6858000"/>
              <a:gd name="connsiteX4" fmla="*/ 5297715 w 7250400"/>
              <a:gd name="connsiteY4" fmla="*/ 14514 h 6858000"/>
              <a:gd name="connsiteX0" fmla="*/ 5302478 w 7250400"/>
              <a:gd name="connsiteY0" fmla="*/ 2607 h 6858000"/>
              <a:gd name="connsiteX1" fmla="*/ 7250400 w 7250400"/>
              <a:gd name="connsiteY1" fmla="*/ 0 h 6858000"/>
              <a:gd name="connsiteX2" fmla="*/ 7250400 w 7250400"/>
              <a:gd name="connsiteY2" fmla="*/ 6858000 h 6858000"/>
              <a:gd name="connsiteX3" fmla="*/ 0 w 7250400"/>
              <a:gd name="connsiteY3" fmla="*/ 6858000 h 6858000"/>
              <a:gd name="connsiteX4" fmla="*/ 5302478 w 7250400"/>
              <a:gd name="connsiteY4" fmla="*/ 2607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250400" h="6858000">
                <a:moveTo>
                  <a:pt x="5302478" y="2607"/>
                </a:moveTo>
                <a:lnTo>
                  <a:pt x="7250400" y="0"/>
                </a:lnTo>
                <a:lnTo>
                  <a:pt x="7250400" y="6858000"/>
                </a:lnTo>
                <a:lnTo>
                  <a:pt x="0" y="6858000"/>
                </a:lnTo>
                <a:lnTo>
                  <a:pt x="5302478" y="2607"/>
                </a:lnTo>
                <a:close/>
              </a:path>
            </a:pathLst>
          </a:custGeom>
          <a:solidFill>
            <a:srgbClr val="9FD9B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023" tIns="53513" rIns="107023" bIns="53513" anchor="ctr"/>
          <a:lstStyle/>
          <a:p>
            <a:pPr algn="ctr" eaLnBrk="1" hangingPunct="1">
              <a:defRPr/>
            </a:pPr>
            <a:endParaRPr lang="fr-FR">
              <a:latin typeface="+mj-lt"/>
            </a:endParaRPr>
          </a:p>
        </p:txBody>
      </p:sp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1976437" y="1695452"/>
            <a:ext cx="5767388" cy="1752600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defRPr sz="5400">
                <a:solidFill>
                  <a:schemeClr val="bg1"/>
                </a:solidFill>
                <a:latin typeface="Source Sans Pro Black" pitchFamily="34" charset="0"/>
                <a:ea typeface="Source Sans Pro Black" pitchFamily="34" charset="0"/>
              </a:defRPr>
            </a:lvl1pPr>
          </a:lstStyle>
          <a:p>
            <a:r>
              <a:rPr lang="en-US"/>
              <a:t>    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91294384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k object 16"/>
          <p:cNvSpPr>
            <a:spLocks/>
          </p:cNvSpPr>
          <p:nvPr userDrawn="1"/>
        </p:nvSpPr>
        <p:spPr bwMode="auto">
          <a:xfrm>
            <a:off x="0" y="2"/>
            <a:ext cx="9144000" cy="5143500"/>
          </a:xfrm>
          <a:custGeom>
            <a:avLst/>
            <a:gdLst>
              <a:gd name="T0" fmla="*/ 0 w 10692130"/>
              <a:gd name="T1" fmla="*/ 28 h 7560309"/>
              <a:gd name="T2" fmla="*/ 7838 w 10692130"/>
              <a:gd name="T3" fmla="*/ 28 h 7560309"/>
              <a:gd name="T4" fmla="*/ 7838 w 10692130"/>
              <a:gd name="T5" fmla="*/ 0 h 7560309"/>
              <a:gd name="T6" fmla="*/ 0 w 10692130"/>
              <a:gd name="T7" fmla="*/ 0 h 7560309"/>
              <a:gd name="T8" fmla="*/ 0 w 10692130"/>
              <a:gd name="T9" fmla="*/ 28 h 7560309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0692130" h="7560309">
                <a:moveTo>
                  <a:pt x="0" y="7559992"/>
                </a:moveTo>
                <a:lnTo>
                  <a:pt x="10692003" y="7559992"/>
                </a:lnTo>
                <a:lnTo>
                  <a:pt x="10692003" y="0"/>
                </a:lnTo>
                <a:lnTo>
                  <a:pt x="0" y="0"/>
                </a:lnTo>
                <a:lnTo>
                  <a:pt x="0" y="7559992"/>
                </a:lnTo>
                <a:close/>
              </a:path>
            </a:pathLst>
          </a:custGeom>
          <a:solidFill>
            <a:srgbClr val="B5D0EE"/>
          </a:solidFill>
          <a:ln w="9525">
            <a:noFill/>
            <a:round/>
            <a:headEnd/>
            <a:tailEnd/>
          </a:ln>
        </p:spPr>
        <p:txBody>
          <a:bodyPr lIns="0" tIns="0" rIns="0" bIns="0"/>
          <a:lstStyle/>
          <a:p>
            <a:endParaRPr lang="fr-FR"/>
          </a:p>
        </p:txBody>
      </p:sp>
      <p:pic>
        <p:nvPicPr>
          <p:cNvPr id="3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17747" y="299279"/>
            <a:ext cx="674511" cy="6747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tangle 5"/>
          <p:cNvSpPr/>
          <p:nvPr userDrawn="1"/>
        </p:nvSpPr>
        <p:spPr>
          <a:xfrm>
            <a:off x="2458347" y="2"/>
            <a:ext cx="6685655" cy="5143500"/>
          </a:xfrm>
          <a:custGeom>
            <a:avLst/>
            <a:gdLst>
              <a:gd name="connsiteX0" fmla="*/ 0 w 7250400"/>
              <a:gd name="connsiteY0" fmla="*/ 0 h 6858000"/>
              <a:gd name="connsiteX1" fmla="*/ 7250400 w 7250400"/>
              <a:gd name="connsiteY1" fmla="*/ 0 h 6858000"/>
              <a:gd name="connsiteX2" fmla="*/ 7250400 w 7250400"/>
              <a:gd name="connsiteY2" fmla="*/ 6858000 h 6858000"/>
              <a:gd name="connsiteX3" fmla="*/ 0 w 7250400"/>
              <a:gd name="connsiteY3" fmla="*/ 6858000 h 6858000"/>
              <a:gd name="connsiteX4" fmla="*/ 0 w 7250400"/>
              <a:gd name="connsiteY4" fmla="*/ 0 h 6858000"/>
              <a:gd name="connsiteX0" fmla="*/ 5326743 w 7250400"/>
              <a:gd name="connsiteY0" fmla="*/ 29029 h 6858000"/>
              <a:gd name="connsiteX1" fmla="*/ 7250400 w 7250400"/>
              <a:gd name="connsiteY1" fmla="*/ 0 h 6858000"/>
              <a:gd name="connsiteX2" fmla="*/ 7250400 w 7250400"/>
              <a:gd name="connsiteY2" fmla="*/ 6858000 h 6858000"/>
              <a:gd name="connsiteX3" fmla="*/ 0 w 7250400"/>
              <a:gd name="connsiteY3" fmla="*/ 6858000 h 6858000"/>
              <a:gd name="connsiteX4" fmla="*/ 5326743 w 7250400"/>
              <a:gd name="connsiteY4" fmla="*/ 29029 h 6858000"/>
              <a:gd name="connsiteX0" fmla="*/ 5297715 w 7250400"/>
              <a:gd name="connsiteY0" fmla="*/ 14514 h 6858000"/>
              <a:gd name="connsiteX1" fmla="*/ 7250400 w 7250400"/>
              <a:gd name="connsiteY1" fmla="*/ 0 h 6858000"/>
              <a:gd name="connsiteX2" fmla="*/ 7250400 w 7250400"/>
              <a:gd name="connsiteY2" fmla="*/ 6858000 h 6858000"/>
              <a:gd name="connsiteX3" fmla="*/ 0 w 7250400"/>
              <a:gd name="connsiteY3" fmla="*/ 6858000 h 6858000"/>
              <a:gd name="connsiteX4" fmla="*/ 5297715 w 7250400"/>
              <a:gd name="connsiteY4" fmla="*/ 14514 h 6858000"/>
              <a:gd name="connsiteX0" fmla="*/ 5302478 w 7250400"/>
              <a:gd name="connsiteY0" fmla="*/ 2607 h 6858000"/>
              <a:gd name="connsiteX1" fmla="*/ 7250400 w 7250400"/>
              <a:gd name="connsiteY1" fmla="*/ 0 h 6858000"/>
              <a:gd name="connsiteX2" fmla="*/ 7250400 w 7250400"/>
              <a:gd name="connsiteY2" fmla="*/ 6858000 h 6858000"/>
              <a:gd name="connsiteX3" fmla="*/ 0 w 7250400"/>
              <a:gd name="connsiteY3" fmla="*/ 6858000 h 6858000"/>
              <a:gd name="connsiteX4" fmla="*/ 5302478 w 7250400"/>
              <a:gd name="connsiteY4" fmla="*/ 2607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250400" h="6858000">
                <a:moveTo>
                  <a:pt x="5302478" y="2607"/>
                </a:moveTo>
                <a:lnTo>
                  <a:pt x="7250400" y="0"/>
                </a:lnTo>
                <a:lnTo>
                  <a:pt x="7250400" y="6858000"/>
                </a:lnTo>
                <a:lnTo>
                  <a:pt x="0" y="6858000"/>
                </a:lnTo>
                <a:lnTo>
                  <a:pt x="5302478" y="2607"/>
                </a:lnTo>
                <a:close/>
              </a:path>
            </a:pathLst>
          </a:custGeom>
          <a:solidFill>
            <a:srgbClr val="E196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023" tIns="53513" rIns="107023" bIns="53513" anchor="ctr"/>
          <a:lstStyle/>
          <a:p>
            <a:pPr algn="ctr" eaLnBrk="1" hangingPunct="1">
              <a:defRPr/>
            </a:pPr>
            <a:endParaRPr lang="fr-FR">
              <a:latin typeface="+mj-lt"/>
            </a:endParaRPr>
          </a:p>
        </p:txBody>
      </p:sp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1976437" y="1695452"/>
            <a:ext cx="5767388" cy="1752600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defRPr sz="5400">
                <a:solidFill>
                  <a:srgbClr val="00008F"/>
                </a:solidFill>
                <a:latin typeface="Source Sans Pro Black" pitchFamily="34" charset="0"/>
                <a:ea typeface="Source Sans Pro Black" pitchFamily="34" charset="0"/>
              </a:defRPr>
            </a:lvl1pPr>
          </a:lstStyle>
          <a:p>
            <a:r>
              <a:rPr lang="en-US"/>
              <a:t>    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71593331"/>
      </p:ext>
    </p:extLst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k object 16"/>
          <p:cNvSpPr>
            <a:spLocks/>
          </p:cNvSpPr>
          <p:nvPr userDrawn="1"/>
        </p:nvSpPr>
        <p:spPr bwMode="auto">
          <a:xfrm>
            <a:off x="0" y="2"/>
            <a:ext cx="9144000" cy="5143500"/>
          </a:xfrm>
          <a:custGeom>
            <a:avLst/>
            <a:gdLst>
              <a:gd name="T0" fmla="*/ 0 w 10692130"/>
              <a:gd name="T1" fmla="*/ 28 h 7560309"/>
              <a:gd name="T2" fmla="*/ 7838 w 10692130"/>
              <a:gd name="T3" fmla="*/ 28 h 7560309"/>
              <a:gd name="T4" fmla="*/ 7838 w 10692130"/>
              <a:gd name="T5" fmla="*/ 0 h 7560309"/>
              <a:gd name="T6" fmla="*/ 0 w 10692130"/>
              <a:gd name="T7" fmla="*/ 0 h 7560309"/>
              <a:gd name="T8" fmla="*/ 0 w 10692130"/>
              <a:gd name="T9" fmla="*/ 28 h 7560309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0692130" h="7560309">
                <a:moveTo>
                  <a:pt x="0" y="7559992"/>
                </a:moveTo>
                <a:lnTo>
                  <a:pt x="10692003" y="7559992"/>
                </a:lnTo>
                <a:lnTo>
                  <a:pt x="10692003" y="0"/>
                </a:lnTo>
                <a:lnTo>
                  <a:pt x="0" y="0"/>
                </a:lnTo>
                <a:lnTo>
                  <a:pt x="0" y="7559992"/>
                </a:lnTo>
                <a:close/>
              </a:path>
            </a:pathLst>
          </a:custGeom>
          <a:solidFill>
            <a:srgbClr val="B5D0EE"/>
          </a:solidFill>
          <a:ln w="9525">
            <a:noFill/>
            <a:round/>
            <a:headEnd/>
            <a:tailEnd/>
          </a:ln>
        </p:spPr>
        <p:txBody>
          <a:bodyPr lIns="0" tIns="0" rIns="0" bIns="0"/>
          <a:lstStyle/>
          <a:p>
            <a:endParaRPr lang="fr-FR"/>
          </a:p>
        </p:txBody>
      </p:sp>
      <p:pic>
        <p:nvPicPr>
          <p:cNvPr id="3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17747" y="299279"/>
            <a:ext cx="674511" cy="6747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tangle 5"/>
          <p:cNvSpPr/>
          <p:nvPr userDrawn="1"/>
        </p:nvSpPr>
        <p:spPr>
          <a:xfrm>
            <a:off x="2458347" y="2"/>
            <a:ext cx="6685655" cy="5143500"/>
          </a:xfrm>
          <a:custGeom>
            <a:avLst/>
            <a:gdLst>
              <a:gd name="connsiteX0" fmla="*/ 0 w 7250400"/>
              <a:gd name="connsiteY0" fmla="*/ 0 h 6858000"/>
              <a:gd name="connsiteX1" fmla="*/ 7250400 w 7250400"/>
              <a:gd name="connsiteY1" fmla="*/ 0 h 6858000"/>
              <a:gd name="connsiteX2" fmla="*/ 7250400 w 7250400"/>
              <a:gd name="connsiteY2" fmla="*/ 6858000 h 6858000"/>
              <a:gd name="connsiteX3" fmla="*/ 0 w 7250400"/>
              <a:gd name="connsiteY3" fmla="*/ 6858000 h 6858000"/>
              <a:gd name="connsiteX4" fmla="*/ 0 w 7250400"/>
              <a:gd name="connsiteY4" fmla="*/ 0 h 6858000"/>
              <a:gd name="connsiteX0" fmla="*/ 5326743 w 7250400"/>
              <a:gd name="connsiteY0" fmla="*/ 29029 h 6858000"/>
              <a:gd name="connsiteX1" fmla="*/ 7250400 w 7250400"/>
              <a:gd name="connsiteY1" fmla="*/ 0 h 6858000"/>
              <a:gd name="connsiteX2" fmla="*/ 7250400 w 7250400"/>
              <a:gd name="connsiteY2" fmla="*/ 6858000 h 6858000"/>
              <a:gd name="connsiteX3" fmla="*/ 0 w 7250400"/>
              <a:gd name="connsiteY3" fmla="*/ 6858000 h 6858000"/>
              <a:gd name="connsiteX4" fmla="*/ 5326743 w 7250400"/>
              <a:gd name="connsiteY4" fmla="*/ 29029 h 6858000"/>
              <a:gd name="connsiteX0" fmla="*/ 5297715 w 7250400"/>
              <a:gd name="connsiteY0" fmla="*/ 14514 h 6858000"/>
              <a:gd name="connsiteX1" fmla="*/ 7250400 w 7250400"/>
              <a:gd name="connsiteY1" fmla="*/ 0 h 6858000"/>
              <a:gd name="connsiteX2" fmla="*/ 7250400 w 7250400"/>
              <a:gd name="connsiteY2" fmla="*/ 6858000 h 6858000"/>
              <a:gd name="connsiteX3" fmla="*/ 0 w 7250400"/>
              <a:gd name="connsiteY3" fmla="*/ 6858000 h 6858000"/>
              <a:gd name="connsiteX4" fmla="*/ 5297715 w 7250400"/>
              <a:gd name="connsiteY4" fmla="*/ 14514 h 6858000"/>
              <a:gd name="connsiteX0" fmla="*/ 5302478 w 7250400"/>
              <a:gd name="connsiteY0" fmla="*/ 2607 h 6858000"/>
              <a:gd name="connsiteX1" fmla="*/ 7250400 w 7250400"/>
              <a:gd name="connsiteY1" fmla="*/ 0 h 6858000"/>
              <a:gd name="connsiteX2" fmla="*/ 7250400 w 7250400"/>
              <a:gd name="connsiteY2" fmla="*/ 6858000 h 6858000"/>
              <a:gd name="connsiteX3" fmla="*/ 0 w 7250400"/>
              <a:gd name="connsiteY3" fmla="*/ 6858000 h 6858000"/>
              <a:gd name="connsiteX4" fmla="*/ 5302478 w 7250400"/>
              <a:gd name="connsiteY4" fmla="*/ 2607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250400" h="6858000">
                <a:moveTo>
                  <a:pt x="5302478" y="2607"/>
                </a:moveTo>
                <a:lnTo>
                  <a:pt x="7250400" y="0"/>
                </a:lnTo>
                <a:lnTo>
                  <a:pt x="7250400" y="6858000"/>
                </a:lnTo>
                <a:lnTo>
                  <a:pt x="0" y="6858000"/>
                </a:lnTo>
                <a:lnTo>
                  <a:pt x="5302478" y="2607"/>
                </a:lnTo>
                <a:close/>
              </a:path>
            </a:pathLst>
          </a:custGeom>
          <a:solidFill>
            <a:srgbClr val="E196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023" tIns="53513" rIns="107023" bIns="53513" anchor="ctr"/>
          <a:lstStyle/>
          <a:p>
            <a:pPr algn="ctr" eaLnBrk="1" hangingPunct="1">
              <a:defRPr/>
            </a:pPr>
            <a:endParaRPr lang="fr-FR">
              <a:latin typeface="+mj-lt"/>
            </a:endParaRPr>
          </a:p>
        </p:txBody>
      </p:sp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1976437" y="1695452"/>
            <a:ext cx="5767388" cy="1752600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defRPr sz="5400">
                <a:solidFill>
                  <a:srgbClr val="00008F"/>
                </a:solidFill>
                <a:latin typeface="Source Sans Pro Black" pitchFamily="34" charset="0"/>
                <a:ea typeface="Source Sans Pro Black" pitchFamily="34" charset="0"/>
              </a:defRPr>
            </a:lvl1pPr>
          </a:lstStyle>
          <a:p>
            <a:r>
              <a:rPr lang="en-US"/>
              <a:t>    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71593331"/>
      </p:ext>
    </p:extLst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Logo AXA" descr="\\Mac\AllFiles\Volumes\DOSSIERS EN COURS\17_1098 AXA_Creation_gabarits\elements\png\new_logo_axa_rgb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727773" y="4727113"/>
            <a:ext cx="209971" cy="2100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Sommaire"/>
          <p:cNvSpPr>
            <a:spLocks noGrp="1"/>
          </p:cNvSpPr>
          <p:nvPr>
            <p:ph type="title" hasCustomPrompt="1"/>
          </p:nvPr>
        </p:nvSpPr>
        <p:spPr>
          <a:xfrm>
            <a:off x="273896" y="321585"/>
            <a:ext cx="8596209" cy="337232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000" b="1" i="0">
                <a:solidFill>
                  <a:srgbClr val="00008F"/>
                </a:solidFill>
                <a:latin typeface="+mj-lt"/>
              </a:defRPr>
            </a:lvl1pPr>
          </a:lstStyle>
          <a:p>
            <a:r>
              <a:rPr lang="en-GB" noProof="0"/>
              <a:t>Click to edit Master title style</a:t>
            </a:r>
          </a:p>
        </p:txBody>
      </p:sp>
      <p:sp>
        <p:nvSpPr>
          <p:cNvPr id="14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273895" y="674463"/>
            <a:ext cx="8596106" cy="252924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buNone/>
              <a:defRPr sz="1800">
                <a:solidFill>
                  <a:srgbClr val="027180"/>
                </a:solidFill>
                <a:latin typeface="+mj-lt"/>
              </a:defRPr>
            </a:lvl1pPr>
          </a:lstStyle>
          <a:p>
            <a:pPr lvl="0"/>
            <a:r>
              <a:rPr lang="en-GB" noProof="0"/>
              <a:t>Click to edit Master text styles</a:t>
            </a:r>
          </a:p>
        </p:txBody>
      </p:sp>
      <p:sp>
        <p:nvSpPr>
          <p:cNvPr id="15" name="Espace réservé du numéro de diapositive 4"/>
          <p:cNvSpPr>
            <a:spLocks noGrp="1"/>
          </p:cNvSpPr>
          <p:nvPr>
            <p:ph type="sldNum" sz="quarter" idx="14"/>
          </p:nvPr>
        </p:nvSpPr>
        <p:spPr>
          <a:xfrm>
            <a:off x="273150" y="4805184"/>
            <a:ext cx="252710" cy="169157"/>
          </a:xfrm>
        </p:spPr>
        <p:txBody>
          <a:bodyPr anchor="ctr"/>
          <a:lstStyle>
            <a:lvl1pPr>
              <a:defRPr/>
            </a:lvl1pPr>
          </a:lstStyle>
          <a:p>
            <a:fld id="{438FEFB8-6B6E-4DC1-A5E4-A1258711B442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5"/>
          </p:nvPr>
        </p:nvSpPr>
        <p:spPr>
          <a:xfrm>
            <a:off x="457107" y="4755701"/>
            <a:ext cx="2133166" cy="273254"/>
          </a:xfrm>
        </p:spPr>
        <p:txBody>
          <a:bodyPr/>
          <a:lstStyle/>
          <a:p>
            <a:fld id="{24021889-362E-4411-BFE4-5498A183F2C1}" type="datetime1">
              <a:rPr lang="fr-FR" smtClean="0"/>
              <a:t>13/03/2023</a:t>
            </a:fld>
            <a:endParaRPr lang="fr-FR"/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6"/>
          </p:nvPr>
        </p:nvSpPr>
        <p:spPr>
          <a:xfrm>
            <a:off x="3123566" y="4755701"/>
            <a:ext cx="2896869" cy="273254"/>
          </a:xfrm>
        </p:spPr>
        <p:txBody>
          <a:bodyPr/>
          <a:lstStyle>
            <a:lvl1pPr>
              <a:defRPr sz="900">
                <a:solidFill>
                  <a:srgbClr val="FF0000"/>
                </a:solidFill>
                <a:latin typeface="+mn-lt"/>
              </a:defRPr>
            </a:lvl1pPr>
          </a:lstStyle>
          <a:p>
            <a:r>
              <a:rPr lang="fr-FR"/>
              <a:t>CONFIDENTIALITY LEVEL</a:t>
            </a: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k object 16"/>
          <p:cNvSpPr>
            <a:spLocks/>
          </p:cNvSpPr>
          <p:nvPr userDrawn="1"/>
        </p:nvSpPr>
        <p:spPr bwMode="auto">
          <a:xfrm>
            <a:off x="0" y="1"/>
            <a:ext cx="9144000" cy="5143500"/>
          </a:xfrm>
          <a:custGeom>
            <a:avLst/>
            <a:gdLst>
              <a:gd name="T0" fmla="*/ 0 w 10692130"/>
              <a:gd name="T1" fmla="*/ 28 h 7560309"/>
              <a:gd name="T2" fmla="*/ 7838 w 10692130"/>
              <a:gd name="T3" fmla="*/ 28 h 7560309"/>
              <a:gd name="T4" fmla="*/ 7838 w 10692130"/>
              <a:gd name="T5" fmla="*/ 0 h 7560309"/>
              <a:gd name="T6" fmla="*/ 0 w 10692130"/>
              <a:gd name="T7" fmla="*/ 0 h 7560309"/>
              <a:gd name="T8" fmla="*/ 0 w 10692130"/>
              <a:gd name="T9" fmla="*/ 28 h 7560309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0692130" h="7560309">
                <a:moveTo>
                  <a:pt x="0" y="7559992"/>
                </a:moveTo>
                <a:lnTo>
                  <a:pt x="10692003" y="7559992"/>
                </a:lnTo>
                <a:lnTo>
                  <a:pt x="10692003" y="0"/>
                </a:lnTo>
                <a:lnTo>
                  <a:pt x="0" y="0"/>
                </a:lnTo>
                <a:lnTo>
                  <a:pt x="0" y="7559992"/>
                </a:lnTo>
                <a:close/>
              </a:path>
            </a:pathLst>
          </a:custGeom>
          <a:solidFill>
            <a:srgbClr val="0A7380"/>
          </a:solidFill>
          <a:ln w="9525">
            <a:noFill/>
            <a:round/>
            <a:headEnd/>
            <a:tailEnd/>
          </a:ln>
        </p:spPr>
        <p:txBody>
          <a:bodyPr lIns="0" tIns="0" rIns="0" bIns="0"/>
          <a:lstStyle/>
          <a:p>
            <a:endParaRPr lang="fr-FR"/>
          </a:p>
        </p:txBody>
      </p:sp>
      <p:pic>
        <p:nvPicPr>
          <p:cNvPr id="3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17746" y="299279"/>
            <a:ext cx="674511" cy="6747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k object 16"/>
          <p:cNvSpPr>
            <a:spLocks/>
          </p:cNvSpPr>
          <p:nvPr userDrawn="1"/>
        </p:nvSpPr>
        <p:spPr bwMode="auto">
          <a:xfrm>
            <a:off x="0" y="1"/>
            <a:ext cx="9144000" cy="5143500"/>
          </a:xfrm>
          <a:custGeom>
            <a:avLst/>
            <a:gdLst>
              <a:gd name="T0" fmla="*/ 0 w 10692130"/>
              <a:gd name="T1" fmla="*/ 28 h 7560309"/>
              <a:gd name="T2" fmla="*/ 7838 w 10692130"/>
              <a:gd name="T3" fmla="*/ 28 h 7560309"/>
              <a:gd name="T4" fmla="*/ 7838 w 10692130"/>
              <a:gd name="T5" fmla="*/ 0 h 7560309"/>
              <a:gd name="T6" fmla="*/ 0 w 10692130"/>
              <a:gd name="T7" fmla="*/ 0 h 7560309"/>
              <a:gd name="T8" fmla="*/ 0 w 10692130"/>
              <a:gd name="T9" fmla="*/ 28 h 7560309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0692130" h="7560309">
                <a:moveTo>
                  <a:pt x="0" y="7559992"/>
                </a:moveTo>
                <a:lnTo>
                  <a:pt x="10692003" y="7559992"/>
                </a:lnTo>
                <a:lnTo>
                  <a:pt x="10692003" y="0"/>
                </a:lnTo>
                <a:lnTo>
                  <a:pt x="0" y="0"/>
                </a:lnTo>
                <a:lnTo>
                  <a:pt x="0" y="7559992"/>
                </a:lnTo>
                <a:close/>
              </a:path>
            </a:pathLst>
          </a:custGeom>
          <a:solidFill>
            <a:srgbClr val="0A7380"/>
          </a:solidFill>
          <a:ln w="9525">
            <a:noFill/>
            <a:round/>
            <a:headEnd/>
            <a:tailEnd/>
          </a:ln>
        </p:spPr>
        <p:txBody>
          <a:bodyPr lIns="0" tIns="0" rIns="0" bIns="0"/>
          <a:lstStyle/>
          <a:p>
            <a:endParaRPr lang="fr-FR"/>
          </a:p>
        </p:txBody>
      </p:sp>
      <p:pic>
        <p:nvPicPr>
          <p:cNvPr id="3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17746" y="299279"/>
            <a:ext cx="674511" cy="6747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4_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k object 16"/>
          <p:cNvSpPr>
            <a:spLocks/>
          </p:cNvSpPr>
          <p:nvPr userDrawn="1"/>
        </p:nvSpPr>
        <p:spPr bwMode="auto">
          <a:xfrm>
            <a:off x="0" y="2"/>
            <a:ext cx="9144000" cy="5143500"/>
          </a:xfrm>
          <a:custGeom>
            <a:avLst/>
            <a:gdLst>
              <a:gd name="T0" fmla="*/ 0 w 10692130"/>
              <a:gd name="T1" fmla="*/ 28 h 7560309"/>
              <a:gd name="T2" fmla="*/ 7838 w 10692130"/>
              <a:gd name="T3" fmla="*/ 28 h 7560309"/>
              <a:gd name="T4" fmla="*/ 7838 w 10692130"/>
              <a:gd name="T5" fmla="*/ 0 h 7560309"/>
              <a:gd name="T6" fmla="*/ 0 w 10692130"/>
              <a:gd name="T7" fmla="*/ 0 h 7560309"/>
              <a:gd name="T8" fmla="*/ 0 w 10692130"/>
              <a:gd name="T9" fmla="*/ 28 h 7560309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0692130" h="7560309">
                <a:moveTo>
                  <a:pt x="0" y="7559992"/>
                </a:moveTo>
                <a:lnTo>
                  <a:pt x="10692003" y="7559992"/>
                </a:lnTo>
                <a:lnTo>
                  <a:pt x="10692003" y="0"/>
                </a:lnTo>
                <a:lnTo>
                  <a:pt x="0" y="0"/>
                </a:lnTo>
                <a:lnTo>
                  <a:pt x="0" y="7559992"/>
                </a:lnTo>
                <a:close/>
              </a:path>
            </a:pathLst>
          </a:custGeom>
          <a:solidFill>
            <a:srgbClr val="0A7380"/>
          </a:solidFill>
          <a:ln w="9525">
            <a:noFill/>
            <a:round/>
            <a:headEnd/>
            <a:tailEnd/>
          </a:ln>
        </p:spPr>
        <p:txBody>
          <a:bodyPr lIns="0" tIns="0" rIns="0" bIns="0"/>
          <a:lstStyle/>
          <a:p>
            <a:endParaRPr lang="fr-FR"/>
          </a:p>
        </p:txBody>
      </p:sp>
      <p:pic>
        <p:nvPicPr>
          <p:cNvPr id="3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727774" y="4727115"/>
            <a:ext cx="209972" cy="2100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Sommaire"/>
          <p:cNvSpPr>
            <a:spLocks noGrp="1"/>
          </p:cNvSpPr>
          <p:nvPr>
            <p:ph type="title" hasCustomPrompt="1"/>
          </p:nvPr>
        </p:nvSpPr>
        <p:spPr>
          <a:xfrm>
            <a:off x="273897" y="321585"/>
            <a:ext cx="8596209" cy="337232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2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noProof="0"/>
              <a:t>Click to edit Master title style</a:t>
            </a:r>
          </a:p>
        </p:txBody>
      </p:sp>
      <p:sp>
        <p:nvSpPr>
          <p:cNvPr id="6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273895" y="674463"/>
            <a:ext cx="8596106" cy="252924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buNone/>
              <a:defRPr sz="18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noProof="0"/>
              <a:t>Click to edit Master text styles</a:t>
            </a:r>
          </a:p>
        </p:txBody>
      </p:sp>
      <p:sp>
        <p:nvSpPr>
          <p:cNvPr id="7" name="Espace réservé du contenu 8"/>
          <p:cNvSpPr>
            <a:spLocks noGrp="1"/>
          </p:cNvSpPr>
          <p:nvPr>
            <p:ph sz="quarter" idx="13" hasCustomPrompt="1"/>
          </p:nvPr>
        </p:nvSpPr>
        <p:spPr>
          <a:xfrm>
            <a:off x="228696" y="1133912"/>
            <a:ext cx="8556096" cy="3412889"/>
          </a:xfrm>
          <a:prstGeom prst="rect">
            <a:avLst/>
          </a:prstGeom>
        </p:spPr>
        <p:txBody>
          <a:bodyPr lIns="107023" tIns="53513" rIns="107023" bIns="53513"/>
          <a:lstStyle>
            <a:lvl1pPr>
              <a:lnSpc>
                <a:spcPct val="100000"/>
              </a:lnSpc>
              <a:buClr>
                <a:schemeClr val="bg1"/>
              </a:buClr>
              <a:buSzPct val="85000"/>
              <a:buFont typeface="fleche_rond" pitchFamily="2" charset="0"/>
              <a:buChar char=""/>
              <a:defRPr sz="1600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buClr>
                <a:schemeClr val="bg1"/>
              </a:buClr>
              <a:buSzPct val="85000"/>
              <a:buFont typeface="fleche_rond" pitchFamily="2" charset="0"/>
              <a:buChar char=""/>
              <a:defRPr sz="1400">
                <a:solidFill>
                  <a:schemeClr val="bg1"/>
                </a:solidFill>
              </a:defRPr>
            </a:lvl2pPr>
            <a:lvl3pPr marL="945748" indent="-209960">
              <a:lnSpc>
                <a:spcPct val="100000"/>
              </a:lnSpc>
              <a:buClr>
                <a:schemeClr val="bg1"/>
              </a:buClr>
              <a:buFont typeface="Source Sans Pro" pitchFamily="34" charset="0"/>
              <a:buChar char="–"/>
              <a:defRPr sz="1200">
                <a:solidFill>
                  <a:schemeClr val="bg1"/>
                </a:solidFill>
              </a:defRPr>
            </a:lvl3pPr>
            <a:lvl4pPr marL="1049799" indent="-104051">
              <a:lnSpc>
                <a:spcPct val="100000"/>
              </a:lnSpc>
              <a:buClr>
                <a:schemeClr val="bg1"/>
              </a:buClr>
              <a:buFont typeface="Source Sans Pro" pitchFamily="34" charset="0"/>
              <a:buChar char="•"/>
              <a:defRPr sz="900">
                <a:solidFill>
                  <a:schemeClr val="bg1"/>
                </a:solidFill>
              </a:defRPr>
            </a:lvl4pPr>
            <a:lvl5pPr marL="1257900" indent="-104051">
              <a:lnSpc>
                <a:spcPct val="100000"/>
              </a:lnSpc>
              <a:buClr>
                <a:schemeClr val="bg1"/>
              </a:buClr>
              <a:buFont typeface="Source Sans Pro" pitchFamily="34" charset="0"/>
              <a:buChar char="&gt;"/>
              <a:defRPr sz="7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 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8" name="Espace réservé du numéro de diapositive 4"/>
          <p:cNvSpPr>
            <a:spLocks noGrp="1"/>
          </p:cNvSpPr>
          <p:nvPr>
            <p:ph type="sldNum" sz="quarter" idx="14"/>
          </p:nvPr>
        </p:nvSpPr>
        <p:spPr>
          <a:xfrm>
            <a:off x="273150" y="4805184"/>
            <a:ext cx="252710" cy="169157"/>
          </a:xfr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38FEFB8-6B6E-4DC1-A5E4-A1258711B44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9" name="Espace réservé de la date 1"/>
          <p:cNvSpPr>
            <a:spLocks noGrp="1"/>
          </p:cNvSpPr>
          <p:nvPr>
            <p:ph type="dt" sz="half" idx="15"/>
          </p:nvPr>
        </p:nvSpPr>
        <p:spPr>
          <a:xfrm>
            <a:off x="457107" y="4755702"/>
            <a:ext cx="2133166" cy="27325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1924226-D975-4950-98CF-F6FEEADAD89D}" type="datetime1">
              <a:rPr lang="fr-FR" smtClean="0"/>
              <a:t>20/03/2023</a:t>
            </a:fld>
            <a:endParaRPr lang="fr-FR"/>
          </a:p>
        </p:txBody>
      </p:sp>
      <p:sp>
        <p:nvSpPr>
          <p:cNvPr id="10" name="Espace réservé du pied de page 2"/>
          <p:cNvSpPr>
            <a:spLocks noGrp="1"/>
          </p:cNvSpPr>
          <p:nvPr>
            <p:ph type="ftr" sz="quarter" idx="16"/>
          </p:nvPr>
        </p:nvSpPr>
        <p:spPr>
          <a:xfrm>
            <a:off x="3123567" y="4755702"/>
            <a:ext cx="2896869" cy="273254"/>
          </a:xfrm>
        </p:spPr>
        <p:txBody>
          <a:bodyPr/>
          <a:lstStyle>
            <a:lvl1pPr>
              <a:defRPr sz="900">
                <a:solidFill>
                  <a:schemeClr val="bg1"/>
                </a:solidFill>
              </a:defRPr>
            </a:lvl1pPr>
          </a:lstStyle>
          <a:p>
            <a:r>
              <a:rPr lang="fr-FR"/>
              <a:t>CONFIDENTIALITY LEVEL</a:t>
            </a:r>
          </a:p>
        </p:txBody>
      </p:sp>
    </p:spTree>
    <p:extLst>
      <p:ext uri="{BB962C8B-B14F-4D97-AF65-F5344CB8AC3E}">
        <p14:creationId xmlns:p14="http://schemas.microsoft.com/office/powerpoint/2010/main" val="2544836375"/>
      </p:ext>
    </p:extLst>
  </p:cSld>
  <p:clrMapOvr>
    <a:masterClrMapping/>
  </p:clrMapOvr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4_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k object 16"/>
          <p:cNvSpPr>
            <a:spLocks/>
          </p:cNvSpPr>
          <p:nvPr userDrawn="1"/>
        </p:nvSpPr>
        <p:spPr bwMode="auto">
          <a:xfrm>
            <a:off x="0" y="2"/>
            <a:ext cx="9144000" cy="5143500"/>
          </a:xfrm>
          <a:custGeom>
            <a:avLst/>
            <a:gdLst>
              <a:gd name="T0" fmla="*/ 0 w 10692130"/>
              <a:gd name="T1" fmla="*/ 28 h 7560309"/>
              <a:gd name="T2" fmla="*/ 7838 w 10692130"/>
              <a:gd name="T3" fmla="*/ 28 h 7560309"/>
              <a:gd name="T4" fmla="*/ 7838 w 10692130"/>
              <a:gd name="T5" fmla="*/ 0 h 7560309"/>
              <a:gd name="T6" fmla="*/ 0 w 10692130"/>
              <a:gd name="T7" fmla="*/ 0 h 7560309"/>
              <a:gd name="T8" fmla="*/ 0 w 10692130"/>
              <a:gd name="T9" fmla="*/ 28 h 7560309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0692130" h="7560309">
                <a:moveTo>
                  <a:pt x="0" y="7559992"/>
                </a:moveTo>
                <a:lnTo>
                  <a:pt x="10692003" y="7559992"/>
                </a:lnTo>
                <a:lnTo>
                  <a:pt x="10692003" y="0"/>
                </a:lnTo>
                <a:lnTo>
                  <a:pt x="0" y="0"/>
                </a:lnTo>
                <a:lnTo>
                  <a:pt x="0" y="7559992"/>
                </a:lnTo>
                <a:close/>
              </a:path>
            </a:pathLst>
          </a:custGeom>
          <a:solidFill>
            <a:srgbClr val="0A7380"/>
          </a:solidFill>
          <a:ln w="9525">
            <a:noFill/>
            <a:round/>
            <a:headEnd/>
            <a:tailEnd/>
          </a:ln>
        </p:spPr>
        <p:txBody>
          <a:bodyPr lIns="0" tIns="0" rIns="0" bIns="0"/>
          <a:lstStyle/>
          <a:p>
            <a:endParaRPr lang="fr-FR"/>
          </a:p>
        </p:txBody>
      </p:sp>
      <p:pic>
        <p:nvPicPr>
          <p:cNvPr id="3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727774" y="4727115"/>
            <a:ext cx="209972" cy="2100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Sommaire"/>
          <p:cNvSpPr>
            <a:spLocks noGrp="1"/>
          </p:cNvSpPr>
          <p:nvPr>
            <p:ph type="title" hasCustomPrompt="1"/>
          </p:nvPr>
        </p:nvSpPr>
        <p:spPr>
          <a:xfrm>
            <a:off x="273897" y="321585"/>
            <a:ext cx="8596209" cy="337232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2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noProof="0"/>
              <a:t>Click to edit Master title style</a:t>
            </a:r>
          </a:p>
        </p:txBody>
      </p:sp>
      <p:sp>
        <p:nvSpPr>
          <p:cNvPr id="6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273895" y="674463"/>
            <a:ext cx="8596106" cy="252924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buNone/>
              <a:defRPr sz="18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noProof="0"/>
              <a:t>Click to edit Master text styles</a:t>
            </a:r>
          </a:p>
        </p:txBody>
      </p:sp>
      <p:sp>
        <p:nvSpPr>
          <p:cNvPr id="7" name="Espace réservé du contenu 8"/>
          <p:cNvSpPr>
            <a:spLocks noGrp="1"/>
          </p:cNvSpPr>
          <p:nvPr>
            <p:ph sz="quarter" idx="13" hasCustomPrompt="1"/>
          </p:nvPr>
        </p:nvSpPr>
        <p:spPr>
          <a:xfrm>
            <a:off x="228696" y="1133912"/>
            <a:ext cx="8556096" cy="3412889"/>
          </a:xfrm>
          <a:prstGeom prst="rect">
            <a:avLst/>
          </a:prstGeom>
        </p:spPr>
        <p:txBody>
          <a:bodyPr lIns="107023" tIns="53513" rIns="107023" bIns="53513"/>
          <a:lstStyle>
            <a:lvl1pPr>
              <a:lnSpc>
                <a:spcPct val="100000"/>
              </a:lnSpc>
              <a:buClr>
                <a:schemeClr val="bg1"/>
              </a:buClr>
              <a:buSzPct val="85000"/>
              <a:buFont typeface="fleche_rond" pitchFamily="2" charset="0"/>
              <a:buChar char=""/>
              <a:defRPr sz="1600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buClr>
                <a:schemeClr val="bg1"/>
              </a:buClr>
              <a:buSzPct val="85000"/>
              <a:buFont typeface="fleche_rond" pitchFamily="2" charset="0"/>
              <a:buChar char=""/>
              <a:defRPr sz="1400">
                <a:solidFill>
                  <a:schemeClr val="bg1"/>
                </a:solidFill>
              </a:defRPr>
            </a:lvl2pPr>
            <a:lvl3pPr marL="945748" indent="-209960">
              <a:lnSpc>
                <a:spcPct val="100000"/>
              </a:lnSpc>
              <a:buClr>
                <a:schemeClr val="bg1"/>
              </a:buClr>
              <a:buFont typeface="Source Sans Pro" pitchFamily="34" charset="0"/>
              <a:buChar char="–"/>
              <a:defRPr sz="1200">
                <a:solidFill>
                  <a:schemeClr val="bg1"/>
                </a:solidFill>
              </a:defRPr>
            </a:lvl3pPr>
            <a:lvl4pPr marL="1049799" indent="-104051">
              <a:lnSpc>
                <a:spcPct val="100000"/>
              </a:lnSpc>
              <a:buClr>
                <a:schemeClr val="bg1"/>
              </a:buClr>
              <a:buFont typeface="Source Sans Pro" pitchFamily="34" charset="0"/>
              <a:buChar char="•"/>
              <a:defRPr sz="900">
                <a:solidFill>
                  <a:schemeClr val="bg1"/>
                </a:solidFill>
              </a:defRPr>
            </a:lvl4pPr>
            <a:lvl5pPr marL="1257900" indent="-104051">
              <a:lnSpc>
                <a:spcPct val="100000"/>
              </a:lnSpc>
              <a:buClr>
                <a:schemeClr val="bg1"/>
              </a:buClr>
              <a:buFont typeface="Source Sans Pro" pitchFamily="34" charset="0"/>
              <a:buChar char="&gt;"/>
              <a:defRPr sz="7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 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8" name="Espace réservé du numéro de diapositive 4"/>
          <p:cNvSpPr>
            <a:spLocks noGrp="1"/>
          </p:cNvSpPr>
          <p:nvPr>
            <p:ph type="sldNum" sz="quarter" idx="14"/>
          </p:nvPr>
        </p:nvSpPr>
        <p:spPr>
          <a:xfrm>
            <a:off x="273150" y="4805184"/>
            <a:ext cx="252710" cy="169157"/>
          </a:xfr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38FEFB8-6B6E-4DC1-A5E4-A1258711B44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9" name="Espace réservé de la date 1"/>
          <p:cNvSpPr>
            <a:spLocks noGrp="1"/>
          </p:cNvSpPr>
          <p:nvPr>
            <p:ph type="dt" sz="half" idx="15"/>
          </p:nvPr>
        </p:nvSpPr>
        <p:spPr>
          <a:xfrm>
            <a:off x="457107" y="4755702"/>
            <a:ext cx="2133166" cy="27325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1924226-D975-4950-98CF-F6FEEADAD89D}" type="datetime1">
              <a:rPr lang="fr-FR" smtClean="0"/>
              <a:t>13/03/2023</a:t>
            </a:fld>
            <a:endParaRPr lang="fr-FR"/>
          </a:p>
        </p:txBody>
      </p:sp>
      <p:sp>
        <p:nvSpPr>
          <p:cNvPr id="10" name="Espace réservé du pied de page 2"/>
          <p:cNvSpPr>
            <a:spLocks noGrp="1"/>
          </p:cNvSpPr>
          <p:nvPr>
            <p:ph type="ftr" sz="quarter" idx="16"/>
          </p:nvPr>
        </p:nvSpPr>
        <p:spPr>
          <a:xfrm>
            <a:off x="3123567" y="4755702"/>
            <a:ext cx="2896869" cy="273254"/>
          </a:xfrm>
        </p:spPr>
        <p:txBody>
          <a:bodyPr/>
          <a:lstStyle>
            <a:lvl1pPr>
              <a:defRPr sz="900">
                <a:solidFill>
                  <a:schemeClr val="bg1"/>
                </a:solidFill>
              </a:defRPr>
            </a:lvl1pPr>
          </a:lstStyle>
          <a:p>
            <a:r>
              <a:rPr lang="fr-FR"/>
              <a:t>CONFIDENTIALITY LEVEL</a:t>
            </a:r>
          </a:p>
        </p:txBody>
      </p:sp>
    </p:spTree>
    <p:extLst>
      <p:ext uri="{BB962C8B-B14F-4D97-AF65-F5344CB8AC3E}">
        <p14:creationId xmlns:p14="http://schemas.microsoft.com/office/powerpoint/2010/main" val="254483637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5_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k object 16"/>
          <p:cNvSpPr>
            <a:spLocks/>
          </p:cNvSpPr>
          <p:nvPr userDrawn="1"/>
        </p:nvSpPr>
        <p:spPr bwMode="auto">
          <a:xfrm>
            <a:off x="0" y="2"/>
            <a:ext cx="9144000" cy="5143500"/>
          </a:xfrm>
          <a:custGeom>
            <a:avLst/>
            <a:gdLst>
              <a:gd name="T0" fmla="*/ 0 w 10692130"/>
              <a:gd name="T1" fmla="*/ 28 h 7560309"/>
              <a:gd name="T2" fmla="*/ 7838 w 10692130"/>
              <a:gd name="T3" fmla="*/ 28 h 7560309"/>
              <a:gd name="T4" fmla="*/ 7838 w 10692130"/>
              <a:gd name="T5" fmla="*/ 0 h 7560309"/>
              <a:gd name="T6" fmla="*/ 0 w 10692130"/>
              <a:gd name="T7" fmla="*/ 0 h 7560309"/>
              <a:gd name="T8" fmla="*/ 0 w 10692130"/>
              <a:gd name="T9" fmla="*/ 28 h 7560309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0692130" h="7560309">
                <a:moveTo>
                  <a:pt x="0" y="7559992"/>
                </a:moveTo>
                <a:lnTo>
                  <a:pt x="10692003" y="7559992"/>
                </a:lnTo>
                <a:lnTo>
                  <a:pt x="10692003" y="0"/>
                </a:lnTo>
                <a:lnTo>
                  <a:pt x="0" y="0"/>
                </a:lnTo>
                <a:lnTo>
                  <a:pt x="0" y="7559992"/>
                </a:lnTo>
                <a:close/>
              </a:path>
            </a:pathLst>
          </a:custGeom>
          <a:solidFill>
            <a:srgbClr val="914146"/>
          </a:solidFill>
          <a:ln w="9525">
            <a:noFill/>
            <a:round/>
            <a:headEnd/>
            <a:tailEnd/>
          </a:ln>
        </p:spPr>
        <p:txBody>
          <a:bodyPr lIns="0" tIns="0" rIns="0" bIns="0"/>
          <a:lstStyle/>
          <a:p>
            <a:endParaRPr lang="fr-FR"/>
          </a:p>
        </p:txBody>
      </p:sp>
      <p:pic>
        <p:nvPicPr>
          <p:cNvPr id="5" name="Picture 4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727774" y="4727115"/>
            <a:ext cx="209972" cy="2100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Sommaire"/>
          <p:cNvSpPr>
            <a:spLocks noGrp="1"/>
          </p:cNvSpPr>
          <p:nvPr>
            <p:ph type="title" hasCustomPrompt="1"/>
          </p:nvPr>
        </p:nvSpPr>
        <p:spPr>
          <a:xfrm>
            <a:off x="273897" y="321585"/>
            <a:ext cx="8596209" cy="337232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2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noProof="0"/>
              <a:t>Click to edit Master title style</a:t>
            </a:r>
          </a:p>
        </p:txBody>
      </p:sp>
      <p:sp>
        <p:nvSpPr>
          <p:cNvPr id="7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273895" y="674463"/>
            <a:ext cx="8596106" cy="252924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buNone/>
              <a:defRPr sz="18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noProof="0"/>
              <a:t>Click to edit Master text styles</a:t>
            </a:r>
          </a:p>
        </p:txBody>
      </p:sp>
      <p:sp>
        <p:nvSpPr>
          <p:cNvPr id="8" name="Espace réservé du contenu 8"/>
          <p:cNvSpPr>
            <a:spLocks noGrp="1"/>
          </p:cNvSpPr>
          <p:nvPr>
            <p:ph sz="quarter" idx="13" hasCustomPrompt="1"/>
          </p:nvPr>
        </p:nvSpPr>
        <p:spPr>
          <a:xfrm>
            <a:off x="228696" y="1133912"/>
            <a:ext cx="8556096" cy="3412889"/>
          </a:xfrm>
          <a:prstGeom prst="rect">
            <a:avLst/>
          </a:prstGeom>
        </p:spPr>
        <p:txBody>
          <a:bodyPr lIns="107023" tIns="53513" rIns="107023" bIns="53513"/>
          <a:lstStyle>
            <a:lvl1pPr>
              <a:lnSpc>
                <a:spcPct val="100000"/>
              </a:lnSpc>
              <a:buClr>
                <a:schemeClr val="bg1"/>
              </a:buClr>
              <a:buSzPct val="85000"/>
              <a:buFont typeface="fleche_rond" pitchFamily="2" charset="0"/>
              <a:buChar char=""/>
              <a:defRPr sz="1600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buClr>
                <a:schemeClr val="bg1"/>
              </a:buClr>
              <a:buSzPct val="85000"/>
              <a:buFont typeface="fleche_rond" pitchFamily="2" charset="0"/>
              <a:buChar char=""/>
              <a:defRPr sz="1400">
                <a:solidFill>
                  <a:schemeClr val="bg1"/>
                </a:solidFill>
              </a:defRPr>
            </a:lvl2pPr>
            <a:lvl3pPr marL="945748" indent="-209960">
              <a:lnSpc>
                <a:spcPct val="100000"/>
              </a:lnSpc>
              <a:buClr>
                <a:schemeClr val="bg1"/>
              </a:buClr>
              <a:buFont typeface="Source Sans Pro" pitchFamily="34" charset="0"/>
              <a:buChar char="–"/>
              <a:defRPr sz="1200">
                <a:solidFill>
                  <a:schemeClr val="bg1"/>
                </a:solidFill>
              </a:defRPr>
            </a:lvl3pPr>
            <a:lvl4pPr marL="1049799" indent="-104051">
              <a:lnSpc>
                <a:spcPct val="100000"/>
              </a:lnSpc>
              <a:buClr>
                <a:schemeClr val="bg1"/>
              </a:buClr>
              <a:buFont typeface="Source Sans Pro" pitchFamily="34" charset="0"/>
              <a:buChar char="•"/>
              <a:defRPr sz="900">
                <a:solidFill>
                  <a:schemeClr val="bg1"/>
                </a:solidFill>
              </a:defRPr>
            </a:lvl4pPr>
            <a:lvl5pPr marL="1257900" indent="-104051">
              <a:lnSpc>
                <a:spcPct val="100000"/>
              </a:lnSpc>
              <a:buClr>
                <a:schemeClr val="bg1"/>
              </a:buClr>
              <a:buFont typeface="Source Sans Pro" pitchFamily="34" charset="0"/>
              <a:buChar char="&gt;"/>
              <a:defRPr sz="7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 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9" name="Espace réservé du numéro de diapositive 4"/>
          <p:cNvSpPr>
            <a:spLocks noGrp="1"/>
          </p:cNvSpPr>
          <p:nvPr>
            <p:ph type="sldNum" sz="quarter" idx="14"/>
          </p:nvPr>
        </p:nvSpPr>
        <p:spPr>
          <a:xfrm>
            <a:off x="273150" y="4805184"/>
            <a:ext cx="252710" cy="169157"/>
          </a:xfr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38FEFB8-6B6E-4DC1-A5E4-A1258711B44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0" name="Espace réservé de la date 1"/>
          <p:cNvSpPr>
            <a:spLocks noGrp="1"/>
          </p:cNvSpPr>
          <p:nvPr>
            <p:ph type="dt" sz="half" idx="15"/>
          </p:nvPr>
        </p:nvSpPr>
        <p:spPr>
          <a:xfrm>
            <a:off x="457107" y="4755702"/>
            <a:ext cx="2133166" cy="27325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A0F2179-09AF-4D47-8ADF-2B55BBDC3054}" type="datetime1">
              <a:rPr lang="fr-FR" smtClean="0"/>
              <a:t>20/03/2023</a:t>
            </a:fld>
            <a:endParaRPr lang="fr-FR"/>
          </a:p>
        </p:txBody>
      </p:sp>
      <p:sp>
        <p:nvSpPr>
          <p:cNvPr id="11" name="Espace réservé du pied de page 2"/>
          <p:cNvSpPr>
            <a:spLocks noGrp="1"/>
          </p:cNvSpPr>
          <p:nvPr>
            <p:ph type="ftr" sz="quarter" idx="16"/>
          </p:nvPr>
        </p:nvSpPr>
        <p:spPr>
          <a:xfrm>
            <a:off x="3123567" y="4755702"/>
            <a:ext cx="2896869" cy="273254"/>
          </a:xfrm>
        </p:spPr>
        <p:txBody>
          <a:bodyPr/>
          <a:lstStyle>
            <a:lvl1pPr>
              <a:defRPr sz="900">
                <a:solidFill>
                  <a:schemeClr val="bg1"/>
                </a:solidFill>
              </a:defRPr>
            </a:lvl1pPr>
          </a:lstStyle>
          <a:p>
            <a:r>
              <a:rPr lang="fr-FR"/>
              <a:t>CONFIDENTIALITY LEVEL</a:t>
            </a:r>
          </a:p>
        </p:txBody>
      </p:sp>
    </p:spTree>
    <p:extLst>
      <p:ext uri="{BB962C8B-B14F-4D97-AF65-F5344CB8AC3E}">
        <p14:creationId xmlns:p14="http://schemas.microsoft.com/office/powerpoint/2010/main" val="3898726210"/>
      </p:ext>
    </p:extLst>
  </p:cSld>
  <p:clrMapOvr>
    <a:masterClrMapping/>
  </p:clrMapOvr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5_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k object 16"/>
          <p:cNvSpPr>
            <a:spLocks/>
          </p:cNvSpPr>
          <p:nvPr userDrawn="1"/>
        </p:nvSpPr>
        <p:spPr bwMode="auto">
          <a:xfrm>
            <a:off x="0" y="2"/>
            <a:ext cx="9144000" cy="5143500"/>
          </a:xfrm>
          <a:custGeom>
            <a:avLst/>
            <a:gdLst>
              <a:gd name="T0" fmla="*/ 0 w 10692130"/>
              <a:gd name="T1" fmla="*/ 28 h 7560309"/>
              <a:gd name="T2" fmla="*/ 7838 w 10692130"/>
              <a:gd name="T3" fmla="*/ 28 h 7560309"/>
              <a:gd name="T4" fmla="*/ 7838 w 10692130"/>
              <a:gd name="T5" fmla="*/ 0 h 7560309"/>
              <a:gd name="T6" fmla="*/ 0 w 10692130"/>
              <a:gd name="T7" fmla="*/ 0 h 7560309"/>
              <a:gd name="T8" fmla="*/ 0 w 10692130"/>
              <a:gd name="T9" fmla="*/ 28 h 7560309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0692130" h="7560309">
                <a:moveTo>
                  <a:pt x="0" y="7559992"/>
                </a:moveTo>
                <a:lnTo>
                  <a:pt x="10692003" y="7559992"/>
                </a:lnTo>
                <a:lnTo>
                  <a:pt x="10692003" y="0"/>
                </a:lnTo>
                <a:lnTo>
                  <a:pt x="0" y="0"/>
                </a:lnTo>
                <a:lnTo>
                  <a:pt x="0" y="7559992"/>
                </a:lnTo>
                <a:close/>
              </a:path>
            </a:pathLst>
          </a:custGeom>
          <a:solidFill>
            <a:srgbClr val="914146"/>
          </a:solidFill>
          <a:ln w="9525">
            <a:noFill/>
            <a:round/>
            <a:headEnd/>
            <a:tailEnd/>
          </a:ln>
        </p:spPr>
        <p:txBody>
          <a:bodyPr lIns="0" tIns="0" rIns="0" bIns="0"/>
          <a:lstStyle/>
          <a:p>
            <a:endParaRPr lang="fr-FR"/>
          </a:p>
        </p:txBody>
      </p:sp>
      <p:pic>
        <p:nvPicPr>
          <p:cNvPr id="5" name="Picture 4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727774" y="4727115"/>
            <a:ext cx="209972" cy="2100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Sommaire"/>
          <p:cNvSpPr>
            <a:spLocks noGrp="1"/>
          </p:cNvSpPr>
          <p:nvPr>
            <p:ph type="title" hasCustomPrompt="1"/>
          </p:nvPr>
        </p:nvSpPr>
        <p:spPr>
          <a:xfrm>
            <a:off x="273897" y="321585"/>
            <a:ext cx="8596209" cy="337232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2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noProof="0"/>
              <a:t>Click to edit Master title style</a:t>
            </a:r>
          </a:p>
        </p:txBody>
      </p:sp>
      <p:sp>
        <p:nvSpPr>
          <p:cNvPr id="7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273895" y="674463"/>
            <a:ext cx="8596106" cy="252924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buNone/>
              <a:defRPr sz="18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noProof="0"/>
              <a:t>Click to edit Master text styles</a:t>
            </a:r>
          </a:p>
        </p:txBody>
      </p:sp>
      <p:sp>
        <p:nvSpPr>
          <p:cNvPr id="8" name="Espace réservé du contenu 8"/>
          <p:cNvSpPr>
            <a:spLocks noGrp="1"/>
          </p:cNvSpPr>
          <p:nvPr>
            <p:ph sz="quarter" idx="13" hasCustomPrompt="1"/>
          </p:nvPr>
        </p:nvSpPr>
        <p:spPr>
          <a:xfrm>
            <a:off x="228696" y="1133912"/>
            <a:ext cx="8556096" cy="3412889"/>
          </a:xfrm>
          <a:prstGeom prst="rect">
            <a:avLst/>
          </a:prstGeom>
        </p:spPr>
        <p:txBody>
          <a:bodyPr lIns="107023" tIns="53513" rIns="107023" bIns="53513"/>
          <a:lstStyle>
            <a:lvl1pPr>
              <a:lnSpc>
                <a:spcPct val="100000"/>
              </a:lnSpc>
              <a:buClr>
                <a:schemeClr val="bg1"/>
              </a:buClr>
              <a:buSzPct val="85000"/>
              <a:buFont typeface="fleche_rond" pitchFamily="2" charset="0"/>
              <a:buChar char=""/>
              <a:defRPr sz="1600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buClr>
                <a:schemeClr val="bg1"/>
              </a:buClr>
              <a:buSzPct val="85000"/>
              <a:buFont typeface="fleche_rond" pitchFamily="2" charset="0"/>
              <a:buChar char=""/>
              <a:defRPr sz="1400">
                <a:solidFill>
                  <a:schemeClr val="bg1"/>
                </a:solidFill>
              </a:defRPr>
            </a:lvl2pPr>
            <a:lvl3pPr marL="945748" indent="-209960">
              <a:lnSpc>
                <a:spcPct val="100000"/>
              </a:lnSpc>
              <a:buClr>
                <a:schemeClr val="bg1"/>
              </a:buClr>
              <a:buFont typeface="Source Sans Pro" pitchFamily="34" charset="0"/>
              <a:buChar char="–"/>
              <a:defRPr sz="1200">
                <a:solidFill>
                  <a:schemeClr val="bg1"/>
                </a:solidFill>
              </a:defRPr>
            </a:lvl3pPr>
            <a:lvl4pPr marL="1049799" indent="-104051">
              <a:lnSpc>
                <a:spcPct val="100000"/>
              </a:lnSpc>
              <a:buClr>
                <a:schemeClr val="bg1"/>
              </a:buClr>
              <a:buFont typeface="Source Sans Pro" pitchFamily="34" charset="0"/>
              <a:buChar char="•"/>
              <a:defRPr sz="900">
                <a:solidFill>
                  <a:schemeClr val="bg1"/>
                </a:solidFill>
              </a:defRPr>
            </a:lvl4pPr>
            <a:lvl5pPr marL="1257900" indent="-104051">
              <a:lnSpc>
                <a:spcPct val="100000"/>
              </a:lnSpc>
              <a:buClr>
                <a:schemeClr val="bg1"/>
              </a:buClr>
              <a:buFont typeface="Source Sans Pro" pitchFamily="34" charset="0"/>
              <a:buChar char="&gt;"/>
              <a:defRPr sz="7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 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9" name="Espace réservé du numéro de diapositive 4"/>
          <p:cNvSpPr>
            <a:spLocks noGrp="1"/>
          </p:cNvSpPr>
          <p:nvPr>
            <p:ph type="sldNum" sz="quarter" idx="14"/>
          </p:nvPr>
        </p:nvSpPr>
        <p:spPr>
          <a:xfrm>
            <a:off x="273150" y="4805184"/>
            <a:ext cx="252710" cy="169157"/>
          </a:xfr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38FEFB8-6B6E-4DC1-A5E4-A1258711B44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0" name="Espace réservé de la date 1"/>
          <p:cNvSpPr>
            <a:spLocks noGrp="1"/>
          </p:cNvSpPr>
          <p:nvPr>
            <p:ph type="dt" sz="half" idx="15"/>
          </p:nvPr>
        </p:nvSpPr>
        <p:spPr>
          <a:xfrm>
            <a:off x="457107" y="4755702"/>
            <a:ext cx="2133166" cy="27325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A0F2179-09AF-4D47-8ADF-2B55BBDC3054}" type="datetime1">
              <a:rPr lang="fr-FR" smtClean="0"/>
              <a:t>13/03/2023</a:t>
            </a:fld>
            <a:endParaRPr lang="fr-FR"/>
          </a:p>
        </p:txBody>
      </p:sp>
      <p:sp>
        <p:nvSpPr>
          <p:cNvPr id="11" name="Espace réservé du pied de page 2"/>
          <p:cNvSpPr>
            <a:spLocks noGrp="1"/>
          </p:cNvSpPr>
          <p:nvPr>
            <p:ph type="ftr" sz="quarter" idx="16"/>
          </p:nvPr>
        </p:nvSpPr>
        <p:spPr>
          <a:xfrm>
            <a:off x="3123567" y="4755702"/>
            <a:ext cx="2896869" cy="273254"/>
          </a:xfrm>
        </p:spPr>
        <p:txBody>
          <a:bodyPr/>
          <a:lstStyle>
            <a:lvl1pPr>
              <a:defRPr sz="900">
                <a:solidFill>
                  <a:schemeClr val="bg1"/>
                </a:solidFill>
              </a:defRPr>
            </a:lvl1pPr>
          </a:lstStyle>
          <a:p>
            <a:r>
              <a:rPr lang="fr-FR"/>
              <a:t>CONFIDENTIALITY LEVEL</a:t>
            </a:r>
          </a:p>
        </p:txBody>
      </p:sp>
    </p:spTree>
    <p:extLst>
      <p:ext uri="{BB962C8B-B14F-4D97-AF65-F5344CB8AC3E}">
        <p14:creationId xmlns:p14="http://schemas.microsoft.com/office/powerpoint/2010/main" val="389872621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6_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k object 16"/>
          <p:cNvSpPr>
            <a:spLocks/>
          </p:cNvSpPr>
          <p:nvPr userDrawn="1"/>
        </p:nvSpPr>
        <p:spPr bwMode="auto">
          <a:xfrm>
            <a:off x="0" y="2"/>
            <a:ext cx="9144000" cy="5143500"/>
          </a:xfrm>
          <a:custGeom>
            <a:avLst/>
            <a:gdLst>
              <a:gd name="T0" fmla="*/ 0 w 10692130"/>
              <a:gd name="T1" fmla="*/ 28 h 7560309"/>
              <a:gd name="T2" fmla="*/ 7838 w 10692130"/>
              <a:gd name="T3" fmla="*/ 28 h 7560309"/>
              <a:gd name="T4" fmla="*/ 7838 w 10692130"/>
              <a:gd name="T5" fmla="*/ 0 h 7560309"/>
              <a:gd name="T6" fmla="*/ 0 w 10692130"/>
              <a:gd name="T7" fmla="*/ 0 h 7560309"/>
              <a:gd name="T8" fmla="*/ 0 w 10692130"/>
              <a:gd name="T9" fmla="*/ 28 h 7560309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0692130" h="7560309">
                <a:moveTo>
                  <a:pt x="0" y="7559992"/>
                </a:moveTo>
                <a:lnTo>
                  <a:pt x="10692003" y="7559992"/>
                </a:lnTo>
                <a:lnTo>
                  <a:pt x="10692003" y="0"/>
                </a:lnTo>
                <a:lnTo>
                  <a:pt x="0" y="0"/>
                </a:lnTo>
                <a:lnTo>
                  <a:pt x="0" y="7559992"/>
                </a:lnTo>
                <a:close/>
              </a:path>
            </a:pathLst>
          </a:custGeom>
          <a:solidFill>
            <a:srgbClr val="E196AA"/>
          </a:solidFill>
          <a:ln w="9525">
            <a:noFill/>
            <a:round/>
            <a:headEnd/>
            <a:tailEnd/>
          </a:ln>
        </p:spPr>
        <p:txBody>
          <a:bodyPr lIns="0" tIns="0" rIns="0" bIns="0"/>
          <a:lstStyle/>
          <a:p>
            <a:endParaRPr lang="fr-FR"/>
          </a:p>
        </p:txBody>
      </p:sp>
      <p:pic>
        <p:nvPicPr>
          <p:cNvPr id="4" name="Picture 3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727774" y="4727115"/>
            <a:ext cx="209972" cy="2100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Sommaire"/>
          <p:cNvSpPr>
            <a:spLocks noGrp="1"/>
          </p:cNvSpPr>
          <p:nvPr>
            <p:ph type="title" hasCustomPrompt="1"/>
          </p:nvPr>
        </p:nvSpPr>
        <p:spPr>
          <a:xfrm>
            <a:off x="273897" y="321585"/>
            <a:ext cx="8596209" cy="337232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200" b="1">
                <a:solidFill>
                  <a:srgbClr val="00008F"/>
                </a:solidFill>
                <a:latin typeface="+mj-lt"/>
              </a:defRPr>
            </a:lvl1pPr>
          </a:lstStyle>
          <a:p>
            <a:r>
              <a:rPr lang="en-GB" noProof="0"/>
              <a:t>Click to edit Master title style</a:t>
            </a:r>
          </a:p>
        </p:txBody>
      </p:sp>
      <p:sp>
        <p:nvSpPr>
          <p:cNvPr id="6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273895" y="674463"/>
            <a:ext cx="8596106" cy="252924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buNone/>
              <a:defRPr sz="18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noProof="0"/>
              <a:t>Click to edit Master text styles</a:t>
            </a:r>
          </a:p>
        </p:txBody>
      </p:sp>
      <p:sp>
        <p:nvSpPr>
          <p:cNvPr id="7" name="Espace réservé du contenu 8"/>
          <p:cNvSpPr>
            <a:spLocks noGrp="1"/>
          </p:cNvSpPr>
          <p:nvPr>
            <p:ph sz="quarter" idx="13" hasCustomPrompt="1"/>
          </p:nvPr>
        </p:nvSpPr>
        <p:spPr>
          <a:xfrm>
            <a:off x="228696" y="1133912"/>
            <a:ext cx="8556096" cy="3412889"/>
          </a:xfrm>
          <a:prstGeom prst="rect">
            <a:avLst/>
          </a:prstGeom>
        </p:spPr>
        <p:txBody>
          <a:bodyPr lIns="107023" tIns="53513" rIns="107023" bIns="53513"/>
          <a:lstStyle>
            <a:lvl1pPr>
              <a:lnSpc>
                <a:spcPct val="100000"/>
              </a:lnSpc>
              <a:buClr>
                <a:srgbClr val="027180"/>
              </a:buClr>
              <a:buSzPct val="85000"/>
              <a:buFont typeface="fleche_rond" pitchFamily="2" charset="0"/>
              <a:buChar char=""/>
              <a:defRPr sz="1600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buClr>
                <a:srgbClr val="027180"/>
              </a:buClr>
              <a:buSzPct val="85000"/>
              <a:buFont typeface="fleche_rond" pitchFamily="2" charset="0"/>
              <a:buChar char=""/>
              <a:defRPr sz="1400">
                <a:solidFill>
                  <a:schemeClr val="bg1"/>
                </a:solidFill>
              </a:defRPr>
            </a:lvl2pPr>
            <a:lvl3pPr marL="945748" indent="-209960">
              <a:lnSpc>
                <a:spcPct val="100000"/>
              </a:lnSpc>
              <a:buFont typeface="Source Sans Pro" pitchFamily="34" charset="0"/>
              <a:buChar char="–"/>
              <a:defRPr sz="1200">
                <a:solidFill>
                  <a:schemeClr val="bg1"/>
                </a:solidFill>
              </a:defRPr>
            </a:lvl3pPr>
            <a:lvl4pPr marL="1049799" indent="-104051">
              <a:lnSpc>
                <a:spcPct val="100000"/>
              </a:lnSpc>
              <a:buFont typeface="Source Sans Pro" pitchFamily="34" charset="0"/>
              <a:buChar char="•"/>
              <a:defRPr sz="900">
                <a:solidFill>
                  <a:schemeClr val="bg1"/>
                </a:solidFill>
              </a:defRPr>
            </a:lvl4pPr>
            <a:lvl5pPr marL="1257900" indent="-104051">
              <a:lnSpc>
                <a:spcPct val="100000"/>
              </a:lnSpc>
              <a:buFont typeface="Source Sans Pro" pitchFamily="34" charset="0"/>
              <a:buChar char="&gt;"/>
              <a:defRPr sz="7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 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8" name="Espace réservé du numéro de diapositive 4"/>
          <p:cNvSpPr>
            <a:spLocks noGrp="1"/>
          </p:cNvSpPr>
          <p:nvPr>
            <p:ph type="sldNum" sz="quarter" idx="14"/>
          </p:nvPr>
        </p:nvSpPr>
        <p:spPr>
          <a:xfrm>
            <a:off x="273150" y="4805184"/>
            <a:ext cx="252710" cy="169157"/>
          </a:xfr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38FEFB8-6B6E-4DC1-A5E4-A1258711B44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9" name="Espace réservé de la date 1"/>
          <p:cNvSpPr>
            <a:spLocks noGrp="1"/>
          </p:cNvSpPr>
          <p:nvPr>
            <p:ph type="dt" sz="half" idx="15"/>
          </p:nvPr>
        </p:nvSpPr>
        <p:spPr>
          <a:xfrm>
            <a:off x="457107" y="4755702"/>
            <a:ext cx="2133166" cy="27325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BC2263D-1238-48C0-9099-B063CBFD6574}" type="datetime1">
              <a:rPr lang="fr-FR" smtClean="0"/>
              <a:t>20/03/2023</a:t>
            </a:fld>
            <a:endParaRPr lang="fr-FR"/>
          </a:p>
        </p:txBody>
      </p:sp>
      <p:sp>
        <p:nvSpPr>
          <p:cNvPr id="10" name="Espace réservé du pied de page 2"/>
          <p:cNvSpPr>
            <a:spLocks noGrp="1"/>
          </p:cNvSpPr>
          <p:nvPr>
            <p:ph type="ftr" sz="quarter" idx="16"/>
          </p:nvPr>
        </p:nvSpPr>
        <p:spPr>
          <a:xfrm>
            <a:off x="3123567" y="4755702"/>
            <a:ext cx="2896869" cy="273254"/>
          </a:xfrm>
        </p:spPr>
        <p:txBody>
          <a:bodyPr/>
          <a:lstStyle>
            <a:lvl1pPr>
              <a:defRPr sz="900">
                <a:solidFill>
                  <a:schemeClr val="bg1"/>
                </a:solidFill>
              </a:defRPr>
            </a:lvl1pPr>
          </a:lstStyle>
          <a:p>
            <a:r>
              <a:rPr lang="fr-FR"/>
              <a:t>CONFIDENTIALITY LEVEL</a:t>
            </a:r>
          </a:p>
        </p:txBody>
      </p:sp>
    </p:spTree>
    <p:extLst>
      <p:ext uri="{BB962C8B-B14F-4D97-AF65-F5344CB8AC3E}">
        <p14:creationId xmlns:p14="http://schemas.microsoft.com/office/powerpoint/2010/main" val="1110922223"/>
      </p:ext>
    </p:extLst>
  </p:cSld>
  <p:clrMapOvr>
    <a:masterClrMapping/>
  </p:clrMapOvr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6_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k object 16"/>
          <p:cNvSpPr>
            <a:spLocks/>
          </p:cNvSpPr>
          <p:nvPr userDrawn="1"/>
        </p:nvSpPr>
        <p:spPr bwMode="auto">
          <a:xfrm>
            <a:off x="0" y="2"/>
            <a:ext cx="9144000" cy="5143500"/>
          </a:xfrm>
          <a:custGeom>
            <a:avLst/>
            <a:gdLst>
              <a:gd name="T0" fmla="*/ 0 w 10692130"/>
              <a:gd name="T1" fmla="*/ 28 h 7560309"/>
              <a:gd name="T2" fmla="*/ 7838 w 10692130"/>
              <a:gd name="T3" fmla="*/ 28 h 7560309"/>
              <a:gd name="T4" fmla="*/ 7838 w 10692130"/>
              <a:gd name="T5" fmla="*/ 0 h 7560309"/>
              <a:gd name="T6" fmla="*/ 0 w 10692130"/>
              <a:gd name="T7" fmla="*/ 0 h 7560309"/>
              <a:gd name="T8" fmla="*/ 0 w 10692130"/>
              <a:gd name="T9" fmla="*/ 28 h 7560309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0692130" h="7560309">
                <a:moveTo>
                  <a:pt x="0" y="7559992"/>
                </a:moveTo>
                <a:lnTo>
                  <a:pt x="10692003" y="7559992"/>
                </a:lnTo>
                <a:lnTo>
                  <a:pt x="10692003" y="0"/>
                </a:lnTo>
                <a:lnTo>
                  <a:pt x="0" y="0"/>
                </a:lnTo>
                <a:lnTo>
                  <a:pt x="0" y="7559992"/>
                </a:lnTo>
                <a:close/>
              </a:path>
            </a:pathLst>
          </a:custGeom>
          <a:solidFill>
            <a:srgbClr val="E196AA"/>
          </a:solidFill>
          <a:ln w="9525">
            <a:noFill/>
            <a:round/>
            <a:headEnd/>
            <a:tailEnd/>
          </a:ln>
        </p:spPr>
        <p:txBody>
          <a:bodyPr lIns="0" tIns="0" rIns="0" bIns="0"/>
          <a:lstStyle/>
          <a:p>
            <a:endParaRPr lang="fr-FR"/>
          </a:p>
        </p:txBody>
      </p:sp>
      <p:pic>
        <p:nvPicPr>
          <p:cNvPr id="4" name="Picture 3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727774" y="4727115"/>
            <a:ext cx="209972" cy="2100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Sommaire"/>
          <p:cNvSpPr>
            <a:spLocks noGrp="1"/>
          </p:cNvSpPr>
          <p:nvPr>
            <p:ph type="title" hasCustomPrompt="1"/>
          </p:nvPr>
        </p:nvSpPr>
        <p:spPr>
          <a:xfrm>
            <a:off x="273897" y="321585"/>
            <a:ext cx="8596209" cy="337232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200" b="1">
                <a:solidFill>
                  <a:srgbClr val="00008F"/>
                </a:solidFill>
                <a:latin typeface="+mj-lt"/>
              </a:defRPr>
            </a:lvl1pPr>
          </a:lstStyle>
          <a:p>
            <a:r>
              <a:rPr lang="en-GB" noProof="0"/>
              <a:t>Click to edit Master title style</a:t>
            </a:r>
          </a:p>
        </p:txBody>
      </p:sp>
      <p:sp>
        <p:nvSpPr>
          <p:cNvPr id="6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273895" y="674463"/>
            <a:ext cx="8596106" cy="252924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buNone/>
              <a:defRPr sz="18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noProof="0"/>
              <a:t>Click to edit Master text styles</a:t>
            </a:r>
          </a:p>
        </p:txBody>
      </p:sp>
      <p:sp>
        <p:nvSpPr>
          <p:cNvPr id="7" name="Espace réservé du contenu 8"/>
          <p:cNvSpPr>
            <a:spLocks noGrp="1"/>
          </p:cNvSpPr>
          <p:nvPr>
            <p:ph sz="quarter" idx="13" hasCustomPrompt="1"/>
          </p:nvPr>
        </p:nvSpPr>
        <p:spPr>
          <a:xfrm>
            <a:off x="228696" y="1133912"/>
            <a:ext cx="8556096" cy="3412889"/>
          </a:xfrm>
          <a:prstGeom prst="rect">
            <a:avLst/>
          </a:prstGeom>
        </p:spPr>
        <p:txBody>
          <a:bodyPr lIns="107023" tIns="53513" rIns="107023" bIns="53513"/>
          <a:lstStyle>
            <a:lvl1pPr>
              <a:lnSpc>
                <a:spcPct val="100000"/>
              </a:lnSpc>
              <a:buClr>
                <a:srgbClr val="027180"/>
              </a:buClr>
              <a:buSzPct val="85000"/>
              <a:buFont typeface="fleche_rond" pitchFamily="2" charset="0"/>
              <a:buChar char=""/>
              <a:defRPr sz="1600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buClr>
                <a:srgbClr val="027180"/>
              </a:buClr>
              <a:buSzPct val="85000"/>
              <a:buFont typeface="fleche_rond" pitchFamily="2" charset="0"/>
              <a:buChar char=""/>
              <a:defRPr sz="1400">
                <a:solidFill>
                  <a:schemeClr val="bg1"/>
                </a:solidFill>
              </a:defRPr>
            </a:lvl2pPr>
            <a:lvl3pPr marL="945748" indent="-209960">
              <a:lnSpc>
                <a:spcPct val="100000"/>
              </a:lnSpc>
              <a:buFont typeface="Source Sans Pro" pitchFamily="34" charset="0"/>
              <a:buChar char="–"/>
              <a:defRPr sz="1200">
                <a:solidFill>
                  <a:schemeClr val="bg1"/>
                </a:solidFill>
              </a:defRPr>
            </a:lvl3pPr>
            <a:lvl4pPr marL="1049799" indent="-104051">
              <a:lnSpc>
                <a:spcPct val="100000"/>
              </a:lnSpc>
              <a:buFont typeface="Source Sans Pro" pitchFamily="34" charset="0"/>
              <a:buChar char="•"/>
              <a:defRPr sz="900">
                <a:solidFill>
                  <a:schemeClr val="bg1"/>
                </a:solidFill>
              </a:defRPr>
            </a:lvl4pPr>
            <a:lvl5pPr marL="1257900" indent="-104051">
              <a:lnSpc>
                <a:spcPct val="100000"/>
              </a:lnSpc>
              <a:buFont typeface="Source Sans Pro" pitchFamily="34" charset="0"/>
              <a:buChar char="&gt;"/>
              <a:defRPr sz="7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 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8" name="Espace réservé du numéro de diapositive 4"/>
          <p:cNvSpPr>
            <a:spLocks noGrp="1"/>
          </p:cNvSpPr>
          <p:nvPr>
            <p:ph type="sldNum" sz="quarter" idx="14"/>
          </p:nvPr>
        </p:nvSpPr>
        <p:spPr>
          <a:xfrm>
            <a:off x="273150" y="4805184"/>
            <a:ext cx="252710" cy="169157"/>
          </a:xfr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38FEFB8-6B6E-4DC1-A5E4-A1258711B44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9" name="Espace réservé de la date 1"/>
          <p:cNvSpPr>
            <a:spLocks noGrp="1"/>
          </p:cNvSpPr>
          <p:nvPr>
            <p:ph type="dt" sz="half" idx="15"/>
          </p:nvPr>
        </p:nvSpPr>
        <p:spPr>
          <a:xfrm>
            <a:off x="457107" y="4755702"/>
            <a:ext cx="2133166" cy="27325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BC2263D-1238-48C0-9099-B063CBFD6574}" type="datetime1">
              <a:rPr lang="fr-FR" smtClean="0"/>
              <a:t>13/03/2023</a:t>
            </a:fld>
            <a:endParaRPr lang="fr-FR"/>
          </a:p>
        </p:txBody>
      </p:sp>
      <p:sp>
        <p:nvSpPr>
          <p:cNvPr id="10" name="Espace réservé du pied de page 2"/>
          <p:cNvSpPr>
            <a:spLocks noGrp="1"/>
          </p:cNvSpPr>
          <p:nvPr>
            <p:ph type="ftr" sz="quarter" idx="16"/>
          </p:nvPr>
        </p:nvSpPr>
        <p:spPr>
          <a:xfrm>
            <a:off x="3123567" y="4755702"/>
            <a:ext cx="2896869" cy="273254"/>
          </a:xfrm>
        </p:spPr>
        <p:txBody>
          <a:bodyPr/>
          <a:lstStyle>
            <a:lvl1pPr>
              <a:defRPr sz="900">
                <a:solidFill>
                  <a:schemeClr val="bg1"/>
                </a:solidFill>
              </a:defRPr>
            </a:lvl1pPr>
          </a:lstStyle>
          <a:p>
            <a:r>
              <a:rPr lang="fr-FR"/>
              <a:t>CONFIDENTIALITY LEVEL</a:t>
            </a:r>
          </a:p>
        </p:txBody>
      </p:sp>
    </p:spTree>
    <p:extLst>
      <p:ext uri="{BB962C8B-B14F-4D97-AF65-F5344CB8AC3E}">
        <p14:creationId xmlns:p14="http://schemas.microsoft.com/office/powerpoint/2010/main" val="111092222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7_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k object 16"/>
          <p:cNvSpPr>
            <a:spLocks/>
          </p:cNvSpPr>
          <p:nvPr userDrawn="1"/>
        </p:nvSpPr>
        <p:spPr bwMode="auto">
          <a:xfrm>
            <a:off x="0" y="2"/>
            <a:ext cx="9144000" cy="5143500"/>
          </a:xfrm>
          <a:custGeom>
            <a:avLst/>
            <a:gdLst>
              <a:gd name="T0" fmla="*/ 0 w 10692130"/>
              <a:gd name="T1" fmla="*/ 28 h 7560309"/>
              <a:gd name="T2" fmla="*/ 7838 w 10692130"/>
              <a:gd name="T3" fmla="*/ 28 h 7560309"/>
              <a:gd name="T4" fmla="*/ 7838 w 10692130"/>
              <a:gd name="T5" fmla="*/ 0 h 7560309"/>
              <a:gd name="T6" fmla="*/ 0 w 10692130"/>
              <a:gd name="T7" fmla="*/ 0 h 7560309"/>
              <a:gd name="T8" fmla="*/ 0 w 10692130"/>
              <a:gd name="T9" fmla="*/ 28 h 7560309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0692130" h="7560309">
                <a:moveTo>
                  <a:pt x="0" y="7559992"/>
                </a:moveTo>
                <a:lnTo>
                  <a:pt x="10692003" y="7559992"/>
                </a:lnTo>
                <a:lnTo>
                  <a:pt x="10692003" y="0"/>
                </a:lnTo>
                <a:lnTo>
                  <a:pt x="0" y="0"/>
                </a:lnTo>
                <a:lnTo>
                  <a:pt x="0" y="7559992"/>
                </a:lnTo>
                <a:close/>
              </a:path>
            </a:pathLst>
          </a:custGeom>
          <a:solidFill>
            <a:srgbClr val="BC9D45"/>
          </a:solidFill>
          <a:ln w="9525">
            <a:noFill/>
            <a:round/>
            <a:headEnd/>
            <a:tailEnd/>
          </a:ln>
        </p:spPr>
        <p:txBody>
          <a:bodyPr lIns="0" tIns="0" rIns="0" bIns="0"/>
          <a:lstStyle/>
          <a:p>
            <a:endParaRPr lang="fr-FR"/>
          </a:p>
        </p:txBody>
      </p:sp>
      <p:pic>
        <p:nvPicPr>
          <p:cNvPr id="4" name="Picture 3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727774" y="4727115"/>
            <a:ext cx="209972" cy="2100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Sommaire"/>
          <p:cNvSpPr>
            <a:spLocks noGrp="1"/>
          </p:cNvSpPr>
          <p:nvPr>
            <p:ph type="title" hasCustomPrompt="1"/>
          </p:nvPr>
        </p:nvSpPr>
        <p:spPr>
          <a:xfrm>
            <a:off x="273897" y="321585"/>
            <a:ext cx="8596209" cy="337232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200" b="1">
                <a:solidFill>
                  <a:srgbClr val="00008F"/>
                </a:solidFill>
                <a:latin typeface="+mj-lt"/>
              </a:defRPr>
            </a:lvl1pPr>
          </a:lstStyle>
          <a:p>
            <a:r>
              <a:rPr lang="en-GB" noProof="0"/>
              <a:t>Click to edit Master title style</a:t>
            </a:r>
          </a:p>
        </p:txBody>
      </p:sp>
      <p:sp>
        <p:nvSpPr>
          <p:cNvPr id="6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273895" y="674463"/>
            <a:ext cx="8596106" cy="252924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buNone/>
              <a:defRPr sz="18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noProof="0"/>
              <a:t>Click to edit Master text styles</a:t>
            </a:r>
          </a:p>
        </p:txBody>
      </p:sp>
      <p:sp>
        <p:nvSpPr>
          <p:cNvPr id="7" name="Espace réservé du contenu 8"/>
          <p:cNvSpPr>
            <a:spLocks noGrp="1"/>
          </p:cNvSpPr>
          <p:nvPr>
            <p:ph sz="quarter" idx="13" hasCustomPrompt="1"/>
          </p:nvPr>
        </p:nvSpPr>
        <p:spPr>
          <a:xfrm>
            <a:off x="228696" y="1133912"/>
            <a:ext cx="8556096" cy="3412889"/>
          </a:xfrm>
          <a:prstGeom prst="rect">
            <a:avLst/>
          </a:prstGeom>
        </p:spPr>
        <p:txBody>
          <a:bodyPr lIns="107023" tIns="53513" rIns="107023" bIns="53513"/>
          <a:lstStyle>
            <a:lvl1pPr>
              <a:lnSpc>
                <a:spcPct val="100000"/>
              </a:lnSpc>
              <a:buClr>
                <a:srgbClr val="027180"/>
              </a:buClr>
              <a:buSzPct val="85000"/>
              <a:buFont typeface="fleche_rond" pitchFamily="2" charset="0"/>
              <a:buChar char=""/>
              <a:defRPr sz="1600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buClr>
                <a:srgbClr val="027180"/>
              </a:buClr>
              <a:buSzPct val="85000"/>
              <a:buFont typeface="fleche_rond" pitchFamily="2" charset="0"/>
              <a:buChar char=""/>
              <a:defRPr sz="1400">
                <a:solidFill>
                  <a:schemeClr val="bg1"/>
                </a:solidFill>
              </a:defRPr>
            </a:lvl2pPr>
            <a:lvl3pPr marL="945748" indent="-209960">
              <a:lnSpc>
                <a:spcPct val="100000"/>
              </a:lnSpc>
              <a:buFont typeface="Source Sans Pro" pitchFamily="34" charset="0"/>
              <a:buChar char="–"/>
              <a:defRPr sz="1200">
                <a:solidFill>
                  <a:schemeClr val="bg1"/>
                </a:solidFill>
              </a:defRPr>
            </a:lvl3pPr>
            <a:lvl4pPr marL="1049799" indent="-104051">
              <a:lnSpc>
                <a:spcPct val="100000"/>
              </a:lnSpc>
              <a:buFont typeface="Source Sans Pro" pitchFamily="34" charset="0"/>
              <a:buChar char="•"/>
              <a:defRPr sz="900">
                <a:solidFill>
                  <a:schemeClr val="bg1"/>
                </a:solidFill>
              </a:defRPr>
            </a:lvl4pPr>
            <a:lvl5pPr marL="1257900" indent="-104051">
              <a:lnSpc>
                <a:spcPct val="100000"/>
              </a:lnSpc>
              <a:buFont typeface="Source Sans Pro" pitchFamily="34" charset="0"/>
              <a:buChar char="&gt;"/>
              <a:defRPr sz="7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 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8" name="Espace réservé du numéro de diapositive 4"/>
          <p:cNvSpPr>
            <a:spLocks noGrp="1"/>
          </p:cNvSpPr>
          <p:nvPr>
            <p:ph type="sldNum" sz="quarter" idx="14"/>
          </p:nvPr>
        </p:nvSpPr>
        <p:spPr>
          <a:xfrm>
            <a:off x="273150" y="4805184"/>
            <a:ext cx="252710" cy="169157"/>
          </a:xfr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38FEFB8-6B6E-4DC1-A5E4-A1258711B44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9" name="Espace réservé de la date 1"/>
          <p:cNvSpPr>
            <a:spLocks noGrp="1"/>
          </p:cNvSpPr>
          <p:nvPr>
            <p:ph type="dt" sz="half" idx="15"/>
          </p:nvPr>
        </p:nvSpPr>
        <p:spPr>
          <a:xfrm>
            <a:off x="457107" y="4755702"/>
            <a:ext cx="2133166" cy="27325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373A597-7C1C-4A0C-A3E4-735474B23F29}" type="datetime1">
              <a:rPr lang="fr-FR" smtClean="0"/>
              <a:t>20/03/2023</a:t>
            </a:fld>
            <a:endParaRPr lang="fr-FR"/>
          </a:p>
        </p:txBody>
      </p:sp>
      <p:sp>
        <p:nvSpPr>
          <p:cNvPr id="10" name="Espace réservé du pied de page 2"/>
          <p:cNvSpPr>
            <a:spLocks noGrp="1"/>
          </p:cNvSpPr>
          <p:nvPr>
            <p:ph type="ftr" sz="quarter" idx="16"/>
          </p:nvPr>
        </p:nvSpPr>
        <p:spPr>
          <a:xfrm>
            <a:off x="3123567" y="4755702"/>
            <a:ext cx="2896869" cy="273254"/>
          </a:xfrm>
        </p:spPr>
        <p:txBody>
          <a:bodyPr/>
          <a:lstStyle>
            <a:lvl1pPr>
              <a:defRPr sz="900">
                <a:solidFill>
                  <a:schemeClr val="bg1"/>
                </a:solidFill>
              </a:defRPr>
            </a:lvl1pPr>
          </a:lstStyle>
          <a:p>
            <a:r>
              <a:rPr lang="fr-FR"/>
              <a:t>CONFIDENTIALITY LEVEL</a:t>
            </a:r>
          </a:p>
        </p:txBody>
      </p:sp>
    </p:spTree>
    <p:extLst>
      <p:ext uri="{BB962C8B-B14F-4D97-AF65-F5344CB8AC3E}">
        <p14:creationId xmlns:p14="http://schemas.microsoft.com/office/powerpoint/2010/main" val="1616276487"/>
      </p:ext>
    </p:extLst>
  </p:cSld>
  <p:clrMapOvr>
    <a:masterClrMapping/>
  </p:clrMapOvr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7_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k object 16"/>
          <p:cNvSpPr>
            <a:spLocks/>
          </p:cNvSpPr>
          <p:nvPr userDrawn="1"/>
        </p:nvSpPr>
        <p:spPr bwMode="auto">
          <a:xfrm>
            <a:off x="0" y="2"/>
            <a:ext cx="9144000" cy="5143500"/>
          </a:xfrm>
          <a:custGeom>
            <a:avLst/>
            <a:gdLst>
              <a:gd name="T0" fmla="*/ 0 w 10692130"/>
              <a:gd name="T1" fmla="*/ 28 h 7560309"/>
              <a:gd name="T2" fmla="*/ 7838 w 10692130"/>
              <a:gd name="T3" fmla="*/ 28 h 7560309"/>
              <a:gd name="T4" fmla="*/ 7838 w 10692130"/>
              <a:gd name="T5" fmla="*/ 0 h 7560309"/>
              <a:gd name="T6" fmla="*/ 0 w 10692130"/>
              <a:gd name="T7" fmla="*/ 0 h 7560309"/>
              <a:gd name="T8" fmla="*/ 0 w 10692130"/>
              <a:gd name="T9" fmla="*/ 28 h 7560309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0692130" h="7560309">
                <a:moveTo>
                  <a:pt x="0" y="7559992"/>
                </a:moveTo>
                <a:lnTo>
                  <a:pt x="10692003" y="7559992"/>
                </a:lnTo>
                <a:lnTo>
                  <a:pt x="10692003" y="0"/>
                </a:lnTo>
                <a:lnTo>
                  <a:pt x="0" y="0"/>
                </a:lnTo>
                <a:lnTo>
                  <a:pt x="0" y="7559992"/>
                </a:lnTo>
                <a:close/>
              </a:path>
            </a:pathLst>
          </a:custGeom>
          <a:solidFill>
            <a:srgbClr val="BC9D45"/>
          </a:solidFill>
          <a:ln w="9525">
            <a:noFill/>
            <a:round/>
            <a:headEnd/>
            <a:tailEnd/>
          </a:ln>
        </p:spPr>
        <p:txBody>
          <a:bodyPr lIns="0" tIns="0" rIns="0" bIns="0"/>
          <a:lstStyle/>
          <a:p>
            <a:endParaRPr lang="fr-FR"/>
          </a:p>
        </p:txBody>
      </p:sp>
      <p:pic>
        <p:nvPicPr>
          <p:cNvPr id="4" name="Picture 3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727774" y="4727115"/>
            <a:ext cx="209972" cy="2100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Sommaire"/>
          <p:cNvSpPr>
            <a:spLocks noGrp="1"/>
          </p:cNvSpPr>
          <p:nvPr>
            <p:ph type="title" hasCustomPrompt="1"/>
          </p:nvPr>
        </p:nvSpPr>
        <p:spPr>
          <a:xfrm>
            <a:off x="273897" y="321585"/>
            <a:ext cx="8596209" cy="337232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200" b="1">
                <a:solidFill>
                  <a:srgbClr val="00008F"/>
                </a:solidFill>
                <a:latin typeface="+mj-lt"/>
              </a:defRPr>
            </a:lvl1pPr>
          </a:lstStyle>
          <a:p>
            <a:r>
              <a:rPr lang="en-GB" noProof="0"/>
              <a:t>Click to edit Master title style</a:t>
            </a:r>
          </a:p>
        </p:txBody>
      </p:sp>
      <p:sp>
        <p:nvSpPr>
          <p:cNvPr id="6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273895" y="674463"/>
            <a:ext cx="8596106" cy="252924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buNone/>
              <a:defRPr sz="18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noProof="0"/>
              <a:t>Click to edit Master text styles</a:t>
            </a:r>
          </a:p>
        </p:txBody>
      </p:sp>
      <p:sp>
        <p:nvSpPr>
          <p:cNvPr id="7" name="Espace réservé du contenu 8"/>
          <p:cNvSpPr>
            <a:spLocks noGrp="1"/>
          </p:cNvSpPr>
          <p:nvPr>
            <p:ph sz="quarter" idx="13" hasCustomPrompt="1"/>
          </p:nvPr>
        </p:nvSpPr>
        <p:spPr>
          <a:xfrm>
            <a:off x="228696" y="1133912"/>
            <a:ext cx="8556096" cy="3412889"/>
          </a:xfrm>
          <a:prstGeom prst="rect">
            <a:avLst/>
          </a:prstGeom>
        </p:spPr>
        <p:txBody>
          <a:bodyPr lIns="107023" tIns="53513" rIns="107023" bIns="53513"/>
          <a:lstStyle>
            <a:lvl1pPr>
              <a:lnSpc>
                <a:spcPct val="100000"/>
              </a:lnSpc>
              <a:buClr>
                <a:srgbClr val="027180"/>
              </a:buClr>
              <a:buSzPct val="85000"/>
              <a:buFont typeface="fleche_rond" pitchFamily="2" charset="0"/>
              <a:buChar char=""/>
              <a:defRPr sz="1600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buClr>
                <a:srgbClr val="027180"/>
              </a:buClr>
              <a:buSzPct val="85000"/>
              <a:buFont typeface="fleche_rond" pitchFamily="2" charset="0"/>
              <a:buChar char=""/>
              <a:defRPr sz="1400">
                <a:solidFill>
                  <a:schemeClr val="bg1"/>
                </a:solidFill>
              </a:defRPr>
            </a:lvl2pPr>
            <a:lvl3pPr marL="945748" indent="-209960">
              <a:lnSpc>
                <a:spcPct val="100000"/>
              </a:lnSpc>
              <a:buFont typeface="Source Sans Pro" pitchFamily="34" charset="0"/>
              <a:buChar char="–"/>
              <a:defRPr sz="1200">
                <a:solidFill>
                  <a:schemeClr val="bg1"/>
                </a:solidFill>
              </a:defRPr>
            </a:lvl3pPr>
            <a:lvl4pPr marL="1049799" indent="-104051">
              <a:lnSpc>
                <a:spcPct val="100000"/>
              </a:lnSpc>
              <a:buFont typeface="Source Sans Pro" pitchFamily="34" charset="0"/>
              <a:buChar char="•"/>
              <a:defRPr sz="900">
                <a:solidFill>
                  <a:schemeClr val="bg1"/>
                </a:solidFill>
              </a:defRPr>
            </a:lvl4pPr>
            <a:lvl5pPr marL="1257900" indent="-104051">
              <a:lnSpc>
                <a:spcPct val="100000"/>
              </a:lnSpc>
              <a:buFont typeface="Source Sans Pro" pitchFamily="34" charset="0"/>
              <a:buChar char="&gt;"/>
              <a:defRPr sz="7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 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8" name="Espace réservé du numéro de diapositive 4"/>
          <p:cNvSpPr>
            <a:spLocks noGrp="1"/>
          </p:cNvSpPr>
          <p:nvPr>
            <p:ph type="sldNum" sz="quarter" idx="14"/>
          </p:nvPr>
        </p:nvSpPr>
        <p:spPr>
          <a:xfrm>
            <a:off x="273150" y="4805184"/>
            <a:ext cx="252710" cy="169157"/>
          </a:xfr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38FEFB8-6B6E-4DC1-A5E4-A1258711B44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9" name="Espace réservé de la date 1"/>
          <p:cNvSpPr>
            <a:spLocks noGrp="1"/>
          </p:cNvSpPr>
          <p:nvPr>
            <p:ph type="dt" sz="half" idx="15"/>
          </p:nvPr>
        </p:nvSpPr>
        <p:spPr>
          <a:xfrm>
            <a:off x="457107" y="4755702"/>
            <a:ext cx="2133166" cy="27325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373A597-7C1C-4A0C-A3E4-735474B23F29}" type="datetime1">
              <a:rPr lang="fr-FR" smtClean="0"/>
              <a:t>13/03/2023</a:t>
            </a:fld>
            <a:endParaRPr lang="fr-FR"/>
          </a:p>
        </p:txBody>
      </p:sp>
      <p:sp>
        <p:nvSpPr>
          <p:cNvPr id="10" name="Espace réservé du pied de page 2"/>
          <p:cNvSpPr>
            <a:spLocks noGrp="1"/>
          </p:cNvSpPr>
          <p:nvPr>
            <p:ph type="ftr" sz="quarter" idx="16"/>
          </p:nvPr>
        </p:nvSpPr>
        <p:spPr>
          <a:xfrm>
            <a:off x="3123567" y="4755702"/>
            <a:ext cx="2896869" cy="273254"/>
          </a:xfrm>
        </p:spPr>
        <p:txBody>
          <a:bodyPr/>
          <a:lstStyle>
            <a:lvl1pPr>
              <a:defRPr sz="900">
                <a:solidFill>
                  <a:schemeClr val="bg1"/>
                </a:solidFill>
              </a:defRPr>
            </a:lvl1pPr>
          </a:lstStyle>
          <a:p>
            <a:r>
              <a:rPr lang="fr-FR"/>
              <a:t>CONFIDENTIALITY LEVEL</a:t>
            </a:r>
          </a:p>
        </p:txBody>
      </p:sp>
    </p:spTree>
    <p:extLst>
      <p:ext uri="{BB962C8B-B14F-4D97-AF65-F5344CB8AC3E}">
        <p14:creationId xmlns:p14="http://schemas.microsoft.com/office/powerpoint/2010/main" val="161627648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8_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k object 16"/>
          <p:cNvSpPr>
            <a:spLocks/>
          </p:cNvSpPr>
          <p:nvPr userDrawn="1"/>
        </p:nvSpPr>
        <p:spPr bwMode="auto">
          <a:xfrm>
            <a:off x="0" y="2"/>
            <a:ext cx="9144000" cy="5143500"/>
          </a:xfrm>
          <a:custGeom>
            <a:avLst/>
            <a:gdLst>
              <a:gd name="T0" fmla="*/ 0 w 10692130"/>
              <a:gd name="T1" fmla="*/ 28 h 7560309"/>
              <a:gd name="T2" fmla="*/ 7838 w 10692130"/>
              <a:gd name="T3" fmla="*/ 28 h 7560309"/>
              <a:gd name="T4" fmla="*/ 7838 w 10692130"/>
              <a:gd name="T5" fmla="*/ 0 h 7560309"/>
              <a:gd name="T6" fmla="*/ 0 w 10692130"/>
              <a:gd name="T7" fmla="*/ 0 h 7560309"/>
              <a:gd name="T8" fmla="*/ 0 w 10692130"/>
              <a:gd name="T9" fmla="*/ 28 h 7560309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0692130" h="7560309">
                <a:moveTo>
                  <a:pt x="0" y="7559992"/>
                </a:moveTo>
                <a:lnTo>
                  <a:pt x="10692003" y="7559992"/>
                </a:lnTo>
                <a:lnTo>
                  <a:pt x="10692003" y="0"/>
                </a:lnTo>
                <a:lnTo>
                  <a:pt x="0" y="0"/>
                </a:lnTo>
                <a:lnTo>
                  <a:pt x="0" y="7559992"/>
                </a:lnTo>
                <a:close/>
              </a:path>
            </a:pathLst>
          </a:custGeom>
          <a:solidFill>
            <a:srgbClr val="00ADC6"/>
          </a:solidFill>
          <a:ln w="9525">
            <a:noFill/>
            <a:round/>
            <a:headEnd/>
            <a:tailEnd/>
          </a:ln>
        </p:spPr>
        <p:txBody>
          <a:bodyPr lIns="0" tIns="0" rIns="0" bIns="0"/>
          <a:lstStyle/>
          <a:p>
            <a:endParaRPr lang="fr-FR"/>
          </a:p>
        </p:txBody>
      </p:sp>
      <p:pic>
        <p:nvPicPr>
          <p:cNvPr id="4" name="Picture 3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727774" y="4727115"/>
            <a:ext cx="209972" cy="2100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Sommaire"/>
          <p:cNvSpPr>
            <a:spLocks noGrp="1"/>
          </p:cNvSpPr>
          <p:nvPr>
            <p:ph type="title" hasCustomPrompt="1"/>
          </p:nvPr>
        </p:nvSpPr>
        <p:spPr>
          <a:xfrm>
            <a:off x="273897" y="321585"/>
            <a:ext cx="8596209" cy="337232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2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noProof="0"/>
              <a:t>Click to edit Master title style</a:t>
            </a:r>
          </a:p>
        </p:txBody>
      </p:sp>
      <p:sp>
        <p:nvSpPr>
          <p:cNvPr id="6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273895" y="674463"/>
            <a:ext cx="8596106" cy="252924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buNone/>
              <a:defRPr sz="18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noProof="0"/>
              <a:t>Click to edit Master text styles</a:t>
            </a:r>
          </a:p>
        </p:txBody>
      </p:sp>
      <p:sp>
        <p:nvSpPr>
          <p:cNvPr id="7" name="Espace réservé du contenu 8"/>
          <p:cNvSpPr>
            <a:spLocks noGrp="1"/>
          </p:cNvSpPr>
          <p:nvPr>
            <p:ph sz="quarter" idx="13" hasCustomPrompt="1"/>
          </p:nvPr>
        </p:nvSpPr>
        <p:spPr>
          <a:xfrm>
            <a:off x="228696" y="1133912"/>
            <a:ext cx="8556096" cy="3412889"/>
          </a:xfrm>
          <a:prstGeom prst="rect">
            <a:avLst/>
          </a:prstGeom>
        </p:spPr>
        <p:txBody>
          <a:bodyPr lIns="107023" tIns="53513" rIns="107023" bIns="53513"/>
          <a:lstStyle>
            <a:lvl1pPr>
              <a:lnSpc>
                <a:spcPct val="100000"/>
              </a:lnSpc>
              <a:buClr>
                <a:schemeClr val="bg1"/>
              </a:buClr>
              <a:buSzPct val="85000"/>
              <a:buFont typeface="fleche_rond" pitchFamily="2" charset="0"/>
              <a:buChar char=""/>
              <a:defRPr sz="1600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buClr>
                <a:schemeClr val="bg1"/>
              </a:buClr>
              <a:buSzPct val="85000"/>
              <a:buFont typeface="fleche_rond" pitchFamily="2" charset="0"/>
              <a:buChar char=""/>
              <a:defRPr sz="1400">
                <a:solidFill>
                  <a:schemeClr val="bg1"/>
                </a:solidFill>
              </a:defRPr>
            </a:lvl2pPr>
            <a:lvl3pPr marL="945748" indent="-209960">
              <a:lnSpc>
                <a:spcPct val="100000"/>
              </a:lnSpc>
              <a:buClr>
                <a:schemeClr val="bg1"/>
              </a:buClr>
              <a:buFont typeface="Source Sans Pro" pitchFamily="34" charset="0"/>
              <a:buChar char="–"/>
              <a:defRPr sz="1200">
                <a:solidFill>
                  <a:schemeClr val="bg1"/>
                </a:solidFill>
              </a:defRPr>
            </a:lvl3pPr>
            <a:lvl4pPr marL="1049799" indent="-104051">
              <a:lnSpc>
                <a:spcPct val="100000"/>
              </a:lnSpc>
              <a:buClr>
                <a:schemeClr val="bg1"/>
              </a:buClr>
              <a:buFont typeface="Source Sans Pro" pitchFamily="34" charset="0"/>
              <a:buChar char="•"/>
              <a:defRPr sz="900">
                <a:solidFill>
                  <a:schemeClr val="bg1"/>
                </a:solidFill>
              </a:defRPr>
            </a:lvl4pPr>
            <a:lvl5pPr marL="1257900" indent="-104051">
              <a:lnSpc>
                <a:spcPct val="100000"/>
              </a:lnSpc>
              <a:buClr>
                <a:schemeClr val="bg1"/>
              </a:buClr>
              <a:buFont typeface="Source Sans Pro" pitchFamily="34" charset="0"/>
              <a:buChar char="&gt;"/>
              <a:defRPr sz="7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 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8" name="Espace réservé du numéro de diapositive 4"/>
          <p:cNvSpPr>
            <a:spLocks noGrp="1"/>
          </p:cNvSpPr>
          <p:nvPr>
            <p:ph type="sldNum" sz="quarter" idx="14"/>
          </p:nvPr>
        </p:nvSpPr>
        <p:spPr>
          <a:xfrm>
            <a:off x="273150" y="4805184"/>
            <a:ext cx="252710" cy="169157"/>
          </a:xfr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38FEFB8-6B6E-4DC1-A5E4-A1258711B44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9" name="Espace réservé de la date 1"/>
          <p:cNvSpPr>
            <a:spLocks noGrp="1"/>
          </p:cNvSpPr>
          <p:nvPr>
            <p:ph type="dt" sz="half" idx="15"/>
          </p:nvPr>
        </p:nvSpPr>
        <p:spPr>
          <a:xfrm>
            <a:off x="457107" y="4755702"/>
            <a:ext cx="2133166" cy="27325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E1990DF-CEAF-43D4-8B57-AB8A817C3F5E}" type="datetime1">
              <a:rPr lang="fr-FR" smtClean="0"/>
              <a:t>20/03/2023</a:t>
            </a:fld>
            <a:endParaRPr lang="fr-FR"/>
          </a:p>
        </p:txBody>
      </p:sp>
      <p:sp>
        <p:nvSpPr>
          <p:cNvPr id="10" name="Espace réservé du pied de page 2"/>
          <p:cNvSpPr>
            <a:spLocks noGrp="1"/>
          </p:cNvSpPr>
          <p:nvPr>
            <p:ph type="ftr" sz="quarter" idx="16"/>
          </p:nvPr>
        </p:nvSpPr>
        <p:spPr>
          <a:xfrm>
            <a:off x="3123567" y="4755702"/>
            <a:ext cx="2896869" cy="273254"/>
          </a:xfrm>
        </p:spPr>
        <p:txBody>
          <a:bodyPr/>
          <a:lstStyle>
            <a:lvl1pPr>
              <a:defRPr sz="900">
                <a:solidFill>
                  <a:schemeClr val="bg1"/>
                </a:solidFill>
              </a:defRPr>
            </a:lvl1pPr>
          </a:lstStyle>
          <a:p>
            <a:r>
              <a:rPr lang="fr-FR"/>
              <a:t>CONFIDENTIALITY LEVEL</a:t>
            </a:r>
          </a:p>
        </p:txBody>
      </p:sp>
    </p:spTree>
    <p:extLst>
      <p:ext uri="{BB962C8B-B14F-4D97-AF65-F5344CB8AC3E}">
        <p14:creationId xmlns:p14="http://schemas.microsoft.com/office/powerpoint/2010/main" val="3599648623"/>
      </p:ext>
    </p:extLst>
  </p:cSld>
  <p:clrMapOvr>
    <a:masterClrMapping/>
  </p:clrMapOvr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8_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k object 16"/>
          <p:cNvSpPr>
            <a:spLocks/>
          </p:cNvSpPr>
          <p:nvPr userDrawn="1"/>
        </p:nvSpPr>
        <p:spPr bwMode="auto">
          <a:xfrm>
            <a:off x="0" y="2"/>
            <a:ext cx="9144000" cy="5143500"/>
          </a:xfrm>
          <a:custGeom>
            <a:avLst/>
            <a:gdLst>
              <a:gd name="T0" fmla="*/ 0 w 10692130"/>
              <a:gd name="T1" fmla="*/ 28 h 7560309"/>
              <a:gd name="T2" fmla="*/ 7838 w 10692130"/>
              <a:gd name="T3" fmla="*/ 28 h 7560309"/>
              <a:gd name="T4" fmla="*/ 7838 w 10692130"/>
              <a:gd name="T5" fmla="*/ 0 h 7560309"/>
              <a:gd name="T6" fmla="*/ 0 w 10692130"/>
              <a:gd name="T7" fmla="*/ 0 h 7560309"/>
              <a:gd name="T8" fmla="*/ 0 w 10692130"/>
              <a:gd name="T9" fmla="*/ 28 h 7560309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0692130" h="7560309">
                <a:moveTo>
                  <a:pt x="0" y="7559992"/>
                </a:moveTo>
                <a:lnTo>
                  <a:pt x="10692003" y="7559992"/>
                </a:lnTo>
                <a:lnTo>
                  <a:pt x="10692003" y="0"/>
                </a:lnTo>
                <a:lnTo>
                  <a:pt x="0" y="0"/>
                </a:lnTo>
                <a:lnTo>
                  <a:pt x="0" y="7559992"/>
                </a:lnTo>
                <a:close/>
              </a:path>
            </a:pathLst>
          </a:custGeom>
          <a:solidFill>
            <a:srgbClr val="00ADC6"/>
          </a:solidFill>
          <a:ln w="9525">
            <a:noFill/>
            <a:round/>
            <a:headEnd/>
            <a:tailEnd/>
          </a:ln>
        </p:spPr>
        <p:txBody>
          <a:bodyPr lIns="0" tIns="0" rIns="0" bIns="0"/>
          <a:lstStyle/>
          <a:p>
            <a:endParaRPr lang="fr-FR"/>
          </a:p>
        </p:txBody>
      </p:sp>
      <p:pic>
        <p:nvPicPr>
          <p:cNvPr id="4" name="Picture 3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727774" y="4727115"/>
            <a:ext cx="209972" cy="2100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Sommaire"/>
          <p:cNvSpPr>
            <a:spLocks noGrp="1"/>
          </p:cNvSpPr>
          <p:nvPr>
            <p:ph type="title" hasCustomPrompt="1"/>
          </p:nvPr>
        </p:nvSpPr>
        <p:spPr>
          <a:xfrm>
            <a:off x="273897" y="321585"/>
            <a:ext cx="8596209" cy="337232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2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noProof="0"/>
              <a:t>Click to edit Master title style</a:t>
            </a:r>
          </a:p>
        </p:txBody>
      </p:sp>
      <p:sp>
        <p:nvSpPr>
          <p:cNvPr id="6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273895" y="674463"/>
            <a:ext cx="8596106" cy="252924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buNone/>
              <a:defRPr sz="18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noProof="0"/>
              <a:t>Click to edit Master text styles</a:t>
            </a:r>
          </a:p>
        </p:txBody>
      </p:sp>
      <p:sp>
        <p:nvSpPr>
          <p:cNvPr id="7" name="Espace réservé du contenu 8"/>
          <p:cNvSpPr>
            <a:spLocks noGrp="1"/>
          </p:cNvSpPr>
          <p:nvPr>
            <p:ph sz="quarter" idx="13" hasCustomPrompt="1"/>
          </p:nvPr>
        </p:nvSpPr>
        <p:spPr>
          <a:xfrm>
            <a:off x="228696" y="1133912"/>
            <a:ext cx="8556096" cy="3412889"/>
          </a:xfrm>
          <a:prstGeom prst="rect">
            <a:avLst/>
          </a:prstGeom>
        </p:spPr>
        <p:txBody>
          <a:bodyPr lIns="107023" tIns="53513" rIns="107023" bIns="53513"/>
          <a:lstStyle>
            <a:lvl1pPr>
              <a:lnSpc>
                <a:spcPct val="100000"/>
              </a:lnSpc>
              <a:buClr>
                <a:schemeClr val="bg1"/>
              </a:buClr>
              <a:buSzPct val="85000"/>
              <a:buFont typeface="fleche_rond" pitchFamily="2" charset="0"/>
              <a:buChar char=""/>
              <a:defRPr sz="1600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buClr>
                <a:schemeClr val="bg1"/>
              </a:buClr>
              <a:buSzPct val="85000"/>
              <a:buFont typeface="fleche_rond" pitchFamily="2" charset="0"/>
              <a:buChar char=""/>
              <a:defRPr sz="1400">
                <a:solidFill>
                  <a:schemeClr val="bg1"/>
                </a:solidFill>
              </a:defRPr>
            </a:lvl2pPr>
            <a:lvl3pPr marL="945748" indent="-209960">
              <a:lnSpc>
                <a:spcPct val="100000"/>
              </a:lnSpc>
              <a:buClr>
                <a:schemeClr val="bg1"/>
              </a:buClr>
              <a:buFont typeface="Source Sans Pro" pitchFamily="34" charset="0"/>
              <a:buChar char="–"/>
              <a:defRPr sz="1200">
                <a:solidFill>
                  <a:schemeClr val="bg1"/>
                </a:solidFill>
              </a:defRPr>
            </a:lvl3pPr>
            <a:lvl4pPr marL="1049799" indent="-104051">
              <a:lnSpc>
                <a:spcPct val="100000"/>
              </a:lnSpc>
              <a:buClr>
                <a:schemeClr val="bg1"/>
              </a:buClr>
              <a:buFont typeface="Source Sans Pro" pitchFamily="34" charset="0"/>
              <a:buChar char="•"/>
              <a:defRPr sz="900">
                <a:solidFill>
                  <a:schemeClr val="bg1"/>
                </a:solidFill>
              </a:defRPr>
            </a:lvl4pPr>
            <a:lvl5pPr marL="1257900" indent="-104051">
              <a:lnSpc>
                <a:spcPct val="100000"/>
              </a:lnSpc>
              <a:buClr>
                <a:schemeClr val="bg1"/>
              </a:buClr>
              <a:buFont typeface="Source Sans Pro" pitchFamily="34" charset="0"/>
              <a:buChar char="&gt;"/>
              <a:defRPr sz="7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 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8" name="Espace réservé du numéro de diapositive 4"/>
          <p:cNvSpPr>
            <a:spLocks noGrp="1"/>
          </p:cNvSpPr>
          <p:nvPr>
            <p:ph type="sldNum" sz="quarter" idx="14"/>
          </p:nvPr>
        </p:nvSpPr>
        <p:spPr>
          <a:xfrm>
            <a:off x="273150" y="4805184"/>
            <a:ext cx="252710" cy="169157"/>
          </a:xfr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38FEFB8-6B6E-4DC1-A5E4-A1258711B44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9" name="Espace réservé de la date 1"/>
          <p:cNvSpPr>
            <a:spLocks noGrp="1"/>
          </p:cNvSpPr>
          <p:nvPr>
            <p:ph type="dt" sz="half" idx="15"/>
          </p:nvPr>
        </p:nvSpPr>
        <p:spPr>
          <a:xfrm>
            <a:off x="457107" y="4755702"/>
            <a:ext cx="2133166" cy="27325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E1990DF-CEAF-43D4-8B57-AB8A817C3F5E}" type="datetime1">
              <a:rPr lang="fr-FR" smtClean="0"/>
              <a:t>13/03/2023</a:t>
            </a:fld>
            <a:endParaRPr lang="fr-FR"/>
          </a:p>
        </p:txBody>
      </p:sp>
      <p:sp>
        <p:nvSpPr>
          <p:cNvPr id="10" name="Espace réservé du pied de page 2"/>
          <p:cNvSpPr>
            <a:spLocks noGrp="1"/>
          </p:cNvSpPr>
          <p:nvPr>
            <p:ph type="ftr" sz="quarter" idx="16"/>
          </p:nvPr>
        </p:nvSpPr>
        <p:spPr>
          <a:xfrm>
            <a:off x="3123567" y="4755702"/>
            <a:ext cx="2896869" cy="273254"/>
          </a:xfrm>
        </p:spPr>
        <p:txBody>
          <a:bodyPr/>
          <a:lstStyle>
            <a:lvl1pPr>
              <a:defRPr sz="900">
                <a:solidFill>
                  <a:schemeClr val="bg1"/>
                </a:solidFill>
              </a:defRPr>
            </a:lvl1pPr>
          </a:lstStyle>
          <a:p>
            <a:r>
              <a:rPr lang="fr-FR"/>
              <a:t>CONFIDENTIALITY LEVEL</a:t>
            </a:r>
          </a:p>
        </p:txBody>
      </p:sp>
    </p:spTree>
    <p:extLst>
      <p:ext uri="{BB962C8B-B14F-4D97-AF65-F5344CB8AC3E}">
        <p14:creationId xmlns:p14="http://schemas.microsoft.com/office/powerpoint/2010/main" val="359964862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9_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k object 16"/>
          <p:cNvSpPr>
            <a:spLocks/>
          </p:cNvSpPr>
          <p:nvPr userDrawn="1"/>
        </p:nvSpPr>
        <p:spPr bwMode="auto">
          <a:xfrm>
            <a:off x="0" y="2"/>
            <a:ext cx="9144000" cy="5143500"/>
          </a:xfrm>
          <a:custGeom>
            <a:avLst/>
            <a:gdLst>
              <a:gd name="T0" fmla="*/ 0 w 10692130"/>
              <a:gd name="T1" fmla="*/ 28 h 7560309"/>
              <a:gd name="T2" fmla="*/ 7838 w 10692130"/>
              <a:gd name="T3" fmla="*/ 28 h 7560309"/>
              <a:gd name="T4" fmla="*/ 7838 w 10692130"/>
              <a:gd name="T5" fmla="*/ 0 h 7560309"/>
              <a:gd name="T6" fmla="*/ 0 w 10692130"/>
              <a:gd name="T7" fmla="*/ 0 h 7560309"/>
              <a:gd name="T8" fmla="*/ 0 w 10692130"/>
              <a:gd name="T9" fmla="*/ 28 h 7560309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0692130" h="7560309">
                <a:moveTo>
                  <a:pt x="0" y="7559992"/>
                </a:moveTo>
                <a:lnTo>
                  <a:pt x="10692003" y="7559992"/>
                </a:lnTo>
                <a:lnTo>
                  <a:pt x="10692003" y="0"/>
                </a:lnTo>
                <a:lnTo>
                  <a:pt x="0" y="0"/>
                </a:lnTo>
                <a:lnTo>
                  <a:pt x="0" y="7559992"/>
                </a:lnTo>
                <a:close/>
              </a:path>
            </a:pathLst>
          </a:custGeom>
          <a:solidFill>
            <a:srgbClr val="9FD9B4"/>
          </a:solidFill>
          <a:ln w="9525">
            <a:noFill/>
            <a:round/>
            <a:headEnd/>
            <a:tailEnd/>
          </a:ln>
        </p:spPr>
        <p:txBody>
          <a:bodyPr lIns="0" tIns="0" rIns="0" bIns="0"/>
          <a:lstStyle/>
          <a:p>
            <a:endParaRPr lang="fr-FR"/>
          </a:p>
        </p:txBody>
      </p:sp>
      <p:pic>
        <p:nvPicPr>
          <p:cNvPr id="5" name="Picture 2" descr="C:\Harpreet AXA Files\Harpreet\NEW AXA Guidelines\Logos\AXA Group - GIE - Logos\axa_logo_open_blue_rgb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27775" y="4727115"/>
            <a:ext cx="209972" cy="2100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Sommaire"/>
          <p:cNvSpPr>
            <a:spLocks noGrp="1"/>
          </p:cNvSpPr>
          <p:nvPr>
            <p:ph type="title" hasCustomPrompt="1"/>
          </p:nvPr>
        </p:nvSpPr>
        <p:spPr>
          <a:xfrm>
            <a:off x="273897" y="321585"/>
            <a:ext cx="8596209" cy="337232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200" b="1">
                <a:solidFill>
                  <a:srgbClr val="00008F"/>
                </a:solidFill>
                <a:latin typeface="+mj-lt"/>
              </a:defRPr>
            </a:lvl1pPr>
          </a:lstStyle>
          <a:p>
            <a:r>
              <a:rPr lang="en-GB" noProof="0"/>
              <a:t>Click to edit Master title style</a:t>
            </a:r>
          </a:p>
        </p:txBody>
      </p:sp>
      <p:sp>
        <p:nvSpPr>
          <p:cNvPr id="7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273895" y="674463"/>
            <a:ext cx="8596106" cy="252924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buNone/>
              <a:defRPr sz="1800">
                <a:solidFill>
                  <a:schemeClr val="bg2">
                    <a:lumMod val="10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en-GB" noProof="0"/>
              <a:t>Click to edit Master text styles</a:t>
            </a:r>
          </a:p>
        </p:txBody>
      </p:sp>
      <p:sp>
        <p:nvSpPr>
          <p:cNvPr id="8" name="Espace réservé du contenu 8"/>
          <p:cNvSpPr>
            <a:spLocks noGrp="1"/>
          </p:cNvSpPr>
          <p:nvPr>
            <p:ph sz="quarter" idx="13" hasCustomPrompt="1"/>
          </p:nvPr>
        </p:nvSpPr>
        <p:spPr>
          <a:xfrm>
            <a:off x="228696" y="1133912"/>
            <a:ext cx="8556096" cy="3412889"/>
          </a:xfrm>
          <a:prstGeom prst="rect">
            <a:avLst/>
          </a:prstGeom>
        </p:spPr>
        <p:txBody>
          <a:bodyPr lIns="107023" tIns="53513" rIns="107023" bIns="53513"/>
          <a:lstStyle>
            <a:lvl1pPr>
              <a:lnSpc>
                <a:spcPct val="100000"/>
              </a:lnSpc>
              <a:buClr>
                <a:srgbClr val="027180"/>
              </a:buClr>
              <a:buSzPct val="85000"/>
              <a:buFont typeface="fleche_rond" pitchFamily="2" charset="0"/>
              <a:buChar char=""/>
              <a:defRPr sz="1600">
                <a:solidFill>
                  <a:schemeClr val="bg2">
                    <a:lumMod val="10000"/>
                  </a:schemeClr>
                </a:solidFill>
              </a:defRPr>
            </a:lvl1pPr>
            <a:lvl2pPr>
              <a:lnSpc>
                <a:spcPct val="100000"/>
              </a:lnSpc>
              <a:buClr>
                <a:srgbClr val="027180"/>
              </a:buClr>
              <a:buSzPct val="85000"/>
              <a:buFont typeface="fleche_rond" pitchFamily="2" charset="0"/>
              <a:buChar char=""/>
              <a:defRPr sz="1400">
                <a:solidFill>
                  <a:schemeClr val="bg2">
                    <a:lumMod val="10000"/>
                  </a:schemeClr>
                </a:solidFill>
              </a:defRPr>
            </a:lvl2pPr>
            <a:lvl3pPr marL="945748" indent="-209960">
              <a:lnSpc>
                <a:spcPct val="100000"/>
              </a:lnSpc>
              <a:buFont typeface="Source Sans Pro" pitchFamily="34" charset="0"/>
              <a:buChar char="–"/>
              <a:defRPr sz="1200">
                <a:solidFill>
                  <a:schemeClr val="bg2">
                    <a:lumMod val="10000"/>
                  </a:schemeClr>
                </a:solidFill>
              </a:defRPr>
            </a:lvl3pPr>
            <a:lvl4pPr marL="1049799" indent="-104051">
              <a:lnSpc>
                <a:spcPct val="100000"/>
              </a:lnSpc>
              <a:buFont typeface="Source Sans Pro" pitchFamily="34" charset="0"/>
              <a:buChar char="•"/>
              <a:defRPr sz="900">
                <a:solidFill>
                  <a:schemeClr val="bg2">
                    <a:lumMod val="10000"/>
                  </a:schemeClr>
                </a:solidFill>
              </a:defRPr>
            </a:lvl4pPr>
            <a:lvl5pPr marL="1257900" indent="-104051">
              <a:lnSpc>
                <a:spcPct val="100000"/>
              </a:lnSpc>
              <a:buFont typeface="Source Sans Pro" pitchFamily="34" charset="0"/>
              <a:buChar char="&gt;"/>
              <a:defRPr sz="700">
                <a:solidFill>
                  <a:schemeClr val="bg2">
                    <a:lumMod val="10000"/>
                  </a:schemeClr>
                </a:solidFill>
              </a:defRPr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 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9" name="Espace réservé du numéro de diapositive 4"/>
          <p:cNvSpPr>
            <a:spLocks noGrp="1"/>
          </p:cNvSpPr>
          <p:nvPr>
            <p:ph type="sldNum" sz="quarter" idx="14"/>
          </p:nvPr>
        </p:nvSpPr>
        <p:spPr>
          <a:xfrm>
            <a:off x="273150" y="4805184"/>
            <a:ext cx="252710" cy="169157"/>
          </a:xfrm>
        </p:spPr>
        <p:txBody>
          <a:bodyPr anchor="ctr"/>
          <a:lstStyle>
            <a:lvl1pPr>
              <a:defRPr>
                <a:solidFill>
                  <a:schemeClr val="bg2">
                    <a:lumMod val="10000"/>
                  </a:schemeClr>
                </a:solidFill>
              </a:defRPr>
            </a:lvl1pPr>
          </a:lstStyle>
          <a:p>
            <a:fld id="{438FEFB8-6B6E-4DC1-A5E4-A1258711B44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0" name="Espace réservé de la date 1"/>
          <p:cNvSpPr>
            <a:spLocks noGrp="1"/>
          </p:cNvSpPr>
          <p:nvPr>
            <p:ph type="dt" sz="half" idx="15"/>
          </p:nvPr>
        </p:nvSpPr>
        <p:spPr>
          <a:xfrm>
            <a:off x="457107" y="4755702"/>
            <a:ext cx="2133166" cy="273254"/>
          </a:xfrm>
        </p:spPr>
        <p:txBody>
          <a:bodyPr/>
          <a:lstStyle>
            <a:lvl1pPr>
              <a:defRPr>
                <a:solidFill>
                  <a:schemeClr val="bg2">
                    <a:lumMod val="10000"/>
                  </a:schemeClr>
                </a:solidFill>
              </a:defRPr>
            </a:lvl1pPr>
          </a:lstStyle>
          <a:p>
            <a:fld id="{6114F140-DC1B-4B2D-AA4E-47AA8B10883A}" type="datetime1">
              <a:rPr lang="fr-FR" smtClean="0"/>
              <a:t>20/03/2023</a:t>
            </a:fld>
            <a:endParaRPr lang="fr-FR"/>
          </a:p>
        </p:txBody>
      </p:sp>
      <p:sp>
        <p:nvSpPr>
          <p:cNvPr id="11" name="Espace réservé du pied de page 2"/>
          <p:cNvSpPr>
            <a:spLocks noGrp="1"/>
          </p:cNvSpPr>
          <p:nvPr>
            <p:ph type="ftr" sz="quarter" idx="16"/>
          </p:nvPr>
        </p:nvSpPr>
        <p:spPr>
          <a:xfrm>
            <a:off x="3123567" y="4755702"/>
            <a:ext cx="2896869" cy="273254"/>
          </a:xfrm>
        </p:spPr>
        <p:txBody>
          <a:bodyPr/>
          <a:lstStyle>
            <a:lvl1pPr>
              <a:defRPr sz="900">
                <a:solidFill>
                  <a:schemeClr val="bg2">
                    <a:lumMod val="10000"/>
                  </a:schemeClr>
                </a:solidFill>
              </a:defRPr>
            </a:lvl1pPr>
          </a:lstStyle>
          <a:p>
            <a:r>
              <a:rPr lang="fr-FR"/>
              <a:t>CONFIDENTIALITY LEVEL</a:t>
            </a:r>
          </a:p>
        </p:txBody>
      </p:sp>
    </p:spTree>
    <p:extLst>
      <p:ext uri="{BB962C8B-B14F-4D97-AF65-F5344CB8AC3E}">
        <p14:creationId xmlns:p14="http://schemas.microsoft.com/office/powerpoint/2010/main" val="602751691"/>
      </p:ext>
    </p:extLst>
  </p:cSld>
  <p:clrMapOvr>
    <a:masterClrMapping/>
  </p:clrMapOvr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9_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k object 16"/>
          <p:cNvSpPr>
            <a:spLocks/>
          </p:cNvSpPr>
          <p:nvPr userDrawn="1"/>
        </p:nvSpPr>
        <p:spPr bwMode="auto">
          <a:xfrm>
            <a:off x="0" y="2"/>
            <a:ext cx="9144000" cy="5143500"/>
          </a:xfrm>
          <a:custGeom>
            <a:avLst/>
            <a:gdLst>
              <a:gd name="T0" fmla="*/ 0 w 10692130"/>
              <a:gd name="T1" fmla="*/ 28 h 7560309"/>
              <a:gd name="T2" fmla="*/ 7838 w 10692130"/>
              <a:gd name="T3" fmla="*/ 28 h 7560309"/>
              <a:gd name="T4" fmla="*/ 7838 w 10692130"/>
              <a:gd name="T5" fmla="*/ 0 h 7560309"/>
              <a:gd name="T6" fmla="*/ 0 w 10692130"/>
              <a:gd name="T7" fmla="*/ 0 h 7560309"/>
              <a:gd name="T8" fmla="*/ 0 w 10692130"/>
              <a:gd name="T9" fmla="*/ 28 h 7560309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0692130" h="7560309">
                <a:moveTo>
                  <a:pt x="0" y="7559992"/>
                </a:moveTo>
                <a:lnTo>
                  <a:pt x="10692003" y="7559992"/>
                </a:lnTo>
                <a:lnTo>
                  <a:pt x="10692003" y="0"/>
                </a:lnTo>
                <a:lnTo>
                  <a:pt x="0" y="0"/>
                </a:lnTo>
                <a:lnTo>
                  <a:pt x="0" y="7559992"/>
                </a:lnTo>
                <a:close/>
              </a:path>
            </a:pathLst>
          </a:custGeom>
          <a:solidFill>
            <a:srgbClr val="9FD9B4"/>
          </a:solidFill>
          <a:ln w="9525">
            <a:noFill/>
            <a:round/>
            <a:headEnd/>
            <a:tailEnd/>
          </a:ln>
        </p:spPr>
        <p:txBody>
          <a:bodyPr lIns="0" tIns="0" rIns="0" bIns="0"/>
          <a:lstStyle/>
          <a:p>
            <a:endParaRPr lang="fr-FR"/>
          </a:p>
        </p:txBody>
      </p:sp>
      <p:pic>
        <p:nvPicPr>
          <p:cNvPr id="5" name="Picture 2" descr="C:\Harpreet AXA Files\Harpreet\NEW AXA Guidelines\Logos\AXA Group - GIE - Logos\axa_logo_open_blue_rgb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27775" y="4727115"/>
            <a:ext cx="209972" cy="2100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Sommaire"/>
          <p:cNvSpPr>
            <a:spLocks noGrp="1"/>
          </p:cNvSpPr>
          <p:nvPr>
            <p:ph type="title" hasCustomPrompt="1"/>
          </p:nvPr>
        </p:nvSpPr>
        <p:spPr>
          <a:xfrm>
            <a:off x="273897" y="321585"/>
            <a:ext cx="8596209" cy="337232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200" b="1">
                <a:solidFill>
                  <a:srgbClr val="00008F"/>
                </a:solidFill>
                <a:latin typeface="+mj-lt"/>
              </a:defRPr>
            </a:lvl1pPr>
          </a:lstStyle>
          <a:p>
            <a:r>
              <a:rPr lang="en-GB" noProof="0"/>
              <a:t>Click to edit Master title style</a:t>
            </a:r>
          </a:p>
        </p:txBody>
      </p:sp>
      <p:sp>
        <p:nvSpPr>
          <p:cNvPr id="7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273895" y="674463"/>
            <a:ext cx="8596106" cy="252924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buNone/>
              <a:defRPr sz="1800">
                <a:solidFill>
                  <a:schemeClr val="bg2">
                    <a:lumMod val="10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en-GB" noProof="0"/>
              <a:t>Click to edit Master text styles</a:t>
            </a:r>
          </a:p>
        </p:txBody>
      </p:sp>
      <p:sp>
        <p:nvSpPr>
          <p:cNvPr id="8" name="Espace réservé du contenu 8"/>
          <p:cNvSpPr>
            <a:spLocks noGrp="1"/>
          </p:cNvSpPr>
          <p:nvPr>
            <p:ph sz="quarter" idx="13" hasCustomPrompt="1"/>
          </p:nvPr>
        </p:nvSpPr>
        <p:spPr>
          <a:xfrm>
            <a:off x="228696" y="1133912"/>
            <a:ext cx="8556096" cy="3412889"/>
          </a:xfrm>
          <a:prstGeom prst="rect">
            <a:avLst/>
          </a:prstGeom>
        </p:spPr>
        <p:txBody>
          <a:bodyPr lIns="107023" tIns="53513" rIns="107023" bIns="53513"/>
          <a:lstStyle>
            <a:lvl1pPr>
              <a:lnSpc>
                <a:spcPct val="100000"/>
              </a:lnSpc>
              <a:buClr>
                <a:srgbClr val="027180"/>
              </a:buClr>
              <a:buSzPct val="85000"/>
              <a:buFont typeface="fleche_rond" pitchFamily="2" charset="0"/>
              <a:buChar char=""/>
              <a:defRPr sz="1600">
                <a:solidFill>
                  <a:schemeClr val="bg2">
                    <a:lumMod val="10000"/>
                  </a:schemeClr>
                </a:solidFill>
              </a:defRPr>
            </a:lvl1pPr>
            <a:lvl2pPr>
              <a:lnSpc>
                <a:spcPct val="100000"/>
              </a:lnSpc>
              <a:buClr>
                <a:srgbClr val="027180"/>
              </a:buClr>
              <a:buSzPct val="85000"/>
              <a:buFont typeface="fleche_rond" pitchFamily="2" charset="0"/>
              <a:buChar char=""/>
              <a:defRPr sz="1400">
                <a:solidFill>
                  <a:schemeClr val="bg2">
                    <a:lumMod val="10000"/>
                  </a:schemeClr>
                </a:solidFill>
              </a:defRPr>
            </a:lvl2pPr>
            <a:lvl3pPr marL="945748" indent="-209960">
              <a:lnSpc>
                <a:spcPct val="100000"/>
              </a:lnSpc>
              <a:buFont typeface="Source Sans Pro" pitchFamily="34" charset="0"/>
              <a:buChar char="–"/>
              <a:defRPr sz="1200">
                <a:solidFill>
                  <a:schemeClr val="bg2">
                    <a:lumMod val="10000"/>
                  </a:schemeClr>
                </a:solidFill>
              </a:defRPr>
            </a:lvl3pPr>
            <a:lvl4pPr marL="1049799" indent="-104051">
              <a:lnSpc>
                <a:spcPct val="100000"/>
              </a:lnSpc>
              <a:buFont typeface="Source Sans Pro" pitchFamily="34" charset="0"/>
              <a:buChar char="•"/>
              <a:defRPr sz="900">
                <a:solidFill>
                  <a:schemeClr val="bg2">
                    <a:lumMod val="10000"/>
                  </a:schemeClr>
                </a:solidFill>
              </a:defRPr>
            </a:lvl4pPr>
            <a:lvl5pPr marL="1257900" indent="-104051">
              <a:lnSpc>
                <a:spcPct val="100000"/>
              </a:lnSpc>
              <a:buFont typeface="Source Sans Pro" pitchFamily="34" charset="0"/>
              <a:buChar char="&gt;"/>
              <a:defRPr sz="700">
                <a:solidFill>
                  <a:schemeClr val="bg2">
                    <a:lumMod val="10000"/>
                  </a:schemeClr>
                </a:solidFill>
              </a:defRPr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 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9" name="Espace réservé du numéro de diapositive 4"/>
          <p:cNvSpPr>
            <a:spLocks noGrp="1"/>
          </p:cNvSpPr>
          <p:nvPr>
            <p:ph type="sldNum" sz="quarter" idx="14"/>
          </p:nvPr>
        </p:nvSpPr>
        <p:spPr>
          <a:xfrm>
            <a:off x="273150" y="4805184"/>
            <a:ext cx="252710" cy="169157"/>
          </a:xfrm>
        </p:spPr>
        <p:txBody>
          <a:bodyPr anchor="ctr"/>
          <a:lstStyle>
            <a:lvl1pPr>
              <a:defRPr>
                <a:solidFill>
                  <a:schemeClr val="bg2">
                    <a:lumMod val="10000"/>
                  </a:schemeClr>
                </a:solidFill>
              </a:defRPr>
            </a:lvl1pPr>
          </a:lstStyle>
          <a:p>
            <a:fld id="{438FEFB8-6B6E-4DC1-A5E4-A1258711B44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0" name="Espace réservé de la date 1"/>
          <p:cNvSpPr>
            <a:spLocks noGrp="1"/>
          </p:cNvSpPr>
          <p:nvPr>
            <p:ph type="dt" sz="half" idx="15"/>
          </p:nvPr>
        </p:nvSpPr>
        <p:spPr>
          <a:xfrm>
            <a:off x="457107" y="4755702"/>
            <a:ext cx="2133166" cy="273254"/>
          </a:xfrm>
        </p:spPr>
        <p:txBody>
          <a:bodyPr/>
          <a:lstStyle>
            <a:lvl1pPr>
              <a:defRPr>
                <a:solidFill>
                  <a:schemeClr val="bg2">
                    <a:lumMod val="10000"/>
                  </a:schemeClr>
                </a:solidFill>
              </a:defRPr>
            </a:lvl1pPr>
          </a:lstStyle>
          <a:p>
            <a:fld id="{6114F140-DC1B-4B2D-AA4E-47AA8B10883A}" type="datetime1">
              <a:rPr lang="fr-FR" smtClean="0"/>
              <a:t>13/03/2023</a:t>
            </a:fld>
            <a:endParaRPr lang="fr-FR"/>
          </a:p>
        </p:txBody>
      </p:sp>
      <p:sp>
        <p:nvSpPr>
          <p:cNvPr id="11" name="Espace réservé du pied de page 2"/>
          <p:cNvSpPr>
            <a:spLocks noGrp="1"/>
          </p:cNvSpPr>
          <p:nvPr>
            <p:ph type="ftr" sz="quarter" idx="16"/>
          </p:nvPr>
        </p:nvSpPr>
        <p:spPr>
          <a:xfrm>
            <a:off x="3123567" y="4755702"/>
            <a:ext cx="2896869" cy="273254"/>
          </a:xfrm>
        </p:spPr>
        <p:txBody>
          <a:bodyPr/>
          <a:lstStyle>
            <a:lvl1pPr>
              <a:defRPr sz="900">
                <a:solidFill>
                  <a:schemeClr val="bg2">
                    <a:lumMod val="10000"/>
                  </a:schemeClr>
                </a:solidFill>
              </a:defRPr>
            </a:lvl1pPr>
          </a:lstStyle>
          <a:p>
            <a:r>
              <a:rPr lang="fr-FR"/>
              <a:t>CONFIDENTIALITY LEVEL</a:t>
            </a:r>
          </a:p>
        </p:txBody>
      </p:sp>
    </p:spTree>
    <p:extLst>
      <p:ext uri="{BB962C8B-B14F-4D97-AF65-F5344CB8AC3E}">
        <p14:creationId xmlns:p14="http://schemas.microsoft.com/office/powerpoint/2010/main" val="60275169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z="1000">
                <a:latin typeface="Source Sans Pro" panose="020B0503030403020204" pitchFamily="34" charset="0"/>
              </a:defRPr>
            </a:lvl1pPr>
          </a:lstStyle>
          <a:p>
            <a:fld id="{068AEB1F-C52F-4A21-AE94-239F654DB334}" type="datetime1">
              <a:rPr lang="fr-FR" smtClean="0">
                <a:solidFill>
                  <a:prstClr val="black">
                    <a:tint val="75000"/>
                  </a:prstClr>
                </a:solidFill>
              </a:rPr>
              <a:t>20/03/2023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1000">
                <a:latin typeface="Source Sans Pro" panose="020B0503030403020204" pitchFamily="34" charset="0"/>
              </a:defRPr>
            </a:lvl1pPr>
          </a:lstStyle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CONFIDENTIALITY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1000">
                <a:latin typeface="Source Sans Pro" panose="020B0503030403020204" pitchFamily="34" charset="0"/>
              </a:defRPr>
            </a:lvl1pPr>
          </a:lstStyle>
          <a:p>
            <a:fld id="{99EE92FC-151C-4350-9D92-5AB4B14746C0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57200" y="205978"/>
            <a:ext cx="8229600" cy="384572"/>
          </a:xfrm>
          <a:prstGeom prst="rect">
            <a:avLst/>
          </a:prstGeom>
        </p:spPr>
        <p:txBody>
          <a:bodyPr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8" name="Logo AXA" descr="\\Mac\AllFiles\Volumes\DOSSIERS EN COURS\17_1098 AXA_Creation_gabarits\elements\png\new_logo_axa_rgb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727773" y="4727113"/>
            <a:ext cx="209971" cy="2100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308765378"/>
      </p:ext>
    </p:extLst>
  </p:cSld>
  <p:clrMapOvr>
    <a:masterClrMapping/>
  </p:clrMapOvr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z="1000">
                <a:latin typeface="Source Sans Pro" panose="020B0503030403020204" pitchFamily="34" charset="0"/>
              </a:defRPr>
            </a:lvl1pPr>
          </a:lstStyle>
          <a:p>
            <a:fld id="{068AEB1F-C52F-4A21-AE94-239F654DB334}" type="datetime1">
              <a:rPr lang="fr-FR" smtClean="0">
                <a:solidFill>
                  <a:prstClr val="black">
                    <a:tint val="75000"/>
                  </a:prstClr>
                </a:solidFill>
              </a:rPr>
              <a:t>13/03/2023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1000">
                <a:latin typeface="Source Sans Pro" panose="020B0503030403020204" pitchFamily="34" charset="0"/>
              </a:defRPr>
            </a:lvl1pPr>
          </a:lstStyle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CONFIDENTIALITY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1000">
                <a:latin typeface="Source Sans Pro" panose="020B0503030403020204" pitchFamily="34" charset="0"/>
              </a:defRPr>
            </a:lvl1pPr>
          </a:lstStyle>
          <a:p>
            <a:fld id="{99EE92FC-151C-4350-9D92-5AB4B14746C0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57200" y="205978"/>
            <a:ext cx="8229600" cy="384572"/>
          </a:xfrm>
          <a:prstGeom prst="rect">
            <a:avLst/>
          </a:prstGeom>
        </p:spPr>
        <p:txBody>
          <a:bodyPr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8" name="Logo AXA" descr="\\Mac\AllFiles\Volumes\DOSSIERS EN COURS\17_1098 AXA_Creation_gabarits\elements\png\new_logo_axa_rgb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727773" y="4727113"/>
            <a:ext cx="209971" cy="2100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30876537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apositive de titre + texte pu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Logo AXA" descr="\\Mac\AllFiles\Volumes\DOSSIERS EN COURS\17_1098 AXA_Creation_gabarits\elements\png\new_logo_axa_rgb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727773" y="4727113"/>
            <a:ext cx="209971" cy="2100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Sommaire"/>
          <p:cNvSpPr>
            <a:spLocks noGrp="1"/>
          </p:cNvSpPr>
          <p:nvPr>
            <p:ph type="title" hasCustomPrompt="1"/>
          </p:nvPr>
        </p:nvSpPr>
        <p:spPr>
          <a:xfrm>
            <a:off x="273896" y="321585"/>
            <a:ext cx="8596209" cy="337232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000" b="1">
                <a:solidFill>
                  <a:srgbClr val="00008F"/>
                </a:solidFill>
                <a:latin typeface="+mj-lt"/>
              </a:defRPr>
            </a:lvl1pPr>
          </a:lstStyle>
          <a:p>
            <a:r>
              <a:rPr lang="en-GB" noProof="0"/>
              <a:t>Click to edit Master title style</a:t>
            </a:r>
          </a:p>
        </p:txBody>
      </p:sp>
      <p:sp>
        <p:nvSpPr>
          <p:cNvPr id="14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273895" y="674463"/>
            <a:ext cx="8596106" cy="252924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buNone/>
              <a:defRPr sz="1800">
                <a:solidFill>
                  <a:srgbClr val="027180"/>
                </a:solidFill>
                <a:latin typeface="+mj-lt"/>
              </a:defRPr>
            </a:lvl1pPr>
          </a:lstStyle>
          <a:p>
            <a:pPr lvl="0"/>
            <a:r>
              <a:rPr lang="en-GB" noProof="0"/>
              <a:t>Click to edit Master text styles</a:t>
            </a:r>
          </a:p>
        </p:txBody>
      </p:sp>
      <p:sp>
        <p:nvSpPr>
          <p:cNvPr id="9" name="Espace réservé du contenu 8"/>
          <p:cNvSpPr>
            <a:spLocks noGrp="1"/>
          </p:cNvSpPr>
          <p:nvPr>
            <p:ph sz="quarter" idx="13" hasCustomPrompt="1"/>
          </p:nvPr>
        </p:nvSpPr>
        <p:spPr>
          <a:xfrm>
            <a:off x="228696" y="1133912"/>
            <a:ext cx="8556096" cy="3412889"/>
          </a:xfrm>
          <a:prstGeom prst="rect">
            <a:avLst/>
          </a:prstGeom>
        </p:spPr>
        <p:txBody>
          <a:bodyPr lIns="107040" tIns="53520" rIns="107040" bIns="53520"/>
          <a:lstStyle>
            <a:lvl1pPr>
              <a:lnSpc>
                <a:spcPct val="100000"/>
              </a:lnSpc>
              <a:buClr>
                <a:srgbClr val="027180"/>
              </a:buClr>
              <a:buSzPct val="85000"/>
              <a:buFont typeface="fleche_rond" pitchFamily="2" charset="0"/>
              <a:buChar char=""/>
              <a:defRPr sz="1600"/>
            </a:lvl1pPr>
            <a:lvl2pPr>
              <a:lnSpc>
                <a:spcPct val="100000"/>
              </a:lnSpc>
              <a:buClr>
                <a:srgbClr val="027180"/>
              </a:buClr>
              <a:buSzPct val="85000"/>
              <a:buFont typeface="fleche_rond" pitchFamily="2" charset="0"/>
              <a:buChar char=""/>
              <a:defRPr sz="1400"/>
            </a:lvl2pPr>
            <a:lvl3pPr marL="945889" indent="-209992">
              <a:lnSpc>
                <a:spcPct val="100000"/>
              </a:lnSpc>
              <a:buFont typeface="Source Sans Pro" pitchFamily="34" charset="0"/>
              <a:buChar char="–"/>
              <a:defRPr sz="1200"/>
            </a:lvl3pPr>
            <a:lvl4pPr marL="1049956" indent="-104066">
              <a:lnSpc>
                <a:spcPct val="100000"/>
              </a:lnSpc>
              <a:buFont typeface="Source Sans Pro" pitchFamily="34" charset="0"/>
              <a:buChar char="•"/>
              <a:defRPr sz="900"/>
            </a:lvl4pPr>
            <a:lvl5pPr marL="1258088" indent="-104066">
              <a:lnSpc>
                <a:spcPct val="100000"/>
              </a:lnSpc>
              <a:buFont typeface="Source Sans Pro" pitchFamily="34" charset="0"/>
              <a:buChar char="&gt;"/>
              <a:defRPr sz="700"/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 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32" name="Espace réservé du numéro de diapositive 4"/>
          <p:cNvSpPr>
            <a:spLocks noGrp="1"/>
          </p:cNvSpPr>
          <p:nvPr>
            <p:ph type="sldNum" sz="quarter" idx="14"/>
          </p:nvPr>
        </p:nvSpPr>
        <p:spPr>
          <a:xfrm>
            <a:off x="273150" y="4805184"/>
            <a:ext cx="252710" cy="169157"/>
          </a:xfrm>
        </p:spPr>
        <p:txBody>
          <a:bodyPr anchor="ctr"/>
          <a:lstStyle>
            <a:lvl1pPr>
              <a:defRPr/>
            </a:lvl1pPr>
          </a:lstStyle>
          <a:p>
            <a:fld id="{438FEFB8-6B6E-4DC1-A5E4-A1258711B442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33E2A876-6808-42D7-B9E9-0E9017F3C491}" type="datetime1">
              <a:rPr lang="fr-FR" smtClean="0"/>
              <a:t>20/03/2023</a:t>
            </a:fld>
            <a:endParaRPr lang="fr-FR"/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 sz="900">
                <a:solidFill>
                  <a:srgbClr val="FF0000"/>
                </a:solidFill>
              </a:defRPr>
            </a:lvl1pPr>
          </a:lstStyle>
          <a:p>
            <a:r>
              <a:rPr lang="fr-FR"/>
              <a:t>CONFIDENTIALITY LEVEL</a:t>
            </a: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z="1000">
                <a:latin typeface="Source Sans Pro" panose="020B0503030403020204" pitchFamily="34" charset="0"/>
              </a:defRPr>
            </a:lvl1pPr>
          </a:lstStyle>
          <a:p>
            <a:fld id="{93C549AC-2003-44D9-8EA7-F25FFCC2FFD5}" type="datetime1">
              <a:rPr lang="fr-FR" smtClean="0">
                <a:solidFill>
                  <a:prstClr val="black">
                    <a:tint val="75000"/>
                  </a:prstClr>
                </a:solidFill>
              </a:rPr>
              <a:t>20/03/2023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1000">
                <a:latin typeface="Source Sans Pro" panose="020B0503030403020204" pitchFamily="34" charset="0"/>
              </a:defRPr>
            </a:lvl1pPr>
          </a:lstStyle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CONFIDENTIALITY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1000">
                <a:latin typeface="Source Sans Pro" panose="020B0503030403020204" pitchFamily="34" charset="0"/>
              </a:defRPr>
            </a:lvl1pPr>
          </a:lstStyle>
          <a:p>
            <a:fld id="{99EE92FC-151C-4350-9D92-5AB4B14746C0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7" name="Logo AXA" descr="\\Mac\AllFiles\Volumes\DOSSIERS EN COURS\17_1098 AXA_Creation_gabarits\elements\png\new_logo_axa_rgb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727773" y="4727113"/>
            <a:ext cx="209971" cy="2100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91483220"/>
      </p:ext>
    </p:extLst>
  </p:cSld>
  <p:clrMapOvr>
    <a:masterClrMapping/>
  </p:clrMapOvr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z="1000">
                <a:latin typeface="Source Sans Pro" panose="020B0503030403020204" pitchFamily="34" charset="0"/>
              </a:defRPr>
            </a:lvl1pPr>
          </a:lstStyle>
          <a:p>
            <a:fld id="{93C549AC-2003-44D9-8EA7-F25FFCC2FFD5}" type="datetime1">
              <a:rPr lang="fr-FR" smtClean="0">
                <a:solidFill>
                  <a:prstClr val="black">
                    <a:tint val="75000"/>
                  </a:prstClr>
                </a:solidFill>
              </a:rPr>
              <a:t>13/03/2023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1000">
                <a:latin typeface="Source Sans Pro" panose="020B0503030403020204" pitchFamily="34" charset="0"/>
              </a:defRPr>
            </a:lvl1pPr>
          </a:lstStyle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CONFIDENTIALITY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1000">
                <a:latin typeface="Source Sans Pro" panose="020B0503030403020204" pitchFamily="34" charset="0"/>
              </a:defRPr>
            </a:lvl1pPr>
          </a:lstStyle>
          <a:p>
            <a:fld id="{99EE92FC-151C-4350-9D92-5AB4B14746C0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7" name="Logo AXA" descr="\\Mac\AllFiles\Volumes\DOSSIERS EN COURS\17_1098 AXA_Creation_gabarits\elements\png\new_logo_axa_rgb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727773" y="4727113"/>
            <a:ext cx="209971" cy="2100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9148322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z="1000">
                <a:latin typeface="Source Sans Pro" panose="020B0503030403020204" pitchFamily="34" charset="0"/>
              </a:defRPr>
            </a:lvl1pPr>
          </a:lstStyle>
          <a:p>
            <a:fld id="{E51AF8B7-C27F-4638-BCFF-7BCCC43CB972}" type="datetime1">
              <a:rPr lang="fr-FR" smtClean="0">
                <a:solidFill>
                  <a:prstClr val="black">
                    <a:tint val="75000"/>
                  </a:prstClr>
                </a:solidFill>
              </a:rPr>
              <a:t>20/03/2023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1000">
                <a:latin typeface="Source Sans Pro" panose="020B0503030403020204" pitchFamily="34" charset="0"/>
              </a:defRPr>
            </a:lvl1pPr>
          </a:lstStyle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CONFIDENTIALITY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1000">
                <a:latin typeface="Source Sans Pro" panose="020B0503030403020204" pitchFamily="34" charset="0"/>
              </a:defRPr>
            </a:lvl1pPr>
          </a:lstStyle>
          <a:p>
            <a:fld id="{99EE92FC-151C-4350-9D92-5AB4B14746C0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457200" y="205978"/>
            <a:ext cx="8229600" cy="384572"/>
          </a:xfrm>
          <a:prstGeom prst="rect">
            <a:avLst/>
          </a:prstGeom>
        </p:spPr>
        <p:txBody>
          <a:bodyPr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9" name="Logo AXA" descr="\\Mac\AllFiles\Volumes\DOSSIERS EN COURS\17_1098 AXA_Creation_gabarits\elements\png\new_logo_axa_rgb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727773" y="4727113"/>
            <a:ext cx="209971" cy="2100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4205864577"/>
      </p:ext>
    </p:extLst>
  </p:cSld>
  <p:clrMapOvr>
    <a:masterClrMapping/>
  </p:clrMapOvr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apositive de titre + texte pu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Logo AXA" descr="\\Mac\AllFiles\Volumes\DOSSIERS EN COURS\17_1098 AXA_Creation_gabarits\elements\png\new_logo_axa_rgb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727773" y="4727113"/>
            <a:ext cx="209971" cy="2100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Sommaire"/>
          <p:cNvSpPr>
            <a:spLocks noGrp="1"/>
          </p:cNvSpPr>
          <p:nvPr>
            <p:ph type="title" hasCustomPrompt="1"/>
          </p:nvPr>
        </p:nvSpPr>
        <p:spPr>
          <a:xfrm>
            <a:off x="273896" y="321585"/>
            <a:ext cx="8596209" cy="337232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000" b="1">
                <a:solidFill>
                  <a:srgbClr val="00008F"/>
                </a:solidFill>
                <a:latin typeface="+mj-lt"/>
              </a:defRPr>
            </a:lvl1pPr>
          </a:lstStyle>
          <a:p>
            <a:r>
              <a:rPr lang="en-GB" noProof="0"/>
              <a:t>Click to edit Master title style</a:t>
            </a:r>
          </a:p>
        </p:txBody>
      </p:sp>
      <p:sp>
        <p:nvSpPr>
          <p:cNvPr id="14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273895" y="674463"/>
            <a:ext cx="8596106" cy="252924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buNone/>
              <a:defRPr sz="1800">
                <a:solidFill>
                  <a:srgbClr val="027180"/>
                </a:solidFill>
                <a:latin typeface="+mj-lt"/>
              </a:defRPr>
            </a:lvl1pPr>
          </a:lstStyle>
          <a:p>
            <a:pPr lvl="0"/>
            <a:r>
              <a:rPr lang="en-GB" noProof="0"/>
              <a:t>Click to edit Master text styles</a:t>
            </a:r>
          </a:p>
        </p:txBody>
      </p:sp>
      <p:sp>
        <p:nvSpPr>
          <p:cNvPr id="9" name="Espace réservé du contenu 8"/>
          <p:cNvSpPr>
            <a:spLocks noGrp="1"/>
          </p:cNvSpPr>
          <p:nvPr>
            <p:ph sz="quarter" idx="13" hasCustomPrompt="1"/>
          </p:nvPr>
        </p:nvSpPr>
        <p:spPr>
          <a:xfrm>
            <a:off x="228696" y="1133912"/>
            <a:ext cx="8556096" cy="3412889"/>
          </a:xfrm>
          <a:prstGeom prst="rect">
            <a:avLst/>
          </a:prstGeom>
        </p:spPr>
        <p:txBody>
          <a:bodyPr lIns="107040" tIns="53520" rIns="107040" bIns="53520"/>
          <a:lstStyle>
            <a:lvl1pPr>
              <a:lnSpc>
                <a:spcPct val="100000"/>
              </a:lnSpc>
              <a:buClr>
                <a:srgbClr val="027180"/>
              </a:buClr>
              <a:buSzPct val="85000"/>
              <a:buFont typeface="fleche_rond" pitchFamily="2" charset="0"/>
              <a:buChar char=""/>
              <a:defRPr sz="1600"/>
            </a:lvl1pPr>
            <a:lvl2pPr>
              <a:lnSpc>
                <a:spcPct val="100000"/>
              </a:lnSpc>
              <a:buClr>
                <a:srgbClr val="027180"/>
              </a:buClr>
              <a:buSzPct val="85000"/>
              <a:buFont typeface="fleche_rond" pitchFamily="2" charset="0"/>
              <a:buChar char=""/>
              <a:defRPr sz="1400"/>
            </a:lvl2pPr>
            <a:lvl3pPr marL="945889" indent="-209992">
              <a:lnSpc>
                <a:spcPct val="100000"/>
              </a:lnSpc>
              <a:buFont typeface="Source Sans Pro" pitchFamily="34" charset="0"/>
              <a:buChar char="–"/>
              <a:defRPr sz="1200"/>
            </a:lvl3pPr>
            <a:lvl4pPr marL="1049956" indent="-104066">
              <a:lnSpc>
                <a:spcPct val="100000"/>
              </a:lnSpc>
              <a:buFont typeface="Source Sans Pro" pitchFamily="34" charset="0"/>
              <a:buChar char="•"/>
              <a:defRPr sz="900"/>
            </a:lvl4pPr>
            <a:lvl5pPr marL="1258088" indent="-104066">
              <a:lnSpc>
                <a:spcPct val="100000"/>
              </a:lnSpc>
              <a:buFont typeface="Source Sans Pro" pitchFamily="34" charset="0"/>
              <a:buChar char="&gt;"/>
              <a:defRPr sz="700"/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 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32" name="Espace réservé du numéro de diapositive 4"/>
          <p:cNvSpPr>
            <a:spLocks noGrp="1"/>
          </p:cNvSpPr>
          <p:nvPr>
            <p:ph type="sldNum" sz="quarter" idx="14"/>
          </p:nvPr>
        </p:nvSpPr>
        <p:spPr>
          <a:xfrm>
            <a:off x="273150" y="4805184"/>
            <a:ext cx="252710" cy="169157"/>
          </a:xfrm>
        </p:spPr>
        <p:txBody>
          <a:bodyPr anchor="ctr"/>
          <a:lstStyle>
            <a:lvl1pPr>
              <a:defRPr/>
            </a:lvl1pPr>
          </a:lstStyle>
          <a:p>
            <a:fld id="{438FEFB8-6B6E-4DC1-A5E4-A1258711B442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33E2A876-6808-42D7-B9E9-0E9017F3C491}" type="datetime1">
              <a:rPr lang="fr-FR" smtClean="0"/>
              <a:t>13/03/2023</a:t>
            </a:fld>
            <a:endParaRPr lang="fr-FR"/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 sz="900">
                <a:solidFill>
                  <a:srgbClr val="FF0000"/>
                </a:solidFill>
              </a:defRPr>
            </a:lvl1pPr>
          </a:lstStyle>
          <a:p>
            <a:r>
              <a:rPr lang="fr-FR"/>
              <a:t>CONFIDENTIALITY LEVEL</a:t>
            </a: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z="1000">
                <a:latin typeface="Source Sans Pro" panose="020B0503030403020204" pitchFamily="34" charset="0"/>
              </a:defRPr>
            </a:lvl1pPr>
          </a:lstStyle>
          <a:p>
            <a:fld id="{E51AF8B7-C27F-4638-BCFF-7BCCC43CB972}" type="datetime1">
              <a:rPr lang="fr-FR" smtClean="0">
                <a:solidFill>
                  <a:prstClr val="black">
                    <a:tint val="75000"/>
                  </a:prstClr>
                </a:solidFill>
              </a:rPr>
              <a:t>13/03/2023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1000">
                <a:latin typeface="Source Sans Pro" panose="020B0503030403020204" pitchFamily="34" charset="0"/>
              </a:defRPr>
            </a:lvl1pPr>
          </a:lstStyle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CONFIDENTIALITY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1000">
                <a:latin typeface="Source Sans Pro" panose="020B0503030403020204" pitchFamily="34" charset="0"/>
              </a:defRPr>
            </a:lvl1pPr>
          </a:lstStyle>
          <a:p>
            <a:fld id="{99EE92FC-151C-4350-9D92-5AB4B14746C0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457200" y="205978"/>
            <a:ext cx="8229600" cy="384572"/>
          </a:xfrm>
          <a:prstGeom prst="rect">
            <a:avLst/>
          </a:prstGeom>
        </p:spPr>
        <p:txBody>
          <a:bodyPr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9" name="Logo AXA" descr="\\Mac\AllFiles\Volumes\DOSSIERS EN COURS\17_1098 AXA_Creation_gabarits\elements\png\new_logo_axa_rgb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727773" y="4727113"/>
            <a:ext cx="209971" cy="2100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420586457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5978"/>
            <a:ext cx="8229600" cy="384572"/>
          </a:xfrm>
          <a:prstGeom prst="rect">
            <a:avLst/>
          </a:prstGeom>
        </p:spPr>
        <p:txBody>
          <a:bodyPr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z="1000">
                <a:latin typeface="Source Sans Pro" panose="020B0503030403020204" pitchFamily="34" charset="0"/>
              </a:defRPr>
            </a:lvl1pPr>
          </a:lstStyle>
          <a:p>
            <a:fld id="{C5A54919-4BC8-4F0B-B723-D1700D7772A0}" type="datetime1">
              <a:rPr lang="fr-FR" smtClean="0">
                <a:solidFill>
                  <a:prstClr val="black">
                    <a:tint val="75000"/>
                  </a:prstClr>
                </a:solidFill>
              </a:rPr>
              <a:t>20/03/2023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1000">
                <a:latin typeface="Source Sans Pro" panose="020B0503030403020204" pitchFamily="34" charset="0"/>
              </a:defRPr>
            </a:lvl1pPr>
          </a:lstStyle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CONFIDENTIALITY LEVEL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1000">
                <a:latin typeface="Source Sans Pro" panose="020B0503030403020204" pitchFamily="34" charset="0"/>
              </a:defRPr>
            </a:lvl1pPr>
          </a:lstStyle>
          <a:p>
            <a:fld id="{99EE92FC-151C-4350-9D92-5AB4B14746C0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6" name="Logo AXA" descr="\\Mac\AllFiles\Volumes\DOSSIERS EN COURS\17_1098 AXA_Creation_gabarits\elements\png\new_logo_axa_rgb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727773" y="4727113"/>
            <a:ext cx="209971" cy="2100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273170913"/>
      </p:ext>
    </p:extLst>
  </p:cSld>
  <p:clrMapOvr>
    <a:masterClrMapping/>
  </p:clrMapOvr>
</p:sldLayout>
</file>

<file path=ppt/slideLayouts/slideLayout3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5978"/>
            <a:ext cx="8229600" cy="384572"/>
          </a:xfrm>
          <a:prstGeom prst="rect">
            <a:avLst/>
          </a:prstGeom>
        </p:spPr>
        <p:txBody>
          <a:bodyPr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z="1000">
                <a:latin typeface="Source Sans Pro" panose="020B0503030403020204" pitchFamily="34" charset="0"/>
              </a:defRPr>
            </a:lvl1pPr>
          </a:lstStyle>
          <a:p>
            <a:fld id="{C5A54919-4BC8-4F0B-B723-D1700D7772A0}" type="datetime1">
              <a:rPr lang="fr-FR" smtClean="0">
                <a:solidFill>
                  <a:prstClr val="black">
                    <a:tint val="75000"/>
                  </a:prstClr>
                </a:solidFill>
              </a:rPr>
              <a:t>13/03/2023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1000">
                <a:latin typeface="Source Sans Pro" panose="020B0503030403020204" pitchFamily="34" charset="0"/>
              </a:defRPr>
            </a:lvl1pPr>
          </a:lstStyle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CONFIDENTIALITY LEVEL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1000">
                <a:latin typeface="Source Sans Pro" panose="020B0503030403020204" pitchFamily="34" charset="0"/>
              </a:defRPr>
            </a:lvl1pPr>
          </a:lstStyle>
          <a:p>
            <a:fld id="{99EE92FC-151C-4350-9D92-5AB4B14746C0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6" name="Logo AXA" descr="\\Mac\AllFiles\Volumes\DOSSIERS EN COURS\17_1098 AXA_Creation_gabarits\elements\png\new_logo_axa_rgb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727773" y="4727113"/>
            <a:ext cx="209971" cy="2100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27317091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 7">
            <a:extLst>
              <a:ext uri="{FF2B5EF4-FFF2-40B4-BE49-F238E27FC236}">
                <a16:creationId xmlns:a16="http://schemas.microsoft.com/office/drawing/2014/main" id="{50E250E4-7BA9-4228-BB1E-59105214863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37571" y="4724401"/>
            <a:ext cx="331946" cy="331946"/>
          </a:xfrm>
          <a:prstGeom prst="rect">
            <a:avLst/>
          </a:prstGeom>
        </p:spPr>
      </p:pic>
      <p:sp>
        <p:nvSpPr>
          <p:cNvPr id="25" name="Titre 24">
            <a:extLst>
              <a:ext uri="{FF2B5EF4-FFF2-40B4-BE49-F238E27FC236}">
                <a16:creationId xmlns:a16="http://schemas.microsoft.com/office/drawing/2014/main" id="{F890802F-925C-40FF-B38E-2BDFF32E14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69692" y="200849"/>
            <a:ext cx="7913810" cy="379444"/>
          </a:xfrm>
        </p:spPr>
        <p:txBody>
          <a:bodyPr>
            <a:noAutofit/>
          </a:bodyPr>
          <a:lstStyle>
            <a:lvl1pPr>
              <a:defRPr sz="2100"/>
            </a:lvl1pPr>
          </a:lstStyle>
          <a:p>
            <a:r>
              <a:rPr lang="fr-FR" sz="2400">
                <a:solidFill>
                  <a:srgbClr val="F57A30"/>
                </a:solidFill>
                <a:latin typeface="Source Sans Pro Black" panose="020B0803030403020204" pitchFamily="34" charset="0"/>
              </a:rPr>
              <a:t>Tit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96F30674-C639-46D1-8DAC-57B7F37D4B9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69692" y="580292"/>
            <a:ext cx="7913810" cy="269045"/>
          </a:xfrm>
        </p:spPr>
        <p:txBody>
          <a:bodyPr>
            <a:normAutofit/>
          </a:bodyPr>
          <a:lstStyle>
            <a:lvl1pPr marL="0" indent="0">
              <a:buFont typeface="Wingdings" panose="05000000000000000000" pitchFamily="2" charset="2"/>
              <a:buNone/>
              <a:defRPr sz="1500"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  <a:lvl2pPr marL="514350" indent="-171450">
              <a:buFont typeface="Wingdings" panose="05000000000000000000" pitchFamily="2" charset="2"/>
              <a:buChar char="§"/>
              <a:defRPr/>
            </a:lvl2pPr>
          </a:lstStyle>
          <a:p>
            <a:pPr lvl="0"/>
            <a:endParaRPr lang="fr-FR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48C4B7EF-2782-4EBC-BDD5-824544CA9E1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05060" y="1107831"/>
            <a:ext cx="8236020" cy="3616569"/>
          </a:xfrm>
        </p:spPr>
        <p:txBody>
          <a:bodyPr>
            <a:normAutofit/>
          </a:bodyPr>
          <a:lstStyle>
            <a:lvl1pPr marL="257175" indent="-257175">
              <a:lnSpc>
                <a:spcPct val="100000"/>
              </a:lnSpc>
              <a:buClr>
                <a:schemeClr val="tx1"/>
              </a:buClr>
              <a:buSzPct val="80000"/>
              <a:buFont typeface="Segoe MDL2 Assets" panose="050A0102010101010101" pitchFamily="18" charset="0"/>
              <a:buChar char=""/>
              <a:defRPr sz="1800"/>
            </a:lvl1pPr>
            <a:lvl2pPr marL="514350" indent="-171450">
              <a:lnSpc>
                <a:spcPct val="100000"/>
              </a:lnSpc>
              <a:buClr>
                <a:schemeClr val="accent1"/>
              </a:buClr>
              <a:buSzPct val="80000"/>
              <a:buFont typeface="Segoe MDL2 Assets" panose="050A0102010101010101" pitchFamily="18" charset="0"/>
              <a:buChar char=""/>
              <a:defRPr sz="1500"/>
            </a:lvl2pPr>
            <a:lvl3pPr marL="857250" indent="-171450">
              <a:lnSpc>
                <a:spcPct val="100000"/>
              </a:lnSpc>
              <a:buSzPct val="70000"/>
              <a:buFont typeface="Segoe MDL2 Assets" panose="050A0102010101010101" pitchFamily="18" charset="0"/>
              <a:buChar char=""/>
              <a:defRPr sz="1350"/>
            </a:lvl3pPr>
            <a:lvl4pPr marL="1200150" indent="-171450">
              <a:lnSpc>
                <a:spcPct val="100000"/>
              </a:lnSpc>
              <a:buClr>
                <a:schemeClr val="accent2">
                  <a:lumMod val="50000"/>
                </a:schemeClr>
              </a:buClr>
              <a:buSzPct val="60000"/>
              <a:buFont typeface="Segoe MDL2 Assets" panose="050A0102010101010101" pitchFamily="18" charset="0"/>
              <a:buChar char=""/>
              <a:defRPr sz="1200"/>
            </a:lvl4pPr>
            <a:lvl5pPr marL="1371600" indent="0">
              <a:lnSpc>
                <a:spcPct val="100000"/>
              </a:lnSpc>
              <a:buNone/>
              <a:defRPr sz="120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  <a:p>
            <a:pPr lvl="0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004321345"/>
      </p:ext>
    </p:extLst>
  </p:cSld>
  <p:clrMapOvr>
    <a:masterClrMapping/>
  </p:clrMapOvr>
</p:sldLayout>
</file>

<file path=ppt/slideLayouts/slideLayout3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 7">
            <a:extLst>
              <a:ext uri="{FF2B5EF4-FFF2-40B4-BE49-F238E27FC236}">
                <a16:creationId xmlns:a16="http://schemas.microsoft.com/office/drawing/2014/main" id="{50E250E4-7BA9-4228-BB1E-59105214863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37571" y="4724401"/>
            <a:ext cx="331946" cy="331946"/>
          </a:xfrm>
          <a:prstGeom prst="rect">
            <a:avLst/>
          </a:prstGeom>
        </p:spPr>
      </p:pic>
      <p:sp>
        <p:nvSpPr>
          <p:cNvPr id="25" name="Titre 24">
            <a:extLst>
              <a:ext uri="{FF2B5EF4-FFF2-40B4-BE49-F238E27FC236}">
                <a16:creationId xmlns:a16="http://schemas.microsoft.com/office/drawing/2014/main" id="{F890802F-925C-40FF-B38E-2BDFF32E14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69692" y="200849"/>
            <a:ext cx="7913810" cy="379444"/>
          </a:xfrm>
        </p:spPr>
        <p:txBody>
          <a:bodyPr>
            <a:noAutofit/>
          </a:bodyPr>
          <a:lstStyle>
            <a:lvl1pPr>
              <a:defRPr sz="2100"/>
            </a:lvl1pPr>
          </a:lstStyle>
          <a:p>
            <a:r>
              <a:rPr lang="fr-FR" sz="2400">
                <a:solidFill>
                  <a:srgbClr val="F57A30"/>
                </a:solidFill>
                <a:latin typeface="Source Sans Pro Black" panose="020B0803030403020204" pitchFamily="34" charset="0"/>
              </a:rPr>
              <a:t>Tit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96F30674-C639-46D1-8DAC-57B7F37D4B9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69692" y="580292"/>
            <a:ext cx="7913810" cy="269045"/>
          </a:xfrm>
        </p:spPr>
        <p:txBody>
          <a:bodyPr>
            <a:normAutofit/>
          </a:bodyPr>
          <a:lstStyle>
            <a:lvl1pPr marL="0" indent="0">
              <a:buFont typeface="Wingdings" panose="05000000000000000000" pitchFamily="2" charset="2"/>
              <a:buNone/>
              <a:defRPr sz="1500"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  <a:lvl2pPr marL="514350" indent="-171450">
              <a:buFont typeface="Wingdings" panose="05000000000000000000" pitchFamily="2" charset="2"/>
              <a:buChar char="§"/>
              <a:defRPr/>
            </a:lvl2pPr>
          </a:lstStyle>
          <a:p>
            <a:pPr lvl="0"/>
            <a:endParaRPr lang="fr-FR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48C4B7EF-2782-4EBC-BDD5-824544CA9E1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05060" y="1107831"/>
            <a:ext cx="8236020" cy="3616569"/>
          </a:xfrm>
        </p:spPr>
        <p:txBody>
          <a:bodyPr>
            <a:normAutofit/>
          </a:bodyPr>
          <a:lstStyle>
            <a:lvl1pPr marL="257175" indent="-257175">
              <a:lnSpc>
                <a:spcPct val="100000"/>
              </a:lnSpc>
              <a:buClr>
                <a:schemeClr val="tx1"/>
              </a:buClr>
              <a:buSzPct val="80000"/>
              <a:buFont typeface="Segoe MDL2 Assets" panose="050A0102010101010101" pitchFamily="18" charset="0"/>
              <a:buChar char=""/>
              <a:defRPr sz="1800"/>
            </a:lvl1pPr>
            <a:lvl2pPr marL="514350" indent="-171450">
              <a:lnSpc>
                <a:spcPct val="100000"/>
              </a:lnSpc>
              <a:buClr>
                <a:schemeClr val="accent1"/>
              </a:buClr>
              <a:buSzPct val="80000"/>
              <a:buFont typeface="Segoe MDL2 Assets" panose="050A0102010101010101" pitchFamily="18" charset="0"/>
              <a:buChar char=""/>
              <a:defRPr sz="1500"/>
            </a:lvl2pPr>
            <a:lvl3pPr marL="857250" indent="-171450">
              <a:lnSpc>
                <a:spcPct val="100000"/>
              </a:lnSpc>
              <a:buSzPct val="70000"/>
              <a:buFont typeface="Segoe MDL2 Assets" panose="050A0102010101010101" pitchFamily="18" charset="0"/>
              <a:buChar char=""/>
              <a:defRPr sz="1350"/>
            </a:lvl3pPr>
            <a:lvl4pPr marL="1200150" indent="-171450">
              <a:lnSpc>
                <a:spcPct val="100000"/>
              </a:lnSpc>
              <a:buClr>
                <a:schemeClr val="accent2">
                  <a:lumMod val="50000"/>
                </a:schemeClr>
              </a:buClr>
              <a:buSzPct val="60000"/>
              <a:buFont typeface="Segoe MDL2 Assets" panose="050A0102010101010101" pitchFamily="18" charset="0"/>
              <a:buChar char=""/>
              <a:defRPr sz="1200"/>
            </a:lvl4pPr>
            <a:lvl5pPr marL="1371600" indent="0">
              <a:lnSpc>
                <a:spcPct val="100000"/>
              </a:lnSpc>
              <a:buNone/>
              <a:defRPr sz="120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  <a:p>
            <a:pPr lvl="0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00432134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3534918-B1C7-4841-B3B0-9E270F1F377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238E3A1-A1DC-428A-9FFD-569EC645714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 lang="fr-FR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0313EF6-0D59-48CE-AE32-908056A3E85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3B964C-B9FE-484D-8626-C8480FD26A34}" type="datetimeFigureOut">
              <a:rPr lang="fr-FR" smtClean="0"/>
              <a:t>20/03/2023</a:t>
            </a:fld>
            <a:endParaRPr lang="fr-FR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18EC016-2034-40F2-A961-594DB56102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4A83E9E-4623-4361-A2D6-E9659B3AE2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F60013-C3A6-4F04-8BBB-E0D54C68E280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135906845"/>
      </p:ext>
    </p:extLst>
  </p:cSld>
  <p:clrMapOvr>
    <a:masterClrMapping/>
  </p:clrMapOvr>
</p:sldLayout>
</file>

<file path=ppt/slideLayouts/slideLayout3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3534918-B1C7-4841-B3B0-9E270F1F377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238E3A1-A1DC-428A-9FFD-569EC645714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 lang="fr-FR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0313EF6-0D59-48CE-AE32-908056A3E85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3B964C-B9FE-484D-8626-C8480FD26A34}" type="datetimeFigureOut">
              <a:rPr lang="fr-FR" smtClean="0"/>
              <a:t>13/03/2023</a:t>
            </a:fld>
            <a:endParaRPr lang="fr-FR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18EC016-2034-40F2-A961-594DB56102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4A83E9E-4623-4361-A2D6-E9659B3AE2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F60013-C3A6-4F04-8BBB-E0D54C68E280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13590684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56DC7C-5489-49C3-8D65-C75F8FA96D8C}" type="datetimeFigureOut">
              <a:rPr lang="fr-FR" smtClean="0"/>
              <a:t>20/03/2023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0658AC-9DEF-47CE-97BE-9C0C5B899155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960103032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56DC7C-5489-49C3-8D65-C75F8FA96D8C}" type="datetimeFigureOut">
              <a:rPr lang="fr-FR" smtClean="0"/>
              <a:t>20/03/2023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0658AC-9DEF-47CE-97BE-9C0C5B899155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659054712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282304"/>
            <a:ext cx="7886700" cy="2139553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3442098"/>
            <a:ext cx="7886700" cy="1125140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56DC7C-5489-49C3-8D65-C75F8FA96D8C}" type="datetimeFigureOut">
              <a:rPr lang="fr-FR" smtClean="0"/>
              <a:t>20/03/2023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0658AC-9DEF-47CE-97BE-9C0C5B899155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39683211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369219"/>
            <a:ext cx="3886200" cy="326350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369219"/>
            <a:ext cx="3886200" cy="326350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56DC7C-5489-49C3-8D65-C75F8FA96D8C}" type="datetimeFigureOut">
              <a:rPr lang="fr-FR" smtClean="0"/>
              <a:t>20/03/2023</a:t>
            </a:fld>
            <a:endParaRPr lang="fr-F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0658AC-9DEF-47CE-97BE-9C0C5B899155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176302243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273844"/>
            <a:ext cx="7886700" cy="99417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260872"/>
            <a:ext cx="3868340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1878806"/>
            <a:ext cx="3868340" cy="276344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260872"/>
            <a:ext cx="3887391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1878806"/>
            <a:ext cx="3887391" cy="276344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56DC7C-5489-49C3-8D65-C75F8FA96D8C}" type="datetimeFigureOut">
              <a:rPr lang="fr-FR" smtClean="0"/>
              <a:t>20/03/2023</a:t>
            </a:fld>
            <a:endParaRPr lang="fr-FR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0658AC-9DEF-47CE-97BE-9C0C5B899155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71359980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Logo AXA" descr="\\Mac\AllFiles\Volumes\DOSSIERS EN COURS\17_1098 AXA_Creation_gabarits\elements\png\new_logo_axa_rgb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727773" y="4727113"/>
            <a:ext cx="209971" cy="2100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Sommaire"/>
          <p:cNvSpPr>
            <a:spLocks noGrp="1"/>
          </p:cNvSpPr>
          <p:nvPr>
            <p:ph type="title" hasCustomPrompt="1"/>
          </p:nvPr>
        </p:nvSpPr>
        <p:spPr>
          <a:xfrm>
            <a:off x="273896" y="321585"/>
            <a:ext cx="8596209" cy="337232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000" b="1">
                <a:solidFill>
                  <a:srgbClr val="00008F"/>
                </a:solidFill>
                <a:latin typeface="+mj-lt"/>
              </a:defRPr>
            </a:lvl1pPr>
          </a:lstStyle>
          <a:p>
            <a:r>
              <a:rPr lang="en-GB" noProof="0"/>
              <a:t>Click to edit Master title style</a:t>
            </a:r>
          </a:p>
        </p:txBody>
      </p:sp>
      <p:sp>
        <p:nvSpPr>
          <p:cNvPr id="28" name="Espace réservé du numéro de diapositive 4"/>
          <p:cNvSpPr>
            <a:spLocks noGrp="1"/>
          </p:cNvSpPr>
          <p:nvPr>
            <p:ph type="sldNum" sz="quarter" idx="14"/>
          </p:nvPr>
        </p:nvSpPr>
        <p:spPr>
          <a:xfrm>
            <a:off x="273150" y="4805184"/>
            <a:ext cx="252710" cy="169157"/>
          </a:xfrm>
        </p:spPr>
        <p:txBody>
          <a:bodyPr anchor="ctr"/>
          <a:lstStyle>
            <a:lvl1pPr>
              <a:defRPr/>
            </a:lvl1pPr>
          </a:lstStyle>
          <a:p>
            <a:fld id="{438FEFB8-6B6E-4DC1-A5E4-A1258711B442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6E11CC5A-6016-4BEE-8CA0-77897432C755}" type="datetime1">
              <a:rPr lang="fr-FR" smtClean="0"/>
              <a:t>20/03/2023</a:t>
            </a:fld>
            <a:endParaRPr lang="fr-FR"/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fr-FR"/>
              <a:t>CONFIDENTIALITY LEVEL</a:t>
            </a:r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56DC7C-5489-49C3-8D65-C75F8FA96D8C}" type="datetimeFigureOut">
              <a:rPr lang="fr-FR" smtClean="0"/>
              <a:t>20/03/2023</a:t>
            </a:fld>
            <a:endParaRPr lang="fr-FR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0658AC-9DEF-47CE-97BE-9C0C5B899155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269254553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56DC7C-5489-49C3-8D65-C75F8FA96D8C}" type="datetimeFigureOut">
              <a:rPr lang="fr-FR" smtClean="0"/>
              <a:t>20/03/2023</a:t>
            </a:fld>
            <a:endParaRPr lang="fr-FR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0658AC-9DEF-47CE-97BE-9C0C5B899155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035817551"/>
      </p:ext>
    </p:extLst>
  </p:cSld>
  <p:clrMapOvr>
    <a:masterClrMapping/>
  </p:clrMapOvr>
</p:sldLayout>
</file>

<file path=ppt/slideLayouts/slideLayout4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Logo AXA" descr="\\Mac\AllFiles\Volumes\DOSSIERS EN COURS\17_1098 AXA_Creation_gabarits\elements\png\new_logo_axa_rgb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727773" y="4727113"/>
            <a:ext cx="209971" cy="2100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Sommaire"/>
          <p:cNvSpPr>
            <a:spLocks noGrp="1"/>
          </p:cNvSpPr>
          <p:nvPr>
            <p:ph type="title" hasCustomPrompt="1"/>
          </p:nvPr>
        </p:nvSpPr>
        <p:spPr>
          <a:xfrm>
            <a:off x="273896" y="321585"/>
            <a:ext cx="8596209" cy="337232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000" b="1">
                <a:solidFill>
                  <a:srgbClr val="00008F"/>
                </a:solidFill>
                <a:latin typeface="+mj-lt"/>
              </a:defRPr>
            </a:lvl1pPr>
          </a:lstStyle>
          <a:p>
            <a:r>
              <a:rPr lang="en-GB" noProof="0"/>
              <a:t>Click to edit Master title style</a:t>
            </a:r>
          </a:p>
        </p:txBody>
      </p:sp>
      <p:sp>
        <p:nvSpPr>
          <p:cNvPr id="28" name="Espace réservé du numéro de diapositive 4"/>
          <p:cNvSpPr>
            <a:spLocks noGrp="1"/>
          </p:cNvSpPr>
          <p:nvPr>
            <p:ph type="sldNum" sz="quarter" idx="14"/>
          </p:nvPr>
        </p:nvSpPr>
        <p:spPr>
          <a:xfrm>
            <a:off x="273150" y="4805184"/>
            <a:ext cx="252710" cy="169157"/>
          </a:xfrm>
        </p:spPr>
        <p:txBody>
          <a:bodyPr anchor="ctr"/>
          <a:lstStyle>
            <a:lvl1pPr>
              <a:defRPr/>
            </a:lvl1pPr>
          </a:lstStyle>
          <a:p>
            <a:fld id="{438FEFB8-6B6E-4DC1-A5E4-A1258711B442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6E11CC5A-6016-4BEE-8CA0-77897432C755}" type="datetime1">
              <a:rPr lang="fr-FR" smtClean="0"/>
              <a:t>13/03/2023</a:t>
            </a:fld>
            <a:endParaRPr lang="fr-FR"/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fr-FR"/>
              <a:t>CONFIDENTIALITY LEVEL</a:t>
            </a:r>
          </a:p>
        </p:txBody>
      </p:sp>
    </p:spTree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740569"/>
            <a:ext cx="4629150" cy="3655219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154305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56DC7C-5489-49C3-8D65-C75F8FA96D8C}" type="datetimeFigureOut">
              <a:rPr lang="fr-FR" smtClean="0"/>
              <a:t>20/03/2023</a:t>
            </a:fld>
            <a:endParaRPr lang="fr-F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0658AC-9DEF-47CE-97BE-9C0C5B899155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9508886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740569"/>
            <a:ext cx="4629150" cy="3655219"/>
          </a:xfrm>
        </p:spPr>
        <p:txBody>
          <a:bodyPr anchor="t"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154305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56DC7C-5489-49C3-8D65-C75F8FA96D8C}" type="datetimeFigureOut">
              <a:rPr lang="fr-FR" smtClean="0"/>
              <a:t>20/03/2023</a:t>
            </a:fld>
            <a:endParaRPr lang="fr-F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0658AC-9DEF-47CE-97BE-9C0C5B899155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214859614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56DC7C-5489-49C3-8D65-C75F8FA96D8C}" type="datetimeFigureOut">
              <a:rPr lang="fr-FR" smtClean="0"/>
              <a:t>20/03/2023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0658AC-9DEF-47CE-97BE-9C0C5B899155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49192303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273844"/>
            <a:ext cx="1971675" cy="4358879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273844"/>
            <a:ext cx="5800725" cy="4358879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56DC7C-5489-49C3-8D65-C75F8FA96D8C}" type="datetimeFigureOut">
              <a:rPr lang="fr-FR" smtClean="0"/>
              <a:t>20/03/2023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0658AC-9DEF-47CE-97BE-9C0C5B899155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064903934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 5">
            <a:extLst>
              <a:ext uri="{FF2B5EF4-FFF2-40B4-BE49-F238E27FC236}">
                <a16:creationId xmlns:a16="http://schemas.microsoft.com/office/drawing/2014/main" id="{27EA5D15-B49E-4373-A3B7-BBC7925B786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37571" y="4724401"/>
            <a:ext cx="331946" cy="331946"/>
          </a:xfrm>
          <a:prstGeom prst="rect">
            <a:avLst/>
          </a:prstGeom>
        </p:spPr>
      </p:pic>
      <p:pic>
        <p:nvPicPr>
          <p:cNvPr id="7" name="Image 6">
            <a:extLst>
              <a:ext uri="{FF2B5EF4-FFF2-40B4-BE49-F238E27FC236}">
                <a16:creationId xmlns:a16="http://schemas.microsoft.com/office/drawing/2014/main" id="{48D02ADD-E5E9-4394-8A35-86CC8B5FBFE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colorTemperature colorTemp="11200"/>
                    </a14:imgEffect>
                    <a14:imgEffect>
                      <a14:brightnessContrast bright="-2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9997" y="708882"/>
            <a:ext cx="4934294" cy="4434618"/>
          </a:xfrm>
          <a:prstGeom prst="rect">
            <a:avLst/>
          </a:prstGeom>
        </p:spPr>
      </p:pic>
      <p:sp>
        <p:nvSpPr>
          <p:cNvPr id="9" name="Espace réservé du texte 11">
            <a:extLst>
              <a:ext uri="{FF2B5EF4-FFF2-40B4-BE49-F238E27FC236}">
                <a16:creationId xmlns:a16="http://schemas.microsoft.com/office/drawing/2014/main" id="{C8653F3A-1385-4863-8E39-465A4A075F34}"/>
              </a:ext>
            </a:extLst>
          </p:cNvPr>
          <p:cNvSpPr>
            <a:spLocks noGrp="1"/>
          </p:cNvSpPr>
          <p:nvPr>
            <p:ph type="body" idx="11"/>
          </p:nvPr>
        </p:nvSpPr>
        <p:spPr>
          <a:xfrm>
            <a:off x="680409" y="3342209"/>
            <a:ext cx="7886700" cy="1125140"/>
          </a:xfrm>
        </p:spPr>
        <p:txBody>
          <a:bodyPr>
            <a:normAutofit/>
          </a:bodyPr>
          <a:lstStyle>
            <a:lvl1pPr marL="0" indent="0">
              <a:buNone/>
              <a:defRPr sz="1500">
                <a:solidFill>
                  <a:schemeClr val="bg2">
                    <a:lumMod val="50000"/>
                  </a:schemeClr>
                </a:solidFill>
                <a:latin typeface="Source Sans Pro" panose="020B0503030403020204" pitchFamily="34" charset="0"/>
              </a:defRPr>
            </a:lvl1pPr>
          </a:lstStyle>
          <a:p>
            <a:r>
              <a:rPr lang="fr-FR"/>
              <a:t>Template </a:t>
            </a:r>
          </a:p>
        </p:txBody>
      </p:sp>
      <p:sp>
        <p:nvSpPr>
          <p:cNvPr id="5" name="Titre 4">
            <a:extLst>
              <a:ext uri="{FF2B5EF4-FFF2-40B4-BE49-F238E27FC236}">
                <a16:creationId xmlns:a16="http://schemas.microsoft.com/office/drawing/2014/main" id="{0F11DC54-D23C-4DB3-99A6-9B902A6AC1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80409" y="2028178"/>
            <a:ext cx="7886700" cy="1314031"/>
          </a:xfrm>
        </p:spPr>
        <p:txBody>
          <a:bodyPr>
            <a:normAutofit/>
          </a:bodyPr>
          <a:lstStyle>
            <a:lvl1pPr>
              <a:defRPr sz="3600" b="0">
                <a:solidFill>
                  <a:srgbClr val="00727A"/>
                </a:solidFill>
              </a:defRPr>
            </a:lvl1pPr>
          </a:lstStyle>
          <a:p>
            <a:pPr algn="ctr"/>
            <a:r>
              <a:rPr lang="fr-FR" sz="3300">
                <a:solidFill>
                  <a:srgbClr val="00727A"/>
                </a:solidFill>
                <a:latin typeface="Source Sans Pro" panose="020B0503030403020204" pitchFamily="34" charset="0"/>
              </a:rPr>
              <a:t>PRÉSENTATION GUILDE TEST</a:t>
            </a:r>
          </a:p>
        </p:txBody>
      </p:sp>
    </p:spTree>
    <p:extLst>
      <p:ext uri="{BB962C8B-B14F-4D97-AF65-F5344CB8AC3E}">
        <p14:creationId xmlns:p14="http://schemas.microsoft.com/office/powerpoint/2010/main" val="3257978990"/>
      </p:ext>
    </p:extLst>
  </p:cSld>
  <p:clrMapOvr>
    <a:masterClrMapping/>
  </p:clrMapOvr>
</p:sldLayout>
</file>

<file path=ppt/slideLayouts/slideLayout4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 5">
            <a:extLst>
              <a:ext uri="{FF2B5EF4-FFF2-40B4-BE49-F238E27FC236}">
                <a16:creationId xmlns:a16="http://schemas.microsoft.com/office/drawing/2014/main" id="{27EA5D15-B49E-4373-A3B7-BBC7925B786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37571" y="4724401"/>
            <a:ext cx="331946" cy="331946"/>
          </a:xfrm>
          <a:prstGeom prst="rect">
            <a:avLst/>
          </a:prstGeom>
        </p:spPr>
      </p:pic>
      <p:pic>
        <p:nvPicPr>
          <p:cNvPr id="7" name="Image 6">
            <a:extLst>
              <a:ext uri="{FF2B5EF4-FFF2-40B4-BE49-F238E27FC236}">
                <a16:creationId xmlns:a16="http://schemas.microsoft.com/office/drawing/2014/main" id="{48D02ADD-E5E9-4394-8A35-86CC8B5FBFE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colorTemperature colorTemp="11200"/>
                    </a14:imgEffect>
                    <a14:imgEffect>
                      <a14:brightnessContrast bright="-2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9997" y="708882"/>
            <a:ext cx="4934294" cy="4434618"/>
          </a:xfrm>
          <a:prstGeom prst="rect">
            <a:avLst/>
          </a:prstGeom>
        </p:spPr>
      </p:pic>
      <p:sp>
        <p:nvSpPr>
          <p:cNvPr id="9" name="Espace réservé du texte 11">
            <a:extLst>
              <a:ext uri="{FF2B5EF4-FFF2-40B4-BE49-F238E27FC236}">
                <a16:creationId xmlns:a16="http://schemas.microsoft.com/office/drawing/2014/main" id="{C8653F3A-1385-4863-8E39-465A4A075F34}"/>
              </a:ext>
            </a:extLst>
          </p:cNvPr>
          <p:cNvSpPr>
            <a:spLocks noGrp="1"/>
          </p:cNvSpPr>
          <p:nvPr>
            <p:ph type="body" idx="11"/>
          </p:nvPr>
        </p:nvSpPr>
        <p:spPr>
          <a:xfrm>
            <a:off x="680409" y="3342209"/>
            <a:ext cx="7886700" cy="1125140"/>
          </a:xfrm>
        </p:spPr>
        <p:txBody>
          <a:bodyPr>
            <a:normAutofit/>
          </a:bodyPr>
          <a:lstStyle>
            <a:lvl1pPr marL="0" indent="0">
              <a:buNone/>
              <a:defRPr sz="1500">
                <a:solidFill>
                  <a:schemeClr val="bg2">
                    <a:lumMod val="50000"/>
                  </a:schemeClr>
                </a:solidFill>
                <a:latin typeface="Source Sans Pro" panose="020B0503030403020204" pitchFamily="34" charset="0"/>
              </a:defRPr>
            </a:lvl1pPr>
          </a:lstStyle>
          <a:p>
            <a:r>
              <a:rPr lang="fr-FR"/>
              <a:t>Template </a:t>
            </a:r>
          </a:p>
        </p:txBody>
      </p:sp>
      <p:sp>
        <p:nvSpPr>
          <p:cNvPr id="5" name="Titre 4">
            <a:extLst>
              <a:ext uri="{FF2B5EF4-FFF2-40B4-BE49-F238E27FC236}">
                <a16:creationId xmlns:a16="http://schemas.microsoft.com/office/drawing/2014/main" id="{0F11DC54-D23C-4DB3-99A6-9B902A6AC1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80409" y="2028178"/>
            <a:ext cx="7886700" cy="1314031"/>
          </a:xfrm>
        </p:spPr>
        <p:txBody>
          <a:bodyPr>
            <a:normAutofit/>
          </a:bodyPr>
          <a:lstStyle>
            <a:lvl1pPr>
              <a:defRPr sz="3600" b="0">
                <a:solidFill>
                  <a:srgbClr val="00727A"/>
                </a:solidFill>
              </a:defRPr>
            </a:lvl1pPr>
          </a:lstStyle>
          <a:p>
            <a:pPr algn="ctr"/>
            <a:r>
              <a:rPr lang="fr-FR" sz="3300">
                <a:solidFill>
                  <a:srgbClr val="00727A"/>
                </a:solidFill>
                <a:latin typeface="Source Sans Pro" panose="020B0503030403020204" pitchFamily="34" charset="0"/>
              </a:rPr>
              <a:t>PRÉSENTATION GUILDE TEST</a:t>
            </a:r>
          </a:p>
        </p:txBody>
      </p:sp>
    </p:spTree>
    <p:extLst>
      <p:ext uri="{BB962C8B-B14F-4D97-AF65-F5344CB8AC3E}">
        <p14:creationId xmlns:p14="http://schemas.microsoft.com/office/powerpoint/2010/main" val="3257978990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 5">
            <a:extLst>
              <a:ext uri="{FF2B5EF4-FFF2-40B4-BE49-F238E27FC236}">
                <a16:creationId xmlns:a16="http://schemas.microsoft.com/office/drawing/2014/main" id="{27EA5D15-B49E-4373-A3B7-BBC7925B786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37571" y="4724401"/>
            <a:ext cx="331946" cy="331946"/>
          </a:xfrm>
          <a:prstGeom prst="rect">
            <a:avLst/>
          </a:prstGeom>
        </p:spPr>
      </p:pic>
      <p:pic>
        <p:nvPicPr>
          <p:cNvPr id="7" name="Image 6">
            <a:extLst>
              <a:ext uri="{FF2B5EF4-FFF2-40B4-BE49-F238E27FC236}">
                <a16:creationId xmlns:a16="http://schemas.microsoft.com/office/drawing/2014/main" id="{48D02ADD-E5E9-4394-8A35-86CC8B5FBFE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colorTemperature colorTemp="11200"/>
                    </a14:imgEffect>
                    <a14:imgEffect>
                      <a14:brightnessContrast bright="-2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9997" y="708882"/>
            <a:ext cx="4934294" cy="4434618"/>
          </a:xfrm>
          <a:prstGeom prst="rect">
            <a:avLst/>
          </a:prstGeom>
        </p:spPr>
      </p:pic>
      <p:sp>
        <p:nvSpPr>
          <p:cNvPr id="9" name="Espace réservé du texte 11">
            <a:extLst>
              <a:ext uri="{FF2B5EF4-FFF2-40B4-BE49-F238E27FC236}">
                <a16:creationId xmlns:a16="http://schemas.microsoft.com/office/drawing/2014/main" id="{C8653F3A-1385-4863-8E39-465A4A075F34}"/>
              </a:ext>
            </a:extLst>
          </p:cNvPr>
          <p:cNvSpPr>
            <a:spLocks noGrp="1"/>
          </p:cNvSpPr>
          <p:nvPr>
            <p:ph type="body" idx="11"/>
          </p:nvPr>
        </p:nvSpPr>
        <p:spPr>
          <a:xfrm>
            <a:off x="680409" y="3342209"/>
            <a:ext cx="7886700" cy="1125140"/>
          </a:xfrm>
        </p:spPr>
        <p:txBody>
          <a:bodyPr>
            <a:normAutofit/>
          </a:bodyPr>
          <a:lstStyle>
            <a:lvl1pPr marL="0" indent="0">
              <a:buNone/>
              <a:defRPr sz="1500">
                <a:solidFill>
                  <a:schemeClr val="bg2">
                    <a:lumMod val="50000"/>
                  </a:schemeClr>
                </a:solidFill>
                <a:latin typeface="Source Sans Pro" panose="020B0503030403020204" pitchFamily="34" charset="0"/>
              </a:defRPr>
            </a:lvl1pPr>
          </a:lstStyle>
          <a:p>
            <a:r>
              <a:rPr lang="fr-FR"/>
              <a:t>Template </a:t>
            </a:r>
          </a:p>
        </p:txBody>
      </p:sp>
      <p:pic>
        <p:nvPicPr>
          <p:cNvPr id="10" name="Image 9">
            <a:extLst>
              <a:ext uri="{FF2B5EF4-FFF2-40B4-BE49-F238E27FC236}">
                <a16:creationId xmlns:a16="http://schemas.microsoft.com/office/drawing/2014/main" id="{FDB7745A-6099-430D-A5CA-F46CC1E959DE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43172" y="364178"/>
            <a:ext cx="1457657" cy="1352858"/>
          </a:xfrm>
          <a:prstGeom prst="rect">
            <a:avLst/>
          </a:prstGeom>
        </p:spPr>
      </p:pic>
      <p:sp>
        <p:nvSpPr>
          <p:cNvPr id="5" name="Titre 4">
            <a:extLst>
              <a:ext uri="{FF2B5EF4-FFF2-40B4-BE49-F238E27FC236}">
                <a16:creationId xmlns:a16="http://schemas.microsoft.com/office/drawing/2014/main" id="{0F11DC54-D23C-4DB3-99A6-9B902A6AC1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80409" y="2028178"/>
            <a:ext cx="7886700" cy="1314031"/>
          </a:xfrm>
        </p:spPr>
        <p:txBody>
          <a:bodyPr>
            <a:normAutofit/>
          </a:bodyPr>
          <a:lstStyle>
            <a:lvl1pPr>
              <a:defRPr sz="3600" b="0">
                <a:solidFill>
                  <a:srgbClr val="00727A"/>
                </a:solidFill>
              </a:defRPr>
            </a:lvl1pPr>
          </a:lstStyle>
          <a:p>
            <a:pPr algn="ctr"/>
            <a:r>
              <a:rPr lang="fr-FR" sz="3300">
                <a:solidFill>
                  <a:srgbClr val="00727A"/>
                </a:solidFill>
                <a:latin typeface="Source Sans Pro" panose="020B0503030403020204" pitchFamily="34" charset="0"/>
              </a:rPr>
              <a:t>PRÉSENTATION GUILDE TEST</a:t>
            </a:r>
          </a:p>
        </p:txBody>
      </p:sp>
    </p:spTree>
    <p:extLst>
      <p:ext uri="{BB962C8B-B14F-4D97-AF65-F5344CB8AC3E}">
        <p14:creationId xmlns:p14="http://schemas.microsoft.com/office/powerpoint/2010/main" val="2150815942"/>
      </p:ext>
    </p:extLst>
  </p:cSld>
  <p:clrMapOvr>
    <a:masterClrMapping/>
  </p:clrMapOvr>
</p:sldLayout>
</file>

<file path=ppt/slideLayouts/slideLayout4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 5">
            <a:extLst>
              <a:ext uri="{FF2B5EF4-FFF2-40B4-BE49-F238E27FC236}">
                <a16:creationId xmlns:a16="http://schemas.microsoft.com/office/drawing/2014/main" id="{27EA5D15-B49E-4373-A3B7-BBC7925B786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37571" y="4724401"/>
            <a:ext cx="331946" cy="331946"/>
          </a:xfrm>
          <a:prstGeom prst="rect">
            <a:avLst/>
          </a:prstGeom>
        </p:spPr>
      </p:pic>
      <p:pic>
        <p:nvPicPr>
          <p:cNvPr id="7" name="Image 6">
            <a:extLst>
              <a:ext uri="{FF2B5EF4-FFF2-40B4-BE49-F238E27FC236}">
                <a16:creationId xmlns:a16="http://schemas.microsoft.com/office/drawing/2014/main" id="{48D02ADD-E5E9-4394-8A35-86CC8B5FBFE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colorTemperature colorTemp="11200"/>
                    </a14:imgEffect>
                    <a14:imgEffect>
                      <a14:brightnessContrast bright="-2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9997" y="708882"/>
            <a:ext cx="4934294" cy="4434618"/>
          </a:xfrm>
          <a:prstGeom prst="rect">
            <a:avLst/>
          </a:prstGeom>
        </p:spPr>
      </p:pic>
      <p:sp>
        <p:nvSpPr>
          <p:cNvPr id="9" name="Espace réservé du texte 11">
            <a:extLst>
              <a:ext uri="{FF2B5EF4-FFF2-40B4-BE49-F238E27FC236}">
                <a16:creationId xmlns:a16="http://schemas.microsoft.com/office/drawing/2014/main" id="{C8653F3A-1385-4863-8E39-465A4A075F34}"/>
              </a:ext>
            </a:extLst>
          </p:cNvPr>
          <p:cNvSpPr>
            <a:spLocks noGrp="1"/>
          </p:cNvSpPr>
          <p:nvPr>
            <p:ph type="body" idx="11"/>
          </p:nvPr>
        </p:nvSpPr>
        <p:spPr>
          <a:xfrm>
            <a:off x="680409" y="3342209"/>
            <a:ext cx="7886700" cy="1125140"/>
          </a:xfrm>
        </p:spPr>
        <p:txBody>
          <a:bodyPr>
            <a:normAutofit/>
          </a:bodyPr>
          <a:lstStyle>
            <a:lvl1pPr marL="0" indent="0">
              <a:buNone/>
              <a:defRPr sz="1500">
                <a:solidFill>
                  <a:schemeClr val="bg2">
                    <a:lumMod val="50000"/>
                  </a:schemeClr>
                </a:solidFill>
                <a:latin typeface="Source Sans Pro" panose="020B0503030403020204" pitchFamily="34" charset="0"/>
              </a:defRPr>
            </a:lvl1pPr>
          </a:lstStyle>
          <a:p>
            <a:r>
              <a:rPr lang="fr-FR"/>
              <a:t>Template </a:t>
            </a:r>
          </a:p>
        </p:txBody>
      </p:sp>
      <p:pic>
        <p:nvPicPr>
          <p:cNvPr id="10" name="Image 9">
            <a:extLst>
              <a:ext uri="{FF2B5EF4-FFF2-40B4-BE49-F238E27FC236}">
                <a16:creationId xmlns:a16="http://schemas.microsoft.com/office/drawing/2014/main" id="{FDB7745A-6099-430D-A5CA-F46CC1E959DE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43172" y="364178"/>
            <a:ext cx="1457657" cy="1352858"/>
          </a:xfrm>
          <a:prstGeom prst="rect">
            <a:avLst/>
          </a:prstGeom>
        </p:spPr>
      </p:pic>
      <p:sp>
        <p:nvSpPr>
          <p:cNvPr id="5" name="Titre 4">
            <a:extLst>
              <a:ext uri="{FF2B5EF4-FFF2-40B4-BE49-F238E27FC236}">
                <a16:creationId xmlns:a16="http://schemas.microsoft.com/office/drawing/2014/main" id="{0F11DC54-D23C-4DB3-99A6-9B902A6AC1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80409" y="2028178"/>
            <a:ext cx="7886700" cy="1314031"/>
          </a:xfrm>
        </p:spPr>
        <p:txBody>
          <a:bodyPr>
            <a:normAutofit/>
          </a:bodyPr>
          <a:lstStyle>
            <a:lvl1pPr>
              <a:defRPr sz="3600" b="0">
                <a:solidFill>
                  <a:srgbClr val="00727A"/>
                </a:solidFill>
              </a:defRPr>
            </a:lvl1pPr>
          </a:lstStyle>
          <a:p>
            <a:pPr algn="ctr"/>
            <a:r>
              <a:rPr lang="fr-FR" sz="3300">
                <a:solidFill>
                  <a:srgbClr val="00727A"/>
                </a:solidFill>
                <a:latin typeface="Source Sans Pro" panose="020B0503030403020204" pitchFamily="34" charset="0"/>
              </a:rPr>
              <a:t>PRÉSENTATION GUILDE TEST</a:t>
            </a:r>
          </a:p>
        </p:txBody>
      </p:sp>
    </p:spTree>
    <p:extLst>
      <p:ext uri="{BB962C8B-B14F-4D97-AF65-F5344CB8AC3E}">
        <p14:creationId xmlns:p14="http://schemas.microsoft.com/office/powerpoint/2010/main" val="2150815942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AutoShape 2">
            <a:extLst>
              <a:ext uri="{FF2B5EF4-FFF2-40B4-BE49-F238E27FC236}">
                <a16:creationId xmlns:a16="http://schemas.microsoft.com/office/drawing/2014/main" id="{5D63697B-BC89-4ED0-A9C0-22E395B2AC1B}"/>
              </a:ext>
            </a:extLst>
          </p:cNvPr>
          <p:cNvSpPr/>
          <p:nvPr userDrawn="1"/>
        </p:nvSpPr>
        <p:spPr>
          <a:xfrm>
            <a:off x="0" y="0"/>
            <a:ext cx="4572000" cy="5143500"/>
          </a:xfrm>
          <a:prstGeom prst="rect">
            <a:avLst/>
          </a:prstGeom>
          <a:solidFill>
            <a:srgbClr val="F57A30"/>
          </a:solidFill>
        </p:spPr>
      </p:sp>
      <p:sp>
        <p:nvSpPr>
          <p:cNvPr id="9" name="AutoShape 9">
            <a:extLst>
              <a:ext uri="{FF2B5EF4-FFF2-40B4-BE49-F238E27FC236}">
                <a16:creationId xmlns:a16="http://schemas.microsoft.com/office/drawing/2014/main" id="{79E90F2D-53D6-41A0-8503-54C4410411AF}"/>
              </a:ext>
            </a:extLst>
          </p:cNvPr>
          <p:cNvSpPr/>
          <p:nvPr userDrawn="1"/>
        </p:nvSpPr>
        <p:spPr>
          <a:xfrm>
            <a:off x="514351" y="4058091"/>
            <a:ext cx="17825" cy="571060"/>
          </a:xfrm>
          <a:prstGeom prst="rect">
            <a:avLst/>
          </a:prstGeom>
          <a:solidFill>
            <a:srgbClr val="FFFFFF"/>
          </a:solidFill>
        </p:spPr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C8653B2-EFCC-4017-B032-6524AB4D82FC}"/>
              </a:ext>
            </a:extLst>
          </p:cNvPr>
          <p:cNvSpPr/>
          <p:nvPr userDrawn="1"/>
        </p:nvSpPr>
        <p:spPr>
          <a:xfrm>
            <a:off x="5154435" y="0"/>
            <a:ext cx="120316" cy="5143500"/>
          </a:xfrm>
          <a:prstGeom prst="rect">
            <a:avLst/>
          </a:prstGeom>
          <a:solidFill>
            <a:srgbClr val="0072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200"/>
          </a:p>
        </p:txBody>
      </p:sp>
      <p:sp>
        <p:nvSpPr>
          <p:cNvPr id="11" name="Ellipse 10">
            <a:extLst>
              <a:ext uri="{FF2B5EF4-FFF2-40B4-BE49-F238E27FC236}">
                <a16:creationId xmlns:a16="http://schemas.microsoft.com/office/drawing/2014/main" id="{00F03227-C75B-45ED-9F45-EE2EF34A12FD}"/>
              </a:ext>
            </a:extLst>
          </p:cNvPr>
          <p:cNvSpPr/>
          <p:nvPr userDrawn="1"/>
        </p:nvSpPr>
        <p:spPr>
          <a:xfrm>
            <a:off x="5080259" y="27945"/>
            <a:ext cx="268667" cy="252776"/>
          </a:xfrm>
          <a:prstGeom prst="ellipse">
            <a:avLst/>
          </a:prstGeom>
          <a:solidFill>
            <a:srgbClr val="0072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050"/>
              <a:t>1</a:t>
            </a:r>
          </a:p>
        </p:txBody>
      </p:sp>
      <p:sp>
        <p:nvSpPr>
          <p:cNvPr id="16" name="ZoneTexte 15">
            <a:extLst>
              <a:ext uri="{FF2B5EF4-FFF2-40B4-BE49-F238E27FC236}">
                <a16:creationId xmlns:a16="http://schemas.microsoft.com/office/drawing/2014/main" id="{7B914EF7-478D-4F71-BD01-7BB0752B037B}"/>
              </a:ext>
            </a:extLst>
          </p:cNvPr>
          <p:cNvSpPr txBox="1"/>
          <p:nvPr userDrawn="1"/>
        </p:nvSpPr>
        <p:spPr>
          <a:xfrm>
            <a:off x="5510005" y="1641220"/>
            <a:ext cx="3368843" cy="15747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572691" lvl="1" indent="-171450">
              <a:spcBef>
                <a:spcPts val="750"/>
              </a:spcBef>
              <a:buFont typeface="+mj-lt"/>
              <a:buAutoNum type="arabicPeriod"/>
            </a:pPr>
            <a:r>
              <a:rPr lang="fr-FR" sz="1050" b="0">
                <a:solidFill>
                  <a:schemeClr val="tx1"/>
                </a:solidFill>
              </a:rPr>
              <a:t>Tests de performances</a:t>
            </a:r>
          </a:p>
          <a:p>
            <a:pPr marL="572691" marR="0" lvl="1" indent="-171450" algn="l" defTabSz="685800" rtl="0" eaLnBrk="1" fontAlgn="auto" latinLnBrk="0" hangingPunct="1">
              <a:lnSpc>
                <a:spcPct val="10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fr-FR" sz="1050" b="0">
                <a:solidFill>
                  <a:schemeClr val="tx1"/>
                </a:solidFill>
              </a:rPr>
              <a:t>Tests de sécurité</a:t>
            </a:r>
          </a:p>
          <a:p>
            <a:pPr marL="572691" marR="0" lvl="1" indent="-171450" algn="l" defTabSz="685800" rtl="0" eaLnBrk="1" fontAlgn="auto" latinLnBrk="0" hangingPunct="1">
              <a:lnSpc>
                <a:spcPct val="10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fr-FR" sz="1050" b="0">
                <a:solidFill>
                  <a:schemeClr val="tx1"/>
                </a:solidFill>
              </a:rPr>
              <a:t>Tests de résilience</a:t>
            </a:r>
          </a:p>
          <a:p>
            <a:pPr marL="1001316" marR="0" lvl="2" indent="-257175" algn="l" defTabSz="685800" rtl="0" eaLnBrk="1" fontAlgn="auto" latinLnBrk="0" hangingPunct="1">
              <a:lnSpc>
                <a:spcPct val="10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+mj-lt"/>
              <a:buAutoNum type="alphaLcPeriod"/>
              <a:tabLst/>
              <a:defRPr/>
            </a:pPr>
            <a:r>
              <a:rPr lang="fr-FR" sz="1050" b="0"/>
              <a:t>Patterns</a:t>
            </a:r>
          </a:p>
          <a:p>
            <a:pPr marL="1001316" marR="0" lvl="2" indent="-257175" algn="l" defTabSz="685800" rtl="0" eaLnBrk="1" fontAlgn="auto" latinLnBrk="0" hangingPunct="1">
              <a:lnSpc>
                <a:spcPct val="10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+mj-lt"/>
              <a:buAutoNum type="alphaLcPeriod"/>
              <a:tabLst/>
              <a:defRPr/>
            </a:pPr>
            <a:r>
              <a:rPr lang="fr-FR" sz="1050" b="0"/>
              <a:t>Web services</a:t>
            </a:r>
            <a:endParaRPr lang="fr-FR" sz="1050" b="0">
              <a:solidFill>
                <a:schemeClr val="tx1"/>
              </a:solidFill>
            </a:endParaRPr>
          </a:p>
          <a:p>
            <a:pPr marL="572691" lvl="1" indent="-171450">
              <a:spcBef>
                <a:spcPts val="750"/>
              </a:spcBef>
              <a:buFont typeface="+mj-lt"/>
              <a:buAutoNum type="arabicPeriod"/>
            </a:pPr>
            <a:r>
              <a:rPr lang="fr-FR" sz="1050" b="0">
                <a:solidFill>
                  <a:schemeClr val="tx1"/>
                </a:solidFill>
              </a:rPr>
              <a:t>Tests de rollback</a:t>
            </a:r>
          </a:p>
        </p:txBody>
      </p:sp>
      <p:sp>
        <p:nvSpPr>
          <p:cNvPr id="17" name="ZoneTexte 16">
            <a:extLst>
              <a:ext uri="{FF2B5EF4-FFF2-40B4-BE49-F238E27FC236}">
                <a16:creationId xmlns:a16="http://schemas.microsoft.com/office/drawing/2014/main" id="{62871AC6-FF1A-4C0E-9458-738A64ACA109}"/>
              </a:ext>
            </a:extLst>
          </p:cNvPr>
          <p:cNvSpPr txBox="1"/>
          <p:nvPr userDrawn="1"/>
        </p:nvSpPr>
        <p:spPr>
          <a:xfrm>
            <a:off x="5510005" y="359378"/>
            <a:ext cx="3368843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50"/>
              <a:t>Rappel sur les principes de tests et les activités de test</a:t>
            </a:r>
          </a:p>
        </p:txBody>
      </p:sp>
      <p:sp>
        <p:nvSpPr>
          <p:cNvPr id="18" name="ZoneTexte 17">
            <a:extLst>
              <a:ext uri="{FF2B5EF4-FFF2-40B4-BE49-F238E27FC236}">
                <a16:creationId xmlns:a16="http://schemas.microsoft.com/office/drawing/2014/main" id="{9725BAA8-C07D-48E4-98D6-DA3ADBCB0803}"/>
              </a:ext>
            </a:extLst>
          </p:cNvPr>
          <p:cNvSpPr txBox="1"/>
          <p:nvPr userDrawn="1"/>
        </p:nvSpPr>
        <p:spPr>
          <a:xfrm>
            <a:off x="5510005" y="679838"/>
            <a:ext cx="3368843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1500"/>
              </a:spcBef>
            </a:pPr>
            <a:r>
              <a:rPr lang="fr-FR" sz="1050"/>
              <a:t>Organisation, équipes et rôles</a:t>
            </a:r>
          </a:p>
        </p:txBody>
      </p:sp>
      <p:sp>
        <p:nvSpPr>
          <p:cNvPr id="19" name="ZoneTexte 18">
            <a:extLst>
              <a:ext uri="{FF2B5EF4-FFF2-40B4-BE49-F238E27FC236}">
                <a16:creationId xmlns:a16="http://schemas.microsoft.com/office/drawing/2014/main" id="{E3B59F70-C8A6-4068-8BCF-B90FFF90222F}"/>
              </a:ext>
            </a:extLst>
          </p:cNvPr>
          <p:cNvSpPr txBox="1"/>
          <p:nvPr userDrawn="1"/>
        </p:nvSpPr>
        <p:spPr>
          <a:xfrm>
            <a:off x="5510005" y="1000299"/>
            <a:ext cx="3368843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1500"/>
              </a:spcBef>
            </a:pPr>
            <a:r>
              <a:rPr lang="fr-FR" sz="1050"/>
              <a:t>Tests fonctionnels (et approche TNR / automatisation)</a:t>
            </a:r>
          </a:p>
        </p:txBody>
      </p:sp>
      <p:sp>
        <p:nvSpPr>
          <p:cNvPr id="20" name="ZoneTexte 19">
            <a:extLst>
              <a:ext uri="{FF2B5EF4-FFF2-40B4-BE49-F238E27FC236}">
                <a16:creationId xmlns:a16="http://schemas.microsoft.com/office/drawing/2014/main" id="{76DEA3EF-FE41-4999-8C0F-BD99A5E13BAE}"/>
              </a:ext>
            </a:extLst>
          </p:cNvPr>
          <p:cNvSpPr txBox="1"/>
          <p:nvPr userDrawn="1"/>
        </p:nvSpPr>
        <p:spPr>
          <a:xfrm>
            <a:off x="5510005" y="38917"/>
            <a:ext cx="3368843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1500"/>
              </a:spcBef>
            </a:pPr>
            <a:r>
              <a:rPr lang="fr-FR" sz="1050"/>
              <a:t>Contexte Tribu (enjeux, périmètre, architecture)</a:t>
            </a:r>
          </a:p>
        </p:txBody>
      </p:sp>
      <p:sp>
        <p:nvSpPr>
          <p:cNvPr id="21" name="Titre 20">
            <a:extLst>
              <a:ext uri="{FF2B5EF4-FFF2-40B4-BE49-F238E27FC236}">
                <a16:creationId xmlns:a16="http://schemas.microsoft.com/office/drawing/2014/main" id="{3D2303DA-B04E-495A-B6ED-B0539B666EF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2774" y="2047564"/>
            <a:ext cx="3246453" cy="994172"/>
          </a:xfrm>
        </p:spPr>
        <p:txBody>
          <a:bodyPr/>
          <a:lstStyle>
            <a:lvl1pPr algn="ctr">
              <a:lnSpc>
                <a:spcPts val="3920"/>
              </a:lnSpc>
              <a:defRPr/>
            </a:lvl1pPr>
          </a:lstStyle>
          <a:p>
            <a:pPr algn="ctr">
              <a:lnSpc>
                <a:spcPts val="5227"/>
              </a:lnSpc>
            </a:pPr>
            <a:r>
              <a:rPr lang="en-US" sz="3300">
                <a:solidFill>
                  <a:srgbClr val="FFFFFF"/>
                </a:solidFill>
                <a:latin typeface="Source Sans Pro" panose="020B0503030403020204" pitchFamily="34" charset="0"/>
              </a:rPr>
              <a:t>SOMMAIRE</a:t>
            </a:r>
          </a:p>
        </p:txBody>
      </p:sp>
      <p:sp>
        <p:nvSpPr>
          <p:cNvPr id="22" name="ZoneTexte 21">
            <a:extLst>
              <a:ext uri="{FF2B5EF4-FFF2-40B4-BE49-F238E27FC236}">
                <a16:creationId xmlns:a16="http://schemas.microsoft.com/office/drawing/2014/main" id="{1F7714AF-9DE7-4105-81B8-D608AC258739}"/>
              </a:ext>
            </a:extLst>
          </p:cNvPr>
          <p:cNvSpPr txBox="1"/>
          <p:nvPr userDrawn="1"/>
        </p:nvSpPr>
        <p:spPr>
          <a:xfrm>
            <a:off x="5510005" y="1320760"/>
            <a:ext cx="3368843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50"/>
              <a:t>Tests non fonctionnels</a:t>
            </a:r>
          </a:p>
        </p:txBody>
      </p:sp>
      <p:sp>
        <p:nvSpPr>
          <p:cNvPr id="23" name="ZoneTexte 22">
            <a:extLst>
              <a:ext uri="{FF2B5EF4-FFF2-40B4-BE49-F238E27FC236}">
                <a16:creationId xmlns:a16="http://schemas.microsoft.com/office/drawing/2014/main" id="{53147BEF-6A13-489F-A3CE-21BB061A2A0B}"/>
              </a:ext>
            </a:extLst>
          </p:cNvPr>
          <p:cNvSpPr txBox="1"/>
          <p:nvPr userDrawn="1"/>
        </p:nvSpPr>
        <p:spPr>
          <a:xfrm>
            <a:off x="5510005" y="3223654"/>
            <a:ext cx="3368843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50"/>
              <a:t>Tests de Non-régression</a:t>
            </a:r>
          </a:p>
        </p:txBody>
      </p:sp>
      <p:sp>
        <p:nvSpPr>
          <p:cNvPr id="24" name="ZoneTexte 23">
            <a:extLst>
              <a:ext uri="{FF2B5EF4-FFF2-40B4-BE49-F238E27FC236}">
                <a16:creationId xmlns:a16="http://schemas.microsoft.com/office/drawing/2014/main" id="{FFA165D2-E3B3-4E01-9DB4-0F44D973FAC0}"/>
              </a:ext>
            </a:extLst>
          </p:cNvPr>
          <p:cNvSpPr txBox="1"/>
          <p:nvPr userDrawn="1"/>
        </p:nvSpPr>
        <p:spPr>
          <a:xfrm>
            <a:off x="5510005" y="4168328"/>
            <a:ext cx="3368843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1500"/>
              </a:spcBef>
            </a:pPr>
            <a:r>
              <a:rPr lang="fr-FR" sz="1050"/>
              <a:t>Actions d’amélioration</a:t>
            </a:r>
          </a:p>
        </p:txBody>
      </p:sp>
      <p:sp>
        <p:nvSpPr>
          <p:cNvPr id="25" name="ZoneTexte 24">
            <a:extLst>
              <a:ext uri="{FF2B5EF4-FFF2-40B4-BE49-F238E27FC236}">
                <a16:creationId xmlns:a16="http://schemas.microsoft.com/office/drawing/2014/main" id="{7C00905C-8413-4E4A-A43C-9C299D4ED06C}"/>
              </a:ext>
            </a:extLst>
          </p:cNvPr>
          <p:cNvSpPr txBox="1"/>
          <p:nvPr userDrawn="1"/>
        </p:nvSpPr>
        <p:spPr>
          <a:xfrm>
            <a:off x="5510005" y="4786995"/>
            <a:ext cx="3368843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altLang="fr-FR" sz="1050"/>
              <a:t>Annexes</a:t>
            </a:r>
            <a:endParaRPr lang="fr-FR" sz="1050"/>
          </a:p>
        </p:txBody>
      </p:sp>
      <p:sp>
        <p:nvSpPr>
          <p:cNvPr id="26" name="ZoneTexte 25">
            <a:extLst>
              <a:ext uri="{FF2B5EF4-FFF2-40B4-BE49-F238E27FC236}">
                <a16:creationId xmlns:a16="http://schemas.microsoft.com/office/drawing/2014/main" id="{D56E3287-59E3-4175-AB61-17AE5E390D8B}"/>
              </a:ext>
            </a:extLst>
          </p:cNvPr>
          <p:cNvSpPr txBox="1"/>
          <p:nvPr userDrawn="1"/>
        </p:nvSpPr>
        <p:spPr>
          <a:xfrm>
            <a:off x="5510005" y="4488094"/>
            <a:ext cx="3368843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050"/>
              <a:t>Spécificités par domaine / </a:t>
            </a:r>
            <a:r>
              <a:rPr lang="fr-FR" sz="1050" err="1"/>
              <a:t>squad</a:t>
            </a:r>
            <a:r>
              <a:rPr lang="fr-FR" sz="1050"/>
              <a:t> </a:t>
            </a:r>
          </a:p>
        </p:txBody>
      </p:sp>
      <p:sp>
        <p:nvSpPr>
          <p:cNvPr id="27" name="ZoneTexte 26">
            <a:extLst>
              <a:ext uri="{FF2B5EF4-FFF2-40B4-BE49-F238E27FC236}">
                <a16:creationId xmlns:a16="http://schemas.microsoft.com/office/drawing/2014/main" id="{42B49444-4B6C-49E7-9C60-932A0D41D104}"/>
              </a:ext>
            </a:extLst>
          </p:cNvPr>
          <p:cNvSpPr txBox="1"/>
          <p:nvPr userDrawn="1"/>
        </p:nvSpPr>
        <p:spPr>
          <a:xfrm>
            <a:off x="5510005" y="3853425"/>
            <a:ext cx="3368843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1500"/>
              </a:spcBef>
            </a:pPr>
            <a:r>
              <a:rPr lang="fr-FR" sz="1050"/>
              <a:t>Moyens de tests et outils</a:t>
            </a:r>
          </a:p>
        </p:txBody>
      </p:sp>
      <p:sp>
        <p:nvSpPr>
          <p:cNvPr id="28" name="ZoneTexte 27">
            <a:extLst>
              <a:ext uri="{FF2B5EF4-FFF2-40B4-BE49-F238E27FC236}">
                <a16:creationId xmlns:a16="http://schemas.microsoft.com/office/drawing/2014/main" id="{CB93BD62-CA74-4E41-962E-30D62BD1F9EA}"/>
              </a:ext>
            </a:extLst>
          </p:cNvPr>
          <p:cNvSpPr txBox="1"/>
          <p:nvPr userDrawn="1"/>
        </p:nvSpPr>
        <p:spPr>
          <a:xfrm>
            <a:off x="5510005" y="3538540"/>
            <a:ext cx="3368843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1500"/>
              </a:spcBef>
            </a:pPr>
            <a:r>
              <a:rPr lang="fr-FR" sz="1050"/>
              <a:t>Jeux de données</a:t>
            </a:r>
          </a:p>
        </p:txBody>
      </p:sp>
      <p:sp>
        <p:nvSpPr>
          <p:cNvPr id="52" name="Ellipse 51">
            <a:extLst>
              <a:ext uri="{FF2B5EF4-FFF2-40B4-BE49-F238E27FC236}">
                <a16:creationId xmlns:a16="http://schemas.microsoft.com/office/drawing/2014/main" id="{C273C996-CF36-4A9C-92E2-62697006DBF6}"/>
              </a:ext>
            </a:extLst>
          </p:cNvPr>
          <p:cNvSpPr/>
          <p:nvPr userDrawn="1"/>
        </p:nvSpPr>
        <p:spPr>
          <a:xfrm>
            <a:off x="5080259" y="3212682"/>
            <a:ext cx="268667" cy="252776"/>
          </a:xfrm>
          <a:prstGeom prst="ellipse">
            <a:avLst/>
          </a:prstGeom>
          <a:solidFill>
            <a:srgbClr val="0072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050"/>
              <a:t>6</a:t>
            </a:r>
          </a:p>
        </p:txBody>
      </p:sp>
      <p:sp>
        <p:nvSpPr>
          <p:cNvPr id="53" name="Ellipse 52">
            <a:extLst>
              <a:ext uri="{FF2B5EF4-FFF2-40B4-BE49-F238E27FC236}">
                <a16:creationId xmlns:a16="http://schemas.microsoft.com/office/drawing/2014/main" id="{ABF1D91D-004D-416D-B1A3-A646CE845EB6}"/>
              </a:ext>
            </a:extLst>
          </p:cNvPr>
          <p:cNvSpPr/>
          <p:nvPr userDrawn="1"/>
        </p:nvSpPr>
        <p:spPr>
          <a:xfrm>
            <a:off x="5080259" y="668938"/>
            <a:ext cx="268667" cy="252776"/>
          </a:xfrm>
          <a:prstGeom prst="ellipse">
            <a:avLst/>
          </a:prstGeom>
          <a:solidFill>
            <a:srgbClr val="0072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050"/>
              <a:t>3</a:t>
            </a:r>
          </a:p>
        </p:txBody>
      </p:sp>
      <p:sp>
        <p:nvSpPr>
          <p:cNvPr id="54" name="Ellipse 53">
            <a:extLst>
              <a:ext uri="{FF2B5EF4-FFF2-40B4-BE49-F238E27FC236}">
                <a16:creationId xmlns:a16="http://schemas.microsoft.com/office/drawing/2014/main" id="{2338766D-C554-42E5-845B-1184026C47E0}"/>
              </a:ext>
            </a:extLst>
          </p:cNvPr>
          <p:cNvSpPr/>
          <p:nvPr userDrawn="1"/>
        </p:nvSpPr>
        <p:spPr>
          <a:xfrm>
            <a:off x="5080259" y="974311"/>
            <a:ext cx="268667" cy="252776"/>
          </a:xfrm>
          <a:prstGeom prst="ellipse">
            <a:avLst/>
          </a:prstGeom>
          <a:solidFill>
            <a:srgbClr val="0072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050"/>
              <a:t>4</a:t>
            </a:r>
          </a:p>
        </p:txBody>
      </p:sp>
      <p:sp>
        <p:nvSpPr>
          <p:cNvPr id="55" name="Ellipse 54">
            <a:extLst>
              <a:ext uri="{FF2B5EF4-FFF2-40B4-BE49-F238E27FC236}">
                <a16:creationId xmlns:a16="http://schemas.microsoft.com/office/drawing/2014/main" id="{C13A246C-12CF-422A-886F-82218FC04196}"/>
              </a:ext>
            </a:extLst>
          </p:cNvPr>
          <p:cNvSpPr/>
          <p:nvPr userDrawn="1"/>
        </p:nvSpPr>
        <p:spPr>
          <a:xfrm>
            <a:off x="5080259" y="1304572"/>
            <a:ext cx="268667" cy="252776"/>
          </a:xfrm>
          <a:prstGeom prst="ellipse">
            <a:avLst/>
          </a:prstGeom>
          <a:solidFill>
            <a:srgbClr val="0072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050"/>
              <a:t>5</a:t>
            </a:r>
          </a:p>
        </p:txBody>
      </p:sp>
      <p:sp>
        <p:nvSpPr>
          <p:cNvPr id="56" name="Ellipse 55">
            <a:extLst>
              <a:ext uri="{FF2B5EF4-FFF2-40B4-BE49-F238E27FC236}">
                <a16:creationId xmlns:a16="http://schemas.microsoft.com/office/drawing/2014/main" id="{63C060D2-ACB0-47DB-8798-A803C5FF59B1}"/>
              </a:ext>
            </a:extLst>
          </p:cNvPr>
          <p:cNvSpPr/>
          <p:nvPr userDrawn="1"/>
        </p:nvSpPr>
        <p:spPr>
          <a:xfrm>
            <a:off x="5080259" y="354739"/>
            <a:ext cx="268667" cy="252776"/>
          </a:xfrm>
          <a:prstGeom prst="ellipse">
            <a:avLst/>
          </a:prstGeom>
          <a:solidFill>
            <a:srgbClr val="0072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050"/>
              <a:t>2</a:t>
            </a:r>
          </a:p>
        </p:txBody>
      </p:sp>
      <p:sp>
        <p:nvSpPr>
          <p:cNvPr id="57" name="Ellipse 56">
            <a:extLst>
              <a:ext uri="{FF2B5EF4-FFF2-40B4-BE49-F238E27FC236}">
                <a16:creationId xmlns:a16="http://schemas.microsoft.com/office/drawing/2014/main" id="{8F3018C2-D219-45FA-BD14-84F3BA7C1049}"/>
              </a:ext>
            </a:extLst>
          </p:cNvPr>
          <p:cNvSpPr/>
          <p:nvPr userDrawn="1"/>
        </p:nvSpPr>
        <p:spPr>
          <a:xfrm>
            <a:off x="5080259" y="3527568"/>
            <a:ext cx="268667" cy="252776"/>
          </a:xfrm>
          <a:prstGeom prst="ellipse">
            <a:avLst/>
          </a:prstGeom>
          <a:solidFill>
            <a:srgbClr val="0072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050"/>
              <a:t>7</a:t>
            </a:r>
          </a:p>
        </p:txBody>
      </p:sp>
      <p:sp>
        <p:nvSpPr>
          <p:cNvPr id="58" name="Ellipse 57">
            <a:extLst>
              <a:ext uri="{FF2B5EF4-FFF2-40B4-BE49-F238E27FC236}">
                <a16:creationId xmlns:a16="http://schemas.microsoft.com/office/drawing/2014/main" id="{1D4B895B-9F6F-449E-BD98-FB3DB974CFE7}"/>
              </a:ext>
            </a:extLst>
          </p:cNvPr>
          <p:cNvSpPr/>
          <p:nvPr userDrawn="1"/>
        </p:nvSpPr>
        <p:spPr>
          <a:xfrm>
            <a:off x="5080259" y="3842453"/>
            <a:ext cx="268667" cy="252776"/>
          </a:xfrm>
          <a:prstGeom prst="ellipse">
            <a:avLst/>
          </a:prstGeom>
          <a:solidFill>
            <a:srgbClr val="0072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050"/>
              <a:t>8</a:t>
            </a:r>
          </a:p>
        </p:txBody>
      </p:sp>
      <p:sp>
        <p:nvSpPr>
          <p:cNvPr id="59" name="Ellipse 58">
            <a:extLst>
              <a:ext uri="{FF2B5EF4-FFF2-40B4-BE49-F238E27FC236}">
                <a16:creationId xmlns:a16="http://schemas.microsoft.com/office/drawing/2014/main" id="{8B6395EC-AEAE-4729-8B61-834BD6CF6522}"/>
              </a:ext>
            </a:extLst>
          </p:cNvPr>
          <p:cNvSpPr/>
          <p:nvPr userDrawn="1"/>
        </p:nvSpPr>
        <p:spPr>
          <a:xfrm>
            <a:off x="5080259" y="4157356"/>
            <a:ext cx="268667" cy="252776"/>
          </a:xfrm>
          <a:prstGeom prst="ellipse">
            <a:avLst/>
          </a:prstGeom>
          <a:solidFill>
            <a:srgbClr val="0072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050"/>
              <a:t>9</a:t>
            </a:r>
          </a:p>
        </p:txBody>
      </p:sp>
      <p:sp>
        <p:nvSpPr>
          <p:cNvPr id="61" name="Ellipse 60">
            <a:extLst>
              <a:ext uri="{FF2B5EF4-FFF2-40B4-BE49-F238E27FC236}">
                <a16:creationId xmlns:a16="http://schemas.microsoft.com/office/drawing/2014/main" id="{2DAD29A2-0F91-459C-AA91-07C660F27552}"/>
              </a:ext>
            </a:extLst>
          </p:cNvPr>
          <p:cNvSpPr/>
          <p:nvPr userDrawn="1"/>
        </p:nvSpPr>
        <p:spPr>
          <a:xfrm>
            <a:off x="5080259" y="4776023"/>
            <a:ext cx="268667" cy="252776"/>
          </a:xfrm>
          <a:prstGeom prst="ellipse">
            <a:avLst/>
          </a:prstGeom>
          <a:solidFill>
            <a:srgbClr val="0072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050"/>
          </a:p>
        </p:txBody>
      </p:sp>
      <p:sp>
        <p:nvSpPr>
          <p:cNvPr id="62" name="ZoneTexte 61">
            <a:extLst>
              <a:ext uri="{FF2B5EF4-FFF2-40B4-BE49-F238E27FC236}">
                <a16:creationId xmlns:a16="http://schemas.microsoft.com/office/drawing/2014/main" id="{2FF29255-C0B6-489D-B46E-8793A6523E6C}"/>
              </a:ext>
            </a:extLst>
          </p:cNvPr>
          <p:cNvSpPr txBox="1"/>
          <p:nvPr userDrawn="1"/>
        </p:nvSpPr>
        <p:spPr>
          <a:xfrm>
            <a:off x="5080258" y="4786995"/>
            <a:ext cx="338177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50">
                <a:solidFill>
                  <a:schemeClr val="bg1"/>
                </a:solidFill>
              </a:rPr>
              <a:t>11</a:t>
            </a:r>
          </a:p>
        </p:txBody>
      </p:sp>
      <p:sp>
        <p:nvSpPr>
          <p:cNvPr id="60" name="Ellipse 59">
            <a:extLst>
              <a:ext uri="{FF2B5EF4-FFF2-40B4-BE49-F238E27FC236}">
                <a16:creationId xmlns:a16="http://schemas.microsoft.com/office/drawing/2014/main" id="{4A5583F1-054E-452F-A994-7F25AFB8A2F4}"/>
              </a:ext>
            </a:extLst>
          </p:cNvPr>
          <p:cNvSpPr/>
          <p:nvPr userDrawn="1"/>
        </p:nvSpPr>
        <p:spPr>
          <a:xfrm>
            <a:off x="5080259" y="4477122"/>
            <a:ext cx="268667" cy="252776"/>
          </a:xfrm>
          <a:prstGeom prst="ellipse">
            <a:avLst/>
          </a:prstGeom>
          <a:solidFill>
            <a:srgbClr val="0072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050"/>
          </a:p>
        </p:txBody>
      </p:sp>
      <p:sp>
        <p:nvSpPr>
          <p:cNvPr id="2" name="ZoneTexte 1">
            <a:extLst>
              <a:ext uri="{FF2B5EF4-FFF2-40B4-BE49-F238E27FC236}">
                <a16:creationId xmlns:a16="http://schemas.microsoft.com/office/drawing/2014/main" id="{D37E4BF8-413B-497A-A136-5E503D56AC2B}"/>
              </a:ext>
            </a:extLst>
          </p:cNvPr>
          <p:cNvSpPr txBox="1"/>
          <p:nvPr userDrawn="1"/>
        </p:nvSpPr>
        <p:spPr>
          <a:xfrm>
            <a:off x="5081856" y="4488094"/>
            <a:ext cx="338177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50">
                <a:solidFill>
                  <a:schemeClr val="bg1"/>
                </a:solidFill>
              </a:rPr>
              <a:t>10</a:t>
            </a:r>
          </a:p>
        </p:txBody>
      </p:sp>
    </p:spTree>
    <p:extLst>
      <p:ext uri="{BB962C8B-B14F-4D97-AF65-F5344CB8AC3E}">
        <p14:creationId xmlns:p14="http://schemas.microsoft.com/office/powerpoint/2010/main" val="3489270625"/>
      </p:ext>
    </p:extLst>
  </p:cSld>
  <p:clrMapOvr>
    <a:masterClrMapping/>
  </p:clrMapOvr>
</p:sldLayout>
</file>

<file path=ppt/slideLayouts/slideLayout4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AutoShape 2">
            <a:extLst>
              <a:ext uri="{FF2B5EF4-FFF2-40B4-BE49-F238E27FC236}">
                <a16:creationId xmlns:a16="http://schemas.microsoft.com/office/drawing/2014/main" id="{5D63697B-BC89-4ED0-A9C0-22E395B2AC1B}"/>
              </a:ext>
            </a:extLst>
          </p:cNvPr>
          <p:cNvSpPr/>
          <p:nvPr userDrawn="1"/>
        </p:nvSpPr>
        <p:spPr>
          <a:xfrm>
            <a:off x="0" y="0"/>
            <a:ext cx="4572000" cy="5143500"/>
          </a:xfrm>
          <a:prstGeom prst="rect">
            <a:avLst/>
          </a:prstGeom>
          <a:solidFill>
            <a:srgbClr val="F57A30"/>
          </a:solidFill>
        </p:spPr>
      </p:sp>
      <p:sp>
        <p:nvSpPr>
          <p:cNvPr id="9" name="AutoShape 9">
            <a:extLst>
              <a:ext uri="{FF2B5EF4-FFF2-40B4-BE49-F238E27FC236}">
                <a16:creationId xmlns:a16="http://schemas.microsoft.com/office/drawing/2014/main" id="{79E90F2D-53D6-41A0-8503-54C4410411AF}"/>
              </a:ext>
            </a:extLst>
          </p:cNvPr>
          <p:cNvSpPr/>
          <p:nvPr userDrawn="1"/>
        </p:nvSpPr>
        <p:spPr>
          <a:xfrm>
            <a:off x="514351" y="4058091"/>
            <a:ext cx="17825" cy="571060"/>
          </a:xfrm>
          <a:prstGeom prst="rect">
            <a:avLst/>
          </a:prstGeom>
          <a:solidFill>
            <a:srgbClr val="FFFFFF"/>
          </a:solidFill>
        </p:spPr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C8653B2-EFCC-4017-B032-6524AB4D82FC}"/>
              </a:ext>
            </a:extLst>
          </p:cNvPr>
          <p:cNvSpPr/>
          <p:nvPr userDrawn="1"/>
        </p:nvSpPr>
        <p:spPr>
          <a:xfrm>
            <a:off x="5154435" y="0"/>
            <a:ext cx="120316" cy="5143500"/>
          </a:xfrm>
          <a:prstGeom prst="rect">
            <a:avLst/>
          </a:prstGeom>
          <a:solidFill>
            <a:srgbClr val="0072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200"/>
          </a:p>
        </p:txBody>
      </p:sp>
      <p:sp>
        <p:nvSpPr>
          <p:cNvPr id="11" name="Ellipse 10">
            <a:extLst>
              <a:ext uri="{FF2B5EF4-FFF2-40B4-BE49-F238E27FC236}">
                <a16:creationId xmlns:a16="http://schemas.microsoft.com/office/drawing/2014/main" id="{00F03227-C75B-45ED-9F45-EE2EF34A12FD}"/>
              </a:ext>
            </a:extLst>
          </p:cNvPr>
          <p:cNvSpPr/>
          <p:nvPr userDrawn="1"/>
        </p:nvSpPr>
        <p:spPr>
          <a:xfrm>
            <a:off x="5080259" y="27945"/>
            <a:ext cx="268667" cy="252776"/>
          </a:xfrm>
          <a:prstGeom prst="ellipse">
            <a:avLst/>
          </a:prstGeom>
          <a:solidFill>
            <a:srgbClr val="0072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050"/>
              <a:t>1</a:t>
            </a:r>
          </a:p>
        </p:txBody>
      </p:sp>
      <p:sp>
        <p:nvSpPr>
          <p:cNvPr id="16" name="ZoneTexte 15">
            <a:extLst>
              <a:ext uri="{FF2B5EF4-FFF2-40B4-BE49-F238E27FC236}">
                <a16:creationId xmlns:a16="http://schemas.microsoft.com/office/drawing/2014/main" id="{7B914EF7-478D-4F71-BD01-7BB0752B037B}"/>
              </a:ext>
            </a:extLst>
          </p:cNvPr>
          <p:cNvSpPr txBox="1"/>
          <p:nvPr userDrawn="1"/>
        </p:nvSpPr>
        <p:spPr>
          <a:xfrm>
            <a:off x="5510005" y="1641220"/>
            <a:ext cx="3368843" cy="15747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572691" lvl="1" indent="-171450">
              <a:spcBef>
                <a:spcPts val="750"/>
              </a:spcBef>
              <a:buFont typeface="+mj-lt"/>
              <a:buAutoNum type="arabicPeriod"/>
            </a:pPr>
            <a:r>
              <a:rPr lang="fr-FR" sz="1050" b="0">
                <a:solidFill>
                  <a:schemeClr val="tx1"/>
                </a:solidFill>
              </a:rPr>
              <a:t>Tests de performances</a:t>
            </a:r>
          </a:p>
          <a:p>
            <a:pPr marL="572691" marR="0" lvl="1" indent="-171450" algn="l" defTabSz="685800" rtl="0" eaLnBrk="1" fontAlgn="auto" latinLnBrk="0" hangingPunct="1">
              <a:lnSpc>
                <a:spcPct val="10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fr-FR" sz="1050" b="0">
                <a:solidFill>
                  <a:schemeClr val="tx1"/>
                </a:solidFill>
              </a:rPr>
              <a:t>Tests de sécurité</a:t>
            </a:r>
          </a:p>
          <a:p>
            <a:pPr marL="572691" marR="0" lvl="1" indent="-171450" algn="l" defTabSz="685800" rtl="0" eaLnBrk="1" fontAlgn="auto" latinLnBrk="0" hangingPunct="1">
              <a:lnSpc>
                <a:spcPct val="10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fr-FR" sz="1050" b="0">
                <a:solidFill>
                  <a:schemeClr val="tx1"/>
                </a:solidFill>
              </a:rPr>
              <a:t>Tests de résilience</a:t>
            </a:r>
          </a:p>
          <a:p>
            <a:pPr marL="1001316" marR="0" lvl="2" indent="-257175" algn="l" defTabSz="685800" rtl="0" eaLnBrk="1" fontAlgn="auto" latinLnBrk="0" hangingPunct="1">
              <a:lnSpc>
                <a:spcPct val="10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+mj-lt"/>
              <a:buAutoNum type="alphaLcPeriod"/>
              <a:tabLst/>
              <a:defRPr/>
            </a:pPr>
            <a:r>
              <a:rPr lang="fr-FR" sz="1050" b="0"/>
              <a:t>Patterns</a:t>
            </a:r>
          </a:p>
          <a:p>
            <a:pPr marL="1001316" marR="0" lvl="2" indent="-257175" algn="l" defTabSz="685800" rtl="0" eaLnBrk="1" fontAlgn="auto" latinLnBrk="0" hangingPunct="1">
              <a:lnSpc>
                <a:spcPct val="10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+mj-lt"/>
              <a:buAutoNum type="alphaLcPeriod"/>
              <a:tabLst/>
              <a:defRPr/>
            </a:pPr>
            <a:r>
              <a:rPr lang="fr-FR" sz="1050" b="0"/>
              <a:t>Web services</a:t>
            </a:r>
            <a:endParaRPr lang="fr-FR" sz="1050" b="0">
              <a:solidFill>
                <a:schemeClr val="tx1"/>
              </a:solidFill>
            </a:endParaRPr>
          </a:p>
          <a:p>
            <a:pPr marL="572691" lvl="1" indent="-171450">
              <a:spcBef>
                <a:spcPts val="750"/>
              </a:spcBef>
              <a:buFont typeface="+mj-lt"/>
              <a:buAutoNum type="arabicPeriod"/>
            </a:pPr>
            <a:r>
              <a:rPr lang="fr-FR" sz="1050" b="0">
                <a:solidFill>
                  <a:schemeClr val="tx1"/>
                </a:solidFill>
              </a:rPr>
              <a:t>Tests de rollback</a:t>
            </a:r>
          </a:p>
        </p:txBody>
      </p:sp>
      <p:sp>
        <p:nvSpPr>
          <p:cNvPr id="17" name="ZoneTexte 16">
            <a:extLst>
              <a:ext uri="{FF2B5EF4-FFF2-40B4-BE49-F238E27FC236}">
                <a16:creationId xmlns:a16="http://schemas.microsoft.com/office/drawing/2014/main" id="{62871AC6-FF1A-4C0E-9458-738A64ACA109}"/>
              </a:ext>
            </a:extLst>
          </p:cNvPr>
          <p:cNvSpPr txBox="1"/>
          <p:nvPr userDrawn="1"/>
        </p:nvSpPr>
        <p:spPr>
          <a:xfrm>
            <a:off x="5510005" y="359378"/>
            <a:ext cx="3368843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50"/>
              <a:t>Rappel sur les principes de tests et les activités de test</a:t>
            </a:r>
          </a:p>
        </p:txBody>
      </p:sp>
      <p:sp>
        <p:nvSpPr>
          <p:cNvPr id="18" name="ZoneTexte 17">
            <a:extLst>
              <a:ext uri="{FF2B5EF4-FFF2-40B4-BE49-F238E27FC236}">
                <a16:creationId xmlns:a16="http://schemas.microsoft.com/office/drawing/2014/main" id="{9725BAA8-C07D-48E4-98D6-DA3ADBCB0803}"/>
              </a:ext>
            </a:extLst>
          </p:cNvPr>
          <p:cNvSpPr txBox="1"/>
          <p:nvPr userDrawn="1"/>
        </p:nvSpPr>
        <p:spPr>
          <a:xfrm>
            <a:off x="5510005" y="679838"/>
            <a:ext cx="3368843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1500"/>
              </a:spcBef>
            </a:pPr>
            <a:r>
              <a:rPr lang="fr-FR" sz="1050"/>
              <a:t>Organisation, équipes et rôles</a:t>
            </a:r>
          </a:p>
        </p:txBody>
      </p:sp>
      <p:sp>
        <p:nvSpPr>
          <p:cNvPr id="19" name="ZoneTexte 18">
            <a:extLst>
              <a:ext uri="{FF2B5EF4-FFF2-40B4-BE49-F238E27FC236}">
                <a16:creationId xmlns:a16="http://schemas.microsoft.com/office/drawing/2014/main" id="{E3B59F70-C8A6-4068-8BCF-B90FFF90222F}"/>
              </a:ext>
            </a:extLst>
          </p:cNvPr>
          <p:cNvSpPr txBox="1"/>
          <p:nvPr userDrawn="1"/>
        </p:nvSpPr>
        <p:spPr>
          <a:xfrm>
            <a:off x="5510005" y="1000299"/>
            <a:ext cx="3368843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1500"/>
              </a:spcBef>
            </a:pPr>
            <a:r>
              <a:rPr lang="fr-FR" sz="1050"/>
              <a:t>Tests fonctionnels (et approche TNR / automatisation)</a:t>
            </a:r>
          </a:p>
        </p:txBody>
      </p:sp>
      <p:sp>
        <p:nvSpPr>
          <p:cNvPr id="20" name="ZoneTexte 19">
            <a:extLst>
              <a:ext uri="{FF2B5EF4-FFF2-40B4-BE49-F238E27FC236}">
                <a16:creationId xmlns:a16="http://schemas.microsoft.com/office/drawing/2014/main" id="{76DEA3EF-FE41-4999-8C0F-BD99A5E13BAE}"/>
              </a:ext>
            </a:extLst>
          </p:cNvPr>
          <p:cNvSpPr txBox="1"/>
          <p:nvPr userDrawn="1"/>
        </p:nvSpPr>
        <p:spPr>
          <a:xfrm>
            <a:off x="5510005" y="38917"/>
            <a:ext cx="3368843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1500"/>
              </a:spcBef>
            </a:pPr>
            <a:r>
              <a:rPr lang="fr-FR" sz="1050"/>
              <a:t>Contexte Tribu (enjeux, périmètre, architecture)</a:t>
            </a:r>
          </a:p>
        </p:txBody>
      </p:sp>
      <p:sp>
        <p:nvSpPr>
          <p:cNvPr id="21" name="Titre 20">
            <a:extLst>
              <a:ext uri="{FF2B5EF4-FFF2-40B4-BE49-F238E27FC236}">
                <a16:creationId xmlns:a16="http://schemas.microsoft.com/office/drawing/2014/main" id="{3D2303DA-B04E-495A-B6ED-B0539B666EF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2774" y="2047564"/>
            <a:ext cx="3246453" cy="994172"/>
          </a:xfrm>
        </p:spPr>
        <p:txBody>
          <a:bodyPr/>
          <a:lstStyle>
            <a:lvl1pPr algn="ctr">
              <a:lnSpc>
                <a:spcPts val="3920"/>
              </a:lnSpc>
              <a:defRPr/>
            </a:lvl1pPr>
          </a:lstStyle>
          <a:p>
            <a:pPr algn="ctr">
              <a:lnSpc>
                <a:spcPts val="5227"/>
              </a:lnSpc>
            </a:pPr>
            <a:r>
              <a:rPr lang="en-US" sz="3300">
                <a:solidFill>
                  <a:srgbClr val="FFFFFF"/>
                </a:solidFill>
                <a:latin typeface="Source Sans Pro" panose="020B0503030403020204" pitchFamily="34" charset="0"/>
              </a:rPr>
              <a:t>SOMMAIRE</a:t>
            </a:r>
          </a:p>
        </p:txBody>
      </p:sp>
      <p:sp>
        <p:nvSpPr>
          <p:cNvPr id="22" name="ZoneTexte 21">
            <a:extLst>
              <a:ext uri="{FF2B5EF4-FFF2-40B4-BE49-F238E27FC236}">
                <a16:creationId xmlns:a16="http://schemas.microsoft.com/office/drawing/2014/main" id="{1F7714AF-9DE7-4105-81B8-D608AC258739}"/>
              </a:ext>
            </a:extLst>
          </p:cNvPr>
          <p:cNvSpPr txBox="1"/>
          <p:nvPr userDrawn="1"/>
        </p:nvSpPr>
        <p:spPr>
          <a:xfrm>
            <a:off x="5510005" y="1320760"/>
            <a:ext cx="3368843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50"/>
              <a:t>Tests non fonctionnels</a:t>
            </a:r>
          </a:p>
        </p:txBody>
      </p:sp>
      <p:sp>
        <p:nvSpPr>
          <p:cNvPr id="23" name="ZoneTexte 22">
            <a:extLst>
              <a:ext uri="{FF2B5EF4-FFF2-40B4-BE49-F238E27FC236}">
                <a16:creationId xmlns:a16="http://schemas.microsoft.com/office/drawing/2014/main" id="{53147BEF-6A13-489F-A3CE-21BB061A2A0B}"/>
              </a:ext>
            </a:extLst>
          </p:cNvPr>
          <p:cNvSpPr txBox="1"/>
          <p:nvPr userDrawn="1"/>
        </p:nvSpPr>
        <p:spPr>
          <a:xfrm>
            <a:off x="5510005" y="3223654"/>
            <a:ext cx="3368843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50"/>
              <a:t>Tests de Non-régression</a:t>
            </a:r>
          </a:p>
        </p:txBody>
      </p:sp>
      <p:sp>
        <p:nvSpPr>
          <p:cNvPr id="24" name="ZoneTexte 23">
            <a:extLst>
              <a:ext uri="{FF2B5EF4-FFF2-40B4-BE49-F238E27FC236}">
                <a16:creationId xmlns:a16="http://schemas.microsoft.com/office/drawing/2014/main" id="{FFA165D2-E3B3-4E01-9DB4-0F44D973FAC0}"/>
              </a:ext>
            </a:extLst>
          </p:cNvPr>
          <p:cNvSpPr txBox="1"/>
          <p:nvPr userDrawn="1"/>
        </p:nvSpPr>
        <p:spPr>
          <a:xfrm>
            <a:off x="5510005" y="4168328"/>
            <a:ext cx="3368843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1500"/>
              </a:spcBef>
            </a:pPr>
            <a:r>
              <a:rPr lang="fr-FR" sz="1050"/>
              <a:t>Actions d’amélioration</a:t>
            </a:r>
          </a:p>
        </p:txBody>
      </p:sp>
      <p:sp>
        <p:nvSpPr>
          <p:cNvPr id="25" name="ZoneTexte 24">
            <a:extLst>
              <a:ext uri="{FF2B5EF4-FFF2-40B4-BE49-F238E27FC236}">
                <a16:creationId xmlns:a16="http://schemas.microsoft.com/office/drawing/2014/main" id="{7C00905C-8413-4E4A-A43C-9C299D4ED06C}"/>
              </a:ext>
            </a:extLst>
          </p:cNvPr>
          <p:cNvSpPr txBox="1"/>
          <p:nvPr userDrawn="1"/>
        </p:nvSpPr>
        <p:spPr>
          <a:xfrm>
            <a:off x="5510005" y="4786995"/>
            <a:ext cx="3368843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altLang="fr-FR" sz="1050"/>
              <a:t>Annexes</a:t>
            </a:r>
            <a:endParaRPr lang="fr-FR" sz="1050"/>
          </a:p>
        </p:txBody>
      </p:sp>
      <p:sp>
        <p:nvSpPr>
          <p:cNvPr id="26" name="ZoneTexte 25">
            <a:extLst>
              <a:ext uri="{FF2B5EF4-FFF2-40B4-BE49-F238E27FC236}">
                <a16:creationId xmlns:a16="http://schemas.microsoft.com/office/drawing/2014/main" id="{D56E3287-59E3-4175-AB61-17AE5E390D8B}"/>
              </a:ext>
            </a:extLst>
          </p:cNvPr>
          <p:cNvSpPr txBox="1"/>
          <p:nvPr userDrawn="1"/>
        </p:nvSpPr>
        <p:spPr>
          <a:xfrm>
            <a:off x="5510005" y="4488094"/>
            <a:ext cx="3368843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050"/>
              <a:t>Spécificités par domaine / </a:t>
            </a:r>
            <a:r>
              <a:rPr lang="fr-FR" sz="1050" err="1"/>
              <a:t>squad</a:t>
            </a:r>
            <a:r>
              <a:rPr lang="fr-FR" sz="1050"/>
              <a:t> </a:t>
            </a:r>
          </a:p>
        </p:txBody>
      </p:sp>
      <p:sp>
        <p:nvSpPr>
          <p:cNvPr id="27" name="ZoneTexte 26">
            <a:extLst>
              <a:ext uri="{FF2B5EF4-FFF2-40B4-BE49-F238E27FC236}">
                <a16:creationId xmlns:a16="http://schemas.microsoft.com/office/drawing/2014/main" id="{42B49444-4B6C-49E7-9C60-932A0D41D104}"/>
              </a:ext>
            </a:extLst>
          </p:cNvPr>
          <p:cNvSpPr txBox="1"/>
          <p:nvPr userDrawn="1"/>
        </p:nvSpPr>
        <p:spPr>
          <a:xfrm>
            <a:off x="5510005" y="3853425"/>
            <a:ext cx="3368843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1500"/>
              </a:spcBef>
            </a:pPr>
            <a:r>
              <a:rPr lang="fr-FR" sz="1050"/>
              <a:t>Moyens de tests et outils</a:t>
            </a:r>
          </a:p>
        </p:txBody>
      </p:sp>
      <p:sp>
        <p:nvSpPr>
          <p:cNvPr id="28" name="ZoneTexte 27">
            <a:extLst>
              <a:ext uri="{FF2B5EF4-FFF2-40B4-BE49-F238E27FC236}">
                <a16:creationId xmlns:a16="http://schemas.microsoft.com/office/drawing/2014/main" id="{CB93BD62-CA74-4E41-962E-30D62BD1F9EA}"/>
              </a:ext>
            </a:extLst>
          </p:cNvPr>
          <p:cNvSpPr txBox="1"/>
          <p:nvPr userDrawn="1"/>
        </p:nvSpPr>
        <p:spPr>
          <a:xfrm>
            <a:off x="5510005" y="3538540"/>
            <a:ext cx="3368843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1500"/>
              </a:spcBef>
            </a:pPr>
            <a:r>
              <a:rPr lang="fr-FR" sz="1050"/>
              <a:t>Jeux de données</a:t>
            </a:r>
          </a:p>
        </p:txBody>
      </p:sp>
      <p:sp>
        <p:nvSpPr>
          <p:cNvPr id="52" name="Ellipse 51">
            <a:extLst>
              <a:ext uri="{FF2B5EF4-FFF2-40B4-BE49-F238E27FC236}">
                <a16:creationId xmlns:a16="http://schemas.microsoft.com/office/drawing/2014/main" id="{C273C996-CF36-4A9C-92E2-62697006DBF6}"/>
              </a:ext>
            </a:extLst>
          </p:cNvPr>
          <p:cNvSpPr/>
          <p:nvPr userDrawn="1"/>
        </p:nvSpPr>
        <p:spPr>
          <a:xfrm>
            <a:off x="5080259" y="3212682"/>
            <a:ext cx="268667" cy="252776"/>
          </a:xfrm>
          <a:prstGeom prst="ellipse">
            <a:avLst/>
          </a:prstGeom>
          <a:solidFill>
            <a:srgbClr val="0072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050"/>
              <a:t>6</a:t>
            </a:r>
          </a:p>
        </p:txBody>
      </p:sp>
      <p:sp>
        <p:nvSpPr>
          <p:cNvPr id="53" name="Ellipse 52">
            <a:extLst>
              <a:ext uri="{FF2B5EF4-FFF2-40B4-BE49-F238E27FC236}">
                <a16:creationId xmlns:a16="http://schemas.microsoft.com/office/drawing/2014/main" id="{ABF1D91D-004D-416D-B1A3-A646CE845EB6}"/>
              </a:ext>
            </a:extLst>
          </p:cNvPr>
          <p:cNvSpPr/>
          <p:nvPr userDrawn="1"/>
        </p:nvSpPr>
        <p:spPr>
          <a:xfrm>
            <a:off x="5080259" y="668938"/>
            <a:ext cx="268667" cy="252776"/>
          </a:xfrm>
          <a:prstGeom prst="ellipse">
            <a:avLst/>
          </a:prstGeom>
          <a:solidFill>
            <a:srgbClr val="0072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050"/>
              <a:t>3</a:t>
            </a:r>
          </a:p>
        </p:txBody>
      </p:sp>
      <p:sp>
        <p:nvSpPr>
          <p:cNvPr id="54" name="Ellipse 53">
            <a:extLst>
              <a:ext uri="{FF2B5EF4-FFF2-40B4-BE49-F238E27FC236}">
                <a16:creationId xmlns:a16="http://schemas.microsoft.com/office/drawing/2014/main" id="{2338766D-C554-42E5-845B-1184026C47E0}"/>
              </a:ext>
            </a:extLst>
          </p:cNvPr>
          <p:cNvSpPr/>
          <p:nvPr userDrawn="1"/>
        </p:nvSpPr>
        <p:spPr>
          <a:xfrm>
            <a:off x="5080259" y="974311"/>
            <a:ext cx="268667" cy="252776"/>
          </a:xfrm>
          <a:prstGeom prst="ellipse">
            <a:avLst/>
          </a:prstGeom>
          <a:solidFill>
            <a:srgbClr val="0072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050"/>
              <a:t>4</a:t>
            </a:r>
          </a:p>
        </p:txBody>
      </p:sp>
      <p:sp>
        <p:nvSpPr>
          <p:cNvPr id="55" name="Ellipse 54">
            <a:extLst>
              <a:ext uri="{FF2B5EF4-FFF2-40B4-BE49-F238E27FC236}">
                <a16:creationId xmlns:a16="http://schemas.microsoft.com/office/drawing/2014/main" id="{C13A246C-12CF-422A-886F-82218FC04196}"/>
              </a:ext>
            </a:extLst>
          </p:cNvPr>
          <p:cNvSpPr/>
          <p:nvPr userDrawn="1"/>
        </p:nvSpPr>
        <p:spPr>
          <a:xfrm>
            <a:off x="5080259" y="1304572"/>
            <a:ext cx="268667" cy="252776"/>
          </a:xfrm>
          <a:prstGeom prst="ellipse">
            <a:avLst/>
          </a:prstGeom>
          <a:solidFill>
            <a:srgbClr val="0072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050"/>
              <a:t>5</a:t>
            </a:r>
          </a:p>
        </p:txBody>
      </p:sp>
      <p:sp>
        <p:nvSpPr>
          <p:cNvPr id="56" name="Ellipse 55">
            <a:extLst>
              <a:ext uri="{FF2B5EF4-FFF2-40B4-BE49-F238E27FC236}">
                <a16:creationId xmlns:a16="http://schemas.microsoft.com/office/drawing/2014/main" id="{63C060D2-ACB0-47DB-8798-A803C5FF59B1}"/>
              </a:ext>
            </a:extLst>
          </p:cNvPr>
          <p:cNvSpPr/>
          <p:nvPr userDrawn="1"/>
        </p:nvSpPr>
        <p:spPr>
          <a:xfrm>
            <a:off x="5080259" y="354739"/>
            <a:ext cx="268667" cy="252776"/>
          </a:xfrm>
          <a:prstGeom prst="ellipse">
            <a:avLst/>
          </a:prstGeom>
          <a:solidFill>
            <a:srgbClr val="0072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050"/>
              <a:t>2</a:t>
            </a:r>
          </a:p>
        </p:txBody>
      </p:sp>
      <p:sp>
        <p:nvSpPr>
          <p:cNvPr id="57" name="Ellipse 56">
            <a:extLst>
              <a:ext uri="{FF2B5EF4-FFF2-40B4-BE49-F238E27FC236}">
                <a16:creationId xmlns:a16="http://schemas.microsoft.com/office/drawing/2014/main" id="{8F3018C2-D219-45FA-BD14-84F3BA7C1049}"/>
              </a:ext>
            </a:extLst>
          </p:cNvPr>
          <p:cNvSpPr/>
          <p:nvPr userDrawn="1"/>
        </p:nvSpPr>
        <p:spPr>
          <a:xfrm>
            <a:off x="5080259" y="3527568"/>
            <a:ext cx="268667" cy="252776"/>
          </a:xfrm>
          <a:prstGeom prst="ellipse">
            <a:avLst/>
          </a:prstGeom>
          <a:solidFill>
            <a:srgbClr val="0072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050"/>
              <a:t>7</a:t>
            </a:r>
          </a:p>
        </p:txBody>
      </p:sp>
      <p:sp>
        <p:nvSpPr>
          <p:cNvPr id="58" name="Ellipse 57">
            <a:extLst>
              <a:ext uri="{FF2B5EF4-FFF2-40B4-BE49-F238E27FC236}">
                <a16:creationId xmlns:a16="http://schemas.microsoft.com/office/drawing/2014/main" id="{1D4B895B-9F6F-449E-BD98-FB3DB974CFE7}"/>
              </a:ext>
            </a:extLst>
          </p:cNvPr>
          <p:cNvSpPr/>
          <p:nvPr userDrawn="1"/>
        </p:nvSpPr>
        <p:spPr>
          <a:xfrm>
            <a:off x="5080259" y="3842453"/>
            <a:ext cx="268667" cy="252776"/>
          </a:xfrm>
          <a:prstGeom prst="ellipse">
            <a:avLst/>
          </a:prstGeom>
          <a:solidFill>
            <a:srgbClr val="0072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050"/>
              <a:t>8</a:t>
            </a:r>
          </a:p>
        </p:txBody>
      </p:sp>
      <p:sp>
        <p:nvSpPr>
          <p:cNvPr id="59" name="Ellipse 58">
            <a:extLst>
              <a:ext uri="{FF2B5EF4-FFF2-40B4-BE49-F238E27FC236}">
                <a16:creationId xmlns:a16="http://schemas.microsoft.com/office/drawing/2014/main" id="{8B6395EC-AEAE-4729-8B61-834BD6CF6522}"/>
              </a:ext>
            </a:extLst>
          </p:cNvPr>
          <p:cNvSpPr/>
          <p:nvPr userDrawn="1"/>
        </p:nvSpPr>
        <p:spPr>
          <a:xfrm>
            <a:off x="5080259" y="4157356"/>
            <a:ext cx="268667" cy="252776"/>
          </a:xfrm>
          <a:prstGeom prst="ellipse">
            <a:avLst/>
          </a:prstGeom>
          <a:solidFill>
            <a:srgbClr val="0072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050"/>
              <a:t>9</a:t>
            </a:r>
          </a:p>
        </p:txBody>
      </p:sp>
      <p:sp>
        <p:nvSpPr>
          <p:cNvPr id="61" name="Ellipse 60">
            <a:extLst>
              <a:ext uri="{FF2B5EF4-FFF2-40B4-BE49-F238E27FC236}">
                <a16:creationId xmlns:a16="http://schemas.microsoft.com/office/drawing/2014/main" id="{2DAD29A2-0F91-459C-AA91-07C660F27552}"/>
              </a:ext>
            </a:extLst>
          </p:cNvPr>
          <p:cNvSpPr/>
          <p:nvPr userDrawn="1"/>
        </p:nvSpPr>
        <p:spPr>
          <a:xfrm>
            <a:off x="5080259" y="4776023"/>
            <a:ext cx="268667" cy="252776"/>
          </a:xfrm>
          <a:prstGeom prst="ellipse">
            <a:avLst/>
          </a:prstGeom>
          <a:solidFill>
            <a:srgbClr val="0072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050"/>
          </a:p>
        </p:txBody>
      </p:sp>
      <p:sp>
        <p:nvSpPr>
          <p:cNvPr id="62" name="ZoneTexte 61">
            <a:extLst>
              <a:ext uri="{FF2B5EF4-FFF2-40B4-BE49-F238E27FC236}">
                <a16:creationId xmlns:a16="http://schemas.microsoft.com/office/drawing/2014/main" id="{2FF29255-C0B6-489D-B46E-8793A6523E6C}"/>
              </a:ext>
            </a:extLst>
          </p:cNvPr>
          <p:cNvSpPr txBox="1"/>
          <p:nvPr userDrawn="1"/>
        </p:nvSpPr>
        <p:spPr>
          <a:xfrm>
            <a:off x="5080258" y="4786995"/>
            <a:ext cx="338177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50">
                <a:solidFill>
                  <a:schemeClr val="bg1"/>
                </a:solidFill>
              </a:rPr>
              <a:t>11</a:t>
            </a:r>
          </a:p>
        </p:txBody>
      </p:sp>
      <p:sp>
        <p:nvSpPr>
          <p:cNvPr id="60" name="Ellipse 59">
            <a:extLst>
              <a:ext uri="{FF2B5EF4-FFF2-40B4-BE49-F238E27FC236}">
                <a16:creationId xmlns:a16="http://schemas.microsoft.com/office/drawing/2014/main" id="{4A5583F1-054E-452F-A994-7F25AFB8A2F4}"/>
              </a:ext>
            </a:extLst>
          </p:cNvPr>
          <p:cNvSpPr/>
          <p:nvPr userDrawn="1"/>
        </p:nvSpPr>
        <p:spPr>
          <a:xfrm>
            <a:off x="5080259" y="4477122"/>
            <a:ext cx="268667" cy="252776"/>
          </a:xfrm>
          <a:prstGeom prst="ellipse">
            <a:avLst/>
          </a:prstGeom>
          <a:solidFill>
            <a:srgbClr val="0072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050"/>
          </a:p>
        </p:txBody>
      </p:sp>
      <p:sp>
        <p:nvSpPr>
          <p:cNvPr id="2" name="ZoneTexte 1">
            <a:extLst>
              <a:ext uri="{FF2B5EF4-FFF2-40B4-BE49-F238E27FC236}">
                <a16:creationId xmlns:a16="http://schemas.microsoft.com/office/drawing/2014/main" id="{D37E4BF8-413B-497A-A136-5E503D56AC2B}"/>
              </a:ext>
            </a:extLst>
          </p:cNvPr>
          <p:cNvSpPr txBox="1"/>
          <p:nvPr userDrawn="1"/>
        </p:nvSpPr>
        <p:spPr>
          <a:xfrm>
            <a:off x="5081856" y="4488094"/>
            <a:ext cx="338177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50">
                <a:solidFill>
                  <a:schemeClr val="bg1"/>
                </a:solidFill>
              </a:rPr>
              <a:t>10</a:t>
            </a:r>
          </a:p>
        </p:txBody>
      </p:sp>
    </p:spTree>
    <p:extLst>
      <p:ext uri="{BB962C8B-B14F-4D97-AF65-F5344CB8AC3E}">
        <p14:creationId xmlns:p14="http://schemas.microsoft.com/office/powerpoint/2010/main" val="3489270625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A6553BF2-2A52-4DE7-8D2B-E6F1AAFE8FDB}"/>
              </a:ext>
            </a:extLst>
          </p:cNvPr>
          <p:cNvSpPr/>
          <p:nvPr userDrawn="1"/>
        </p:nvSpPr>
        <p:spPr>
          <a:xfrm>
            <a:off x="-457200" y="-397042"/>
            <a:ext cx="9601200" cy="5540542"/>
          </a:xfrm>
          <a:prstGeom prst="rect">
            <a:avLst/>
          </a:prstGeom>
          <a:solidFill>
            <a:srgbClr val="00727A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200"/>
          </a:p>
        </p:txBody>
      </p:sp>
      <p:sp>
        <p:nvSpPr>
          <p:cNvPr id="8" name="AutoShape 2">
            <a:extLst>
              <a:ext uri="{FF2B5EF4-FFF2-40B4-BE49-F238E27FC236}">
                <a16:creationId xmlns:a16="http://schemas.microsoft.com/office/drawing/2014/main" id="{F1E69017-0B99-464A-8AF0-53698AAB2BC2}"/>
              </a:ext>
            </a:extLst>
          </p:cNvPr>
          <p:cNvSpPr/>
          <p:nvPr userDrawn="1"/>
        </p:nvSpPr>
        <p:spPr>
          <a:xfrm>
            <a:off x="1780344" y="1495119"/>
            <a:ext cx="5728914" cy="2776091"/>
          </a:xfrm>
          <a:prstGeom prst="rect">
            <a:avLst/>
          </a:prstGeom>
          <a:solidFill>
            <a:srgbClr val="F8F6F6">
              <a:alpha val="49803"/>
            </a:srgbClr>
          </a:solidFill>
        </p:spPr>
      </p:sp>
      <p:sp>
        <p:nvSpPr>
          <p:cNvPr id="9" name="AutoShape 3">
            <a:extLst>
              <a:ext uri="{FF2B5EF4-FFF2-40B4-BE49-F238E27FC236}">
                <a16:creationId xmlns:a16="http://schemas.microsoft.com/office/drawing/2014/main" id="{769905A5-3694-4AF2-8562-351EF8DF8B7F}"/>
              </a:ext>
            </a:extLst>
          </p:cNvPr>
          <p:cNvSpPr/>
          <p:nvPr userDrawn="1"/>
        </p:nvSpPr>
        <p:spPr>
          <a:xfrm>
            <a:off x="1634742" y="1328237"/>
            <a:ext cx="5728914" cy="2776091"/>
          </a:xfrm>
          <a:prstGeom prst="rect">
            <a:avLst/>
          </a:prstGeom>
          <a:solidFill>
            <a:srgbClr val="D6ECE9"/>
          </a:solidFill>
        </p:spPr>
      </p:sp>
      <p:pic>
        <p:nvPicPr>
          <p:cNvPr id="11" name="Picture 4">
            <a:extLst>
              <a:ext uri="{FF2B5EF4-FFF2-40B4-BE49-F238E27FC236}">
                <a16:creationId xmlns:a16="http://schemas.microsoft.com/office/drawing/2014/main" id="{977D9BE7-CDC3-4477-8388-6DD96AA5C5D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>
          <a:xfrm>
            <a:off x="6097018" y="3324026"/>
            <a:ext cx="3192584" cy="1894367"/>
          </a:xfrm>
          <a:prstGeom prst="rect">
            <a:avLst/>
          </a:prstGeom>
        </p:spPr>
      </p:pic>
      <p:sp>
        <p:nvSpPr>
          <p:cNvPr id="12" name="Titre 11">
            <a:extLst>
              <a:ext uri="{FF2B5EF4-FFF2-40B4-BE49-F238E27FC236}">
                <a16:creationId xmlns:a16="http://schemas.microsoft.com/office/drawing/2014/main" id="{2B4B2319-8E2C-402C-A7E3-533DE2E7B0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035295" y="2958299"/>
            <a:ext cx="5073410" cy="994172"/>
          </a:xfrm>
        </p:spPr>
        <p:txBody>
          <a:bodyPr/>
          <a:lstStyle>
            <a:lvl1pPr algn="ctr">
              <a:defRPr>
                <a:solidFill>
                  <a:srgbClr val="F57A30"/>
                </a:solidFill>
                <a:latin typeface="Source Sans Pro" panose="020B0503030403020204" pitchFamily="34" charset="0"/>
              </a:defRPr>
            </a:lvl1pPr>
          </a:lstStyle>
          <a:p>
            <a:r>
              <a:rPr lang="fr-FR"/>
              <a:t>TITRE</a:t>
            </a:r>
          </a:p>
        </p:txBody>
      </p:sp>
      <p:sp>
        <p:nvSpPr>
          <p:cNvPr id="13" name="Espace réservé du texte 12">
            <a:extLst>
              <a:ext uri="{FF2B5EF4-FFF2-40B4-BE49-F238E27FC236}">
                <a16:creationId xmlns:a16="http://schemas.microsoft.com/office/drawing/2014/main" id="{CC982D3D-B3E1-46A0-B51E-7B3E38BE83B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636941" y="1979247"/>
            <a:ext cx="3870118" cy="964280"/>
          </a:xfrm>
        </p:spPr>
        <p:txBody>
          <a:bodyPr>
            <a:noAutofit/>
          </a:bodyPr>
          <a:lstStyle>
            <a:lvl1pPr marL="0" indent="0" algn="ctr" defTabSz="685800" rtl="0" eaLnBrk="1" latinLnBrk="0" hangingPunct="1">
              <a:lnSpc>
                <a:spcPts val="6240"/>
              </a:lnSpc>
              <a:buNone/>
              <a:defRPr lang="fr-FR" sz="12450" kern="1200" spc="52" dirty="0" smtClean="0">
                <a:solidFill>
                  <a:srgbClr val="F57A30"/>
                </a:solidFill>
                <a:latin typeface="Source Sans Pro" panose="020B0503030403020204" pitchFamily="34" charset="0"/>
                <a:ea typeface="+mn-ea"/>
                <a:cs typeface="+mn-cs"/>
              </a:defRPr>
            </a:lvl1pPr>
            <a:lvl2pPr marL="0" algn="ctr" defTabSz="685800" rtl="0" eaLnBrk="1" latinLnBrk="0" hangingPunct="1">
              <a:lnSpc>
                <a:spcPts val="6240"/>
              </a:lnSpc>
              <a:defRPr lang="fr-FR" sz="12450" kern="1200" spc="52" dirty="0" smtClean="0">
                <a:solidFill>
                  <a:srgbClr val="F57A30"/>
                </a:solidFill>
                <a:latin typeface="Source Sans Pro" panose="020B0503030403020204" pitchFamily="34" charset="0"/>
                <a:ea typeface="+mn-ea"/>
                <a:cs typeface="+mn-cs"/>
              </a:defRPr>
            </a:lvl2pPr>
            <a:lvl3pPr marL="0" algn="ctr" defTabSz="685800" rtl="0" eaLnBrk="1" latinLnBrk="0" hangingPunct="1">
              <a:lnSpc>
                <a:spcPts val="6240"/>
              </a:lnSpc>
              <a:defRPr lang="fr-FR" sz="12450" kern="1200" spc="52" dirty="0" smtClean="0">
                <a:solidFill>
                  <a:srgbClr val="F57A30"/>
                </a:solidFill>
                <a:latin typeface="Source Sans Pro" panose="020B0503030403020204" pitchFamily="34" charset="0"/>
                <a:ea typeface="+mn-ea"/>
                <a:cs typeface="+mn-cs"/>
              </a:defRPr>
            </a:lvl3pPr>
            <a:lvl4pPr marL="0" algn="ctr" defTabSz="685800" rtl="0" eaLnBrk="1" latinLnBrk="0" hangingPunct="1">
              <a:lnSpc>
                <a:spcPts val="6240"/>
              </a:lnSpc>
              <a:defRPr lang="fr-FR" sz="12450" kern="1200" spc="52" dirty="0" smtClean="0">
                <a:solidFill>
                  <a:srgbClr val="F57A30"/>
                </a:solidFill>
                <a:latin typeface="Source Sans Pro" panose="020B0503030403020204" pitchFamily="34" charset="0"/>
                <a:ea typeface="+mn-ea"/>
                <a:cs typeface="+mn-cs"/>
              </a:defRPr>
            </a:lvl4pPr>
            <a:lvl5pPr marL="0" algn="ctr" defTabSz="685800" rtl="0" eaLnBrk="1" latinLnBrk="0" hangingPunct="1">
              <a:lnSpc>
                <a:spcPts val="6240"/>
              </a:lnSpc>
              <a:defRPr lang="fr-FR" sz="12450" kern="1200" spc="52" dirty="0">
                <a:solidFill>
                  <a:srgbClr val="F57A30"/>
                </a:solidFill>
                <a:latin typeface="Source Sans Pro" panose="020B0503030403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N°</a:t>
            </a:r>
          </a:p>
        </p:txBody>
      </p:sp>
    </p:spTree>
    <p:extLst>
      <p:ext uri="{BB962C8B-B14F-4D97-AF65-F5344CB8AC3E}">
        <p14:creationId xmlns:p14="http://schemas.microsoft.com/office/powerpoint/2010/main" val="3799698850"/>
      </p:ext>
    </p:extLst>
  </p:cSld>
  <p:clrMapOvr>
    <a:masterClrMapping/>
  </p:clrMapOvr>
</p:sldLayout>
</file>

<file path=ppt/slideLayouts/slideLayout4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A6553BF2-2A52-4DE7-8D2B-E6F1AAFE8FDB}"/>
              </a:ext>
            </a:extLst>
          </p:cNvPr>
          <p:cNvSpPr/>
          <p:nvPr userDrawn="1"/>
        </p:nvSpPr>
        <p:spPr>
          <a:xfrm>
            <a:off x="-457200" y="-397042"/>
            <a:ext cx="9601200" cy="5540542"/>
          </a:xfrm>
          <a:prstGeom prst="rect">
            <a:avLst/>
          </a:prstGeom>
          <a:solidFill>
            <a:srgbClr val="00727A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200"/>
          </a:p>
        </p:txBody>
      </p:sp>
      <p:sp>
        <p:nvSpPr>
          <p:cNvPr id="8" name="AutoShape 2">
            <a:extLst>
              <a:ext uri="{FF2B5EF4-FFF2-40B4-BE49-F238E27FC236}">
                <a16:creationId xmlns:a16="http://schemas.microsoft.com/office/drawing/2014/main" id="{F1E69017-0B99-464A-8AF0-53698AAB2BC2}"/>
              </a:ext>
            </a:extLst>
          </p:cNvPr>
          <p:cNvSpPr/>
          <p:nvPr userDrawn="1"/>
        </p:nvSpPr>
        <p:spPr>
          <a:xfrm>
            <a:off x="1780344" y="1495119"/>
            <a:ext cx="5728914" cy="2776091"/>
          </a:xfrm>
          <a:prstGeom prst="rect">
            <a:avLst/>
          </a:prstGeom>
          <a:solidFill>
            <a:srgbClr val="F8F6F6">
              <a:alpha val="49803"/>
            </a:srgbClr>
          </a:solidFill>
        </p:spPr>
      </p:sp>
      <p:sp>
        <p:nvSpPr>
          <p:cNvPr id="9" name="AutoShape 3">
            <a:extLst>
              <a:ext uri="{FF2B5EF4-FFF2-40B4-BE49-F238E27FC236}">
                <a16:creationId xmlns:a16="http://schemas.microsoft.com/office/drawing/2014/main" id="{769905A5-3694-4AF2-8562-351EF8DF8B7F}"/>
              </a:ext>
            </a:extLst>
          </p:cNvPr>
          <p:cNvSpPr/>
          <p:nvPr userDrawn="1"/>
        </p:nvSpPr>
        <p:spPr>
          <a:xfrm>
            <a:off x="1634742" y="1328237"/>
            <a:ext cx="5728914" cy="2776091"/>
          </a:xfrm>
          <a:prstGeom prst="rect">
            <a:avLst/>
          </a:prstGeom>
          <a:solidFill>
            <a:srgbClr val="D6ECE9"/>
          </a:solidFill>
        </p:spPr>
      </p:sp>
      <p:pic>
        <p:nvPicPr>
          <p:cNvPr id="11" name="Picture 4">
            <a:extLst>
              <a:ext uri="{FF2B5EF4-FFF2-40B4-BE49-F238E27FC236}">
                <a16:creationId xmlns:a16="http://schemas.microsoft.com/office/drawing/2014/main" id="{977D9BE7-CDC3-4477-8388-6DD96AA5C5D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>
          <a:xfrm>
            <a:off x="6097018" y="3324026"/>
            <a:ext cx="3192584" cy="1894367"/>
          </a:xfrm>
          <a:prstGeom prst="rect">
            <a:avLst/>
          </a:prstGeom>
        </p:spPr>
      </p:pic>
      <p:sp>
        <p:nvSpPr>
          <p:cNvPr id="12" name="Titre 11">
            <a:extLst>
              <a:ext uri="{FF2B5EF4-FFF2-40B4-BE49-F238E27FC236}">
                <a16:creationId xmlns:a16="http://schemas.microsoft.com/office/drawing/2014/main" id="{2B4B2319-8E2C-402C-A7E3-533DE2E7B0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035295" y="2958299"/>
            <a:ext cx="5073410" cy="994172"/>
          </a:xfrm>
        </p:spPr>
        <p:txBody>
          <a:bodyPr/>
          <a:lstStyle>
            <a:lvl1pPr algn="ctr">
              <a:defRPr>
                <a:solidFill>
                  <a:srgbClr val="F57A30"/>
                </a:solidFill>
                <a:latin typeface="Source Sans Pro" panose="020B0503030403020204" pitchFamily="34" charset="0"/>
              </a:defRPr>
            </a:lvl1pPr>
          </a:lstStyle>
          <a:p>
            <a:r>
              <a:rPr lang="fr-FR"/>
              <a:t>TITRE</a:t>
            </a:r>
          </a:p>
        </p:txBody>
      </p:sp>
      <p:sp>
        <p:nvSpPr>
          <p:cNvPr id="13" name="Espace réservé du texte 12">
            <a:extLst>
              <a:ext uri="{FF2B5EF4-FFF2-40B4-BE49-F238E27FC236}">
                <a16:creationId xmlns:a16="http://schemas.microsoft.com/office/drawing/2014/main" id="{CC982D3D-B3E1-46A0-B51E-7B3E38BE83B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636941" y="1979247"/>
            <a:ext cx="3870118" cy="964280"/>
          </a:xfrm>
        </p:spPr>
        <p:txBody>
          <a:bodyPr>
            <a:noAutofit/>
          </a:bodyPr>
          <a:lstStyle>
            <a:lvl1pPr marL="0" indent="0" algn="ctr" defTabSz="685800" rtl="0" eaLnBrk="1" latinLnBrk="0" hangingPunct="1">
              <a:lnSpc>
                <a:spcPts val="6240"/>
              </a:lnSpc>
              <a:buNone/>
              <a:defRPr lang="fr-FR" sz="12450" kern="1200" spc="52" dirty="0" smtClean="0">
                <a:solidFill>
                  <a:srgbClr val="F57A30"/>
                </a:solidFill>
                <a:latin typeface="Source Sans Pro" panose="020B0503030403020204" pitchFamily="34" charset="0"/>
                <a:ea typeface="+mn-ea"/>
                <a:cs typeface="+mn-cs"/>
              </a:defRPr>
            </a:lvl1pPr>
            <a:lvl2pPr marL="0" algn="ctr" defTabSz="685800" rtl="0" eaLnBrk="1" latinLnBrk="0" hangingPunct="1">
              <a:lnSpc>
                <a:spcPts val="6240"/>
              </a:lnSpc>
              <a:defRPr lang="fr-FR" sz="12450" kern="1200" spc="52" dirty="0" smtClean="0">
                <a:solidFill>
                  <a:srgbClr val="F57A30"/>
                </a:solidFill>
                <a:latin typeface="Source Sans Pro" panose="020B0503030403020204" pitchFamily="34" charset="0"/>
                <a:ea typeface="+mn-ea"/>
                <a:cs typeface="+mn-cs"/>
              </a:defRPr>
            </a:lvl2pPr>
            <a:lvl3pPr marL="0" algn="ctr" defTabSz="685800" rtl="0" eaLnBrk="1" latinLnBrk="0" hangingPunct="1">
              <a:lnSpc>
                <a:spcPts val="6240"/>
              </a:lnSpc>
              <a:defRPr lang="fr-FR" sz="12450" kern="1200" spc="52" dirty="0" smtClean="0">
                <a:solidFill>
                  <a:srgbClr val="F57A30"/>
                </a:solidFill>
                <a:latin typeface="Source Sans Pro" panose="020B0503030403020204" pitchFamily="34" charset="0"/>
                <a:ea typeface="+mn-ea"/>
                <a:cs typeface="+mn-cs"/>
              </a:defRPr>
            </a:lvl3pPr>
            <a:lvl4pPr marL="0" algn="ctr" defTabSz="685800" rtl="0" eaLnBrk="1" latinLnBrk="0" hangingPunct="1">
              <a:lnSpc>
                <a:spcPts val="6240"/>
              </a:lnSpc>
              <a:defRPr lang="fr-FR" sz="12450" kern="1200" spc="52" dirty="0" smtClean="0">
                <a:solidFill>
                  <a:srgbClr val="F57A30"/>
                </a:solidFill>
                <a:latin typeface="Source Sans Pro" panose="020B0503030403020204" pitchFamily="34" charset="0"/>
                <a:ea typeface="+mn-ea"/>
                <a:cs typeface="+mn-cs"/>
              </a:defRPr>
            </a:lvl4pPr>
            <a:lvl5pPr marL="0" algn="ctr" defTabSz="685800" rtl="0" eaLnBrk="1" latinLnBrk="0" hangingPunct="1">
              <a:lnSpc>
                <a:spcPts val="6240"/>
              </a:lnSpc>
              <a:defRPr lang="fr-FR" sz="12450" kern="1200" spc="52" dirty="0">
                <a:solidFill>
                  <a:srgbClr val="F57A30"/>
                </a:solidFill>
                <a:latin typeface="Source Sans Pro" panose="020B0503030403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N°</a:t>
            </a:r>
          </a:p>
        </p:txBody>
      </p:sp>
    </p:spTree>
    <p:extLst>
      <p:ext uri="{BB962C8B-B14F-4D97-AF65-F5344CB8AC3E}">
        <p14:creationId xmlns:p14="http://schemas.microsoft.com/office/powerpoint/2010/main" val="379969885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95585F-EE1E-4556-8852-A24C39F3C704}" type="datetime1">
              <a:rPr lang="fr-FR" smtClean="0"/>
              <a:t>20/03/2023</a:t>
            </a:fld>
            <a:endParaRPr lang="fr-FR"/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CONFIDENTIALITY LEVEL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>
          <a:xfrm>
            <a:off x="273150" y="4787038"/>
            <a:ext cx="252710" cy="169157"/>
          </a:xfrm>
        </p:spPr>
        <p:txBody>
          <a:bodyPr/>
          <a:lstStyle/>
          <a:p>
            <a:fld id="{AB4D0077-BF62-4615-B421-B126B085B149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5" name="Sommaire"/>
          <p:cNvSpPr>
            <a:spLocks noGrp="1"/>
          </p:cNvSpPr>
          <p:nvPr>
            <p:ph type="title" hasCustomPrompt="1"/>
          </p:nvPr>
        </p:nvSpPr>
        <p:spPr>
          <a:xfrm>
            <a:off x="273896" y="321585"/>
            <a:ext cx="8596209" cy="337232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000" b="1">
                <a:solidFill>
                  <a:srgbClr val="00008F"/>
                </a:solidFill>
                <a:latin typeface="+mj-lt"/>
              </a:defRPr>
            </a:lvl1pPr>
          </a:lstStyle>
          <a:p>
            <a:r>
              <a:rPr lang="en-GB" noProof="0"/>
              <a:t>Click to edit Master title style</a:t>
            </a:r>
          </a:p>
        </p:txBody>
      </p:sp>
      <p:pic>
        <p:nvPicPr>
          <p:cNvPr id="6" name="Logo AXA" descr="\\Mac\AllFiles\Volumes\DOSSIERS EN COURS\17_1098 AXA_Creation_gabarits\elements\png\new_logo_axa_rgb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727773" y="4727113"/>
            <a:ext cx="209971" cy="2100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8AEA9090-97E5-4F3E-829D-A58FBDBDF75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EB55E924-EB8A-4D50-872B-D26B28BAEC5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33C5310A-EFE0-4AD6-9791-FD9605FE55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48F244-30DD-438A-ADD2-DF4984FBCA8F}" type="slidenum">
              <a:rPr lang="fr-FR" smtClean="0"/>
              <a:t>‹#›</a:t>
            </a:fld>
            <a:endParaRPr lang="fr-FR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ABE45E99-63CC-4D2D-8A17-A61343900218}"/>
              </a:ext>
            </a:extLst>
          </p:cNvPr>
          <p:cNvSpPr/>
          <p:nvPr userDrawn="1"/>
        </p:nvSpPr>
        <p:spPr>
          <a:xfrm>
            <a:off x="-457200" y="-397042"/>
            <a:ext cx="9601200" cy="5540542"/>
          </a:xfrm>
          <a:prstGeom prst="rect">
            <a:avLst/>
          </a:prstGeom>
          <a:solidFill>
            <a:srgbClr val="00727A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200"/>
          </a:p>
        </p:txBody>
      </p:sp>
      <p:sp>
        <p:nvSpPr>
          <p:cNvPr id="7" name="AutoShape 2">
            <a:extLst>
              <a:ext uri="{FF2B5EF4-FFF2-40B4-BE49-F238E27FC236}">
                <a16:creationId xmlns:a16="http://schemas.microsoft.com/office/drawing/2014/main" id="{3830BD0F-9DA8-410C-9E33-AA707EE7A91C}"/>
              </a:ext>
            </a:extLst>
          </p:cNvPr>
          <p:cNvSpPr/>
          <p:nvPr userDrawn="1"/>
        </p:nvSpPr>
        <p:spPr>
          <a:xfrm>
            <a:off x="1780344" y="1495119"/>
            <a:ext cx="5728914" cy="2776091"/>
          </a:xfrm>
          <a:prstGeom prst="rect">
            <a:avLst/>
          </a:prstGeom>
          <a:solidFill>
            <a:srgbClr val="F8F6F6">
              <a:alpha val="49803"/>
            </a:srgbClr>
          </a:solidFill>
        </p:spPr>
      </p:sp>
      <p:sp>
        <p:nvSpPr>
          <p:cNvPr id="8" name="AutoShape 3">
            <a:extLst>
              <a:ext uri="{FF2B5EF4-FFF2-40B4-BE49-F238E27FC236}">
                <a16:creationId xmlns:a16="http://schemas.microsoft.com/office/drawing/2014/main" id="{5FF456F6-61C0-406A-A96B-07DCB74A5CA8}"/>
              </a:ext>
            </a:extLst>
          </p:cNvPr>
          <p:cNvSpPr/>
          <p:nvPr userDrawn="1"/>
        </p:nvSpPr>
        <p:spPr>
          <a:xfrm>
            <a:off x="1634742" y="1328237"/>
            <a:ext cx="5728914" cy="2776091"/>
          </a:xfrm>
          <a:prstGeom prst="rect">
            <a:avLst/>
          </a:prstGeom>
          <a:solidFill>
            <a:srgbClr val="D6ECE9"/>
          </a:solidFill>
        </p:spPr>
      </p:sp>
      <p:pic>
        <p:nvPicPr>
          <p:cNvPr id="10" name="Picture 4">
            <a:extLst>
              <a:ext uri="{FF2B5EF4-FFF2-40B4-BE49-F238E27FC236}">
                <a16:creationId xmlns:a16="http://schemas.microsoft.com/office/drawing/2014/main" id="{0AC28950-BDF6-4735-9581-099407DCC7D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>
          <a:xfrm>
            <a:off x="6273791" y="2806922"/>
            <a:ext cx="2870210" cy="2503460"/>
          </a:xfrm>
          <a:prstGeom prst="rect">
            <a:avLst/>
          </a:prstGeom>
        </p:spPr>
      </p:pic>
      <p:sp>
        <p:nvSpPr>
          <p:cNvPr id="11" name="Titre 11">
            <a:extLst>
              <a:ext uri="{FF2B5EF4-FFF2-40B4-BE49-F238E27FC236}">
                <a16:creationId xmlns:a16="http://schemas.microsoft.com/office/drawing/2014/main" id="{311295C9-677E-4CF4-AEAD-379911F696B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035295" y="2958299"/>
            <a:ext cx="5073410" cy="994172"/>
          </a:xfrm>
        </p:spPr>
        <p:txBody>
          <a:bodyPr/>
          <a:lstStyle>
            <a:lvl1pPr algn="ctr">
              <a:defRPr>
                <a:solidFill>
                  <a:srgbClr val="F57A30"/>
                </a:solidFill>
                <a:latin typeface="Source Sans Pro" panose="020B0503030403020204" pitchFamily="34" charset="0"/>
              </a:defRPr>
            </a:lvl1pPr>
          </a:lstStyle>
          <a:p>
            <a:r>
              <a:rPr lang="fr-FR"/>
              <a:t>TITRE</a:t>
            </a:r>
          </a:p>
        </p:txBody>
      </p:sp>
      <p:sp>
        <p:nvSpPr>
          <p:cNvPr id="12" name="Espace réservé du texte 12">
            <a:extLst>
              <a:ext uri="{FF2B5EF4-FFF2-40B4-BE49-F238E27FC236}">
                <a16:creationId xmlns:a16="http://schemas.microsoft.com/office/drawing/2014/main" id="{3B456385-D975-43A3-8683-5D6458BC05F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636941" y="1979247"/>
            <a:ext cx="3870118" cy="964280"/>
          </a:xfrm>
        </p:spPr>
        <p:txBody>
          <a:bodyPr>
            <a:noAutofit/>
          </a:bodyPr>
          <a:lstStyle>
            <a:lvl1pPr marL="0" indent="0" algn="ctr" defTabSz="685800" rtl="0" eaLnBrk="1" latinLnBrk="0" hangingPunct="1">
              <a:lnSpc>
                <a:spcPts val="6240"/>
              </a:lnSpc>
              <a:buNone/>
              <a:defRPr lang="fr-FR" sz="12450" kern="1200" spc="52" dirty="0" smtClean="0">
                <a:solidFill>
                  <a:srgbClr val="F57A30"/>
                </a:solidFill>
                <a:latin typeface="Source Sans Pro" panose="020B0503030403020204" pitchFamily="34" charset="0"/>
                <a:ea typeface="+mn-ea"/>
                <a:cs typeface="+mn-cs"/>
              </a:defRPr>
            </a:lvl1pPr>
            <a:lvl2pPr marL="0" algn="ctr" defTabSz="685800" rtl="0" eaLnBrk="1" latinLnBrk="0" hangingPunct="1">
              <a:lnSpc>
                <a:spcPts val="6240"/>
              </a:lnSpc>
              <a:defRPr lang="fr-FR" sz="12450" kern="1200" spc="52" dirty="0" smtClean="0">
                <a:solidFill>
                  <a:srgbClr val="F57A30"/>
                </a:solidFill>
                <a:latin typeface="Source Sans Pro" panose="020B0503030403020204" pitchFamily="34" charset="0"/>
                <a:ea typeface="+mn-ea"/>
                <a:cs typeface="+mn-cs"/>
              </a:defRPr>
            </a:lvl2pPr>
            <a:lvl3pPr marL="0" algn="ctr" defTabSz="685800" rtl="0" eaLnBrk="1" latinLnBrk="0" hangingPunct="1">
              <a:lnSpc>
                <a:spcPts val="6240"/>
              </a:lnSpc>
              <a:defRPr lang="fr-FR" sz="12450" kern="1200" spc="52" dirty="0" smtClean="0">
                <a:solidFill>
                  <a:srgbClr val="F57A30"/>
                </a:solidFill>
                <a:latin typeface="Source Sans Pro" panose="020B0503030403020204" pitchFamily="34" charset="0"/>
                <a:ea typeface="+mn-ea"/>
                <a:cs typeface="+mn-cs"/>
              </a:defRPr>
            </a:lvl3pPr>
            <a:lvl4pPr marL="0" algn="ctr" defTabSz="685800" rtl="0" eaLnBrk="1" latinLnBrk="0" hangingPunct="1">
              <a:lnSpc>
                <a:spcPts val="6240"/>
              </a:lnSpc>
              <a:defRPr lang="fr-FR" sz="12450" kern="1200" spc="52" dirty="0" smtClean="0">
                <a:solidFill>
                  <a:srgbClr val="F57A30"/>
                </a:solidFill>
                <a:latin typeface="Source Sans Pro" panose="020B0503030403020204" pitchFamily="34" charset="0"/>
                <a:ea typeface="+mn-ea"/>
                <a:cs typeface="+mn-cs"/>
              </a:defRPr>
            </a:lvl4pPr>
            <a:lvl5pPr marL="0" algn="ctr" defTabSz="685800" rtl="0" eaLnBrk="1" latinLnBrk="0" hangingPunct="1">
              <a:lnSpc>
                <a:spcPts val="6240"/>
              </a:lnSpc>
              <a:defRPr lang="fr-FR" sz="12450" kern="1200" spc="52" dirty="0">
                <a:solidFill>
                  <a:srgbClr val="F57A30"/>
                </a:solidFill>
                <a:latin typeface="Source Sans Pro" panose="020B0503030403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N°</a:t>
            </a:r>
          </a:p>
        </p:txBody>
      </p:sp>
    </p:spTree>
    <p:extLst>
      <p:ext uri="{BB962C8B-B14F-4D97-AF65-F5344CB8AC3E}">
        <p14:creationId xmlns:p14="http://schemas.microsoft.com/office/powerpoint/2010/main" val="671228135"/>
      </p:ext>
    </p:extLst>
  </p:cSld>
  <p:clrMapOvr>
    <a:masterClrMapping/>
  </p:clrMapOvr>
</p:sldLayout>
</file>

<file path=ppt/slideLayouts/slideLayout5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8AEA9090-97E5-4F3E-829D-A58FBDBDF75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EB55E924-EB8A-4D50-872B-D26B28BAEC5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33C5310A-EFE0-4AD6-9791-FD9605FE55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48F244-30DD-438A-ADD2-DF4984FBCA8F}" type="slidenum">
              <a:rPr lang="fr-FR" smtClean="0"/>
              <a:t>‹#›</a:t>
            </a:fld>
            <a:endParaRPr lang="fr-FR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ABE45E99-63CC-4D2D-8A17-A61343900218}"/>
              </a:ext>
            </a:extLst>
          </p:cNvPr>
          <p:cNvSpPr/>
          <p:nvPr userDrawn="1"/>
        </p:nvSpPr>
        <p:spPr>
          <a:xfrm>
            <a:off x="-457200" y="-397042"/>
            <a:ext cx="9601200" cy="5540542"/>
          </a:xfrm>
          <a:prstGeom prst="rect">
            <a:avLst/>
          </a:prstGeom>
          <a:solidFill>
            <a:srgbClr val="00727A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200"/>
          </a:p>
        </p:txBody>
      </p:sp>
      <p:sp>
        <p:nvSpPr>
          <p:cNvPr id="7" name="AutoShape 2">
            <a:extLst>
              <a:ext uri="{FF2B5EF4-FFF2-40B4-BE49-F238E27FC236}">
                <a16:creationId xmlns:a16="http://schemas.microsoft.com/office/drawing/2014/main" id="{3830BD0F-9DA8-410C-9E33-AA707EE7A91C}"/>
              </a:ext>
            </a:extLst>
          </p:cNvPr>
          <p:cNvSpPr/>
          <p:nvPr userDrawn="1"/>
        </p:nvSpPr>
        <p:spPr>
          <a:xfrm>
            <a:off x="1780344" y="1495119"/>
            <a:ext cx="5728914" cy="2776091"/>
          </a:xfrm>
          <a:prstGeom prst="rect">
            <a:avLst/>
          </a:prstGeom>
          <a:solidFill>
            <a:srgbClr val="F8F6F6">
              <a:alpha val="49803"/>
            </a:srgbClr>
          </a:solidFill>
        </p:spPr>
      </p:sp>
      <p:sp>
        <p:nvSpPr>
          <p:cNvPr id="8" name="AutoShape 3">
            <a:extLst>
              <a:ext uri="{FF2B5EF4-FFF2-40B4-BE49-F238E27FC236}">
                <a16:creationId xmlns:a16="http://schemas.microsoft.com/office/drawing/2014/main" id="{5FF456F6-61C0-406A-A96B-07DCB74A5CA8}"/>
              </a:ext>
            </a:extLst>
          </p:cNvPr>
          <p:cNvSpPr/>
          <p:nvPr userDrawn="1"/>
        </p:nvSpPr>
        <p:spPr>
          <a:xfrm>
            <a:off x="1634742" y="1328237"/>
            <a:ext cx="5728914" cy="2776091"/>
          </a:xfrm>
          <a:prstGeom prst="rect">
            <a:avLst/>
          </a:prstGeom>
          <a:solidFill>
            <a:srgbClr val="D6ECE9"/>
          </a:solidFill>
        </p:spPr>
      </p:sp>
      <p:pic>
        <p:nvPicPr>
          <p:cNvPr id="10" name="Picture 4">
            <a:extLst>
              <a:ext uri="{FF2B5EF4-FFF2-40B4-BE49-F238E27FC236}">
                <a16:creationId xmlns:a16="http://schemas.microsoft.com/office/drawing/2014/main" id="{0AC28950-BDF6-4735-9581-099407DCC7D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>
          <a:xfrm>
            <a:off x="6273791" y="2806922"/>
            <a:ext cx="2870210" cy="2503460"/>
          </a:xfrm>
          <a:prstGeom prst="rect">
            <a:avLst/>
          </a:prstGeom>
        </p:spPr>
      </p:pic>
      <p:sp>
        <p:nvSpPr>
          <p:cNvPr id="11" name="Titre 11">
            <a:extLst>
              <a:ext uri="{FF2B5EF4-FFF2-40B4-BE49-F238E27FC236}">
                <a16:creationId xmlns:a16="http://schemas.microsoft.com/office/drawing/2014/main" id="{311295C9-677E-4CF4-AEAD-379911F696B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035295" y="2958299"/>
            <a:ext cx="5073410" cy="994172"/>
          </a:xfrm>
        </p:spPr>
        <p:txBody>
          <a:bodyPr/>
          <a:lstStyle>
            <a:lvl1pPr algn="ctr">
              <a:defRPr>
                <a:solidFill>
                  <a:srgbClr val="F57A30"/>
                </a:solidFill>
                <a:latin typeface="Source Sans Pro" panose="020B0503030403020204" pitchFamily="34" charset="0"/>
              </a:defRPr>
            </a:lvl1pPr>
          </a:lstStyle>
          <a:p>
            <a:r>
              <a:rPr lang="fr-FR"/>
              <a:t>TITRE</a:t>
            </a:r>
          </a:p>
        </p:txBody>
      </p:sp>
      <p:sp>
        <p:nvSpPr>
          <p:cNvPr id="12" name="Espace réservé du texte 12">
            <a:extLst>
              <a:ext uri="{FF2B5EF4-FFF2-40B4-BE49-F238E27FC236}">
                <a16:creationId xmlns:a16="http://schemas.microsoft.com/office/drawing/2014/main" id="{3B456385-D975-43A3-8683-5D6458BC05F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636941" y="1979247"/>
            <a:ext cx="3870118" cy="964280"/>
          </a:xfrm>
        </p:spPr>
        <p:txBody>
          <a:bodyPr>
            <a:noAutofit/>
          </a:bodyPr>
          <a:lstStyle>
            <a:lvl1pPr marL="0" indent="0" algn="ctr" defTabSz="685800" rtl="0" eaLnBrk="1" latinLnBrk="0" hangingPunct="1">
              <a:lnSpc>
                <a:spcPts val="6240"/>
              </a:lnSpc>
              <a:buNone/>
              <a:defRPr lang="fr-FR" sz="12450" kern="1200" spc="52" dirty="0" smtClean="0">
                <a:solidFill>
                  <a:srgbClr val="F57A30"/>
                </a:solidFill>
                <a:latin typeface="Source Sans Pro" panose="020B0503030403020204" pitchFamily="34" charset="0"/>
                <a:ea typeface="+mn-ea"/>
                <a:cs typeface="+mn-cs"/>
              </a:defRPr>
            </a:lvl1pPr>
            <a:lvl2pPr marL="0" algn="ctr" defTabSz="685800" rtl="0" eaLnBrk="1" latinLnBrk="0" hangingPunct="1">
              <a:lnSpc>
                <a:spcPts val="6240"/>
              </a:lnSpc>
              <a:defRPr lang="fr-FR" sz="12450" kern="1200" spc="52" dirty="0" smtClean="0">
                <a:solidFill>
                  <a:srgbClr val="F57A30"/>
                </a:solidFill>
                <a:latin typeface="Source Sans Pro" panose="020B0503030403020204" pitchFamily="34" charset="0"/>
                <a:ea typeface="+mn-ea"/>
                <a:cs typeface="+mn-cs"/>
              </a:defRPr>
            </a:lvl2pPr>
            <a:lvl3pPr marL="0" algn="ctr" defTabSz="685800" rtl="0" eaLnBrk="1" latinLnBrk="0" hangingPunct="1">
              <a:lnSpc>
                <a:spcPts val="6240"/>
              </a:lnSpc>
              <a:defRPr lang="fr-FR" sz="12450" kern="1200" spc="52" dirty="0" smtClean="0">
                <a:solidFill>
                  <a:srgbClr val="F57A30"/>
                </a:solidFill>
                <a:latin typeface="Source Sans Pro" panose="020B0503030403020204" pitchFamily="34" charset="0"/>
                <a:ea typeface="+mn-ea"/>
                <a:cs typeface="+mn-cs"/>
              </a:defRPr>
            </a:lvl3pPr>
            <a:lvl4pPr marL="0" algn="ctr" defTabSz="685800" rtl="0" eaLnBrk="1" latinLnBrk="0" hangingPunct="1">
              <a:lnSpc>
                <a:spcPts val="6240"/>
              </a:lnSpc>
              <a:defRPr lang="fr-FR" sz="12450" kern="1200" spc="52" dirty="0" smtClean="0">
                <a:solidFill>
                  <a:srgbClr val="F57A30"/>
                </a:solidFill>
                <a:latin typeface="Source Sans Pro" panose="020B0503030403020204" pitchFamily="34" charset="0"/>
                <a:ea typeface="+mn-ea"/>
                <a:cs typeface="+mn-cs"/>
              </a:defRPr>
            </a:lvl4pPr>
            <a:lvl5pPr marL="0" algn="ctr" defTabSz="685800" rtl="0" eaLnBrk="1" latinLnBrk="0" hangingPunct="1">
              <a:lnSpc>
                <a:spcPts val="6240"/>
              </a:lnSpc>
              <a:defRPr lang="fr-FR" sz="12450" kern="1200" spc="52" dirty="0">
                <a:solidFill>
                  <a:srgbClr val="F57A30"/>
                </a:solidFill>
                <a:latin typeface="Source Sans Pro" panose="020B0503030403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N°</a:t>
            </a:r>
          </a:p>
        </p:txBody>
      </p:sp>
    </p:spTree>
    <p:extLst>
      <p:ext uri="{BB962C8B-B14F-4D97-AF65-F5344CB8AC3E}">
        <p14:creationId xmlns:p14="http://schemas.microsoft.com/office/powerpoint/2010/main" val="671228135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78879170"/>
      </p:ext>
    </p:extLst>
  </p:cSld>
  <p:clrMapOvr>
    <a:masterClrMapping/>
  </p:clrMapOvr>
</p:sldLayout>
</file>

<file path=ppt/slideLayouts/slideLayout5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95585F-EE1E-4556-8852-A24C39F3C704}" type="datetime1">
              <a:rPr lang="fr-FR" smtClean="0"/>
              <a:t>13/03/2023</a:t>
            </a:fld>
            <a:endParaRPr lang="fr-FR"/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CONFIDENTIALITY LEVEL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>
          <a:xfrm>
            <a:off x="273150" y="4787038"/>
            <a:ext cx="252710" cy="169157"/>
          </a:xfrm>
        </p:spPr>
        <p:txBody>
          <a:bodyPr/>
          <a:lstStyle/>
          <a:p>
            <a:fld id="{AB4D0077-BF62-4615-B421-B126B085B149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5" name="Sommaire"/>
          <p:cNvSpPr>
            <a:spLocks noGrp="1"/>
          </p:cNvSpPr>
          <p:nvPr>
            <p:ph type="title" hasCustomPrompt="1"/>
          </p:nvPr>
        </p:nvSpPr>
        <p:spPr>
          <a:xfrm>
            <a:off x="273896" y="321585"/>
            <a:ext cx="8596209" cy="337232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000" b="1">
                <a:solidFill>
                  <a:srgbClr val="00008F"/>
                </a:solidFill>
                <a:latin typeface="+mj-lt"/>
              </a:defRPr>
            </a:lvl1pPr>
          </a:lstStyle>
          <a:p>
            <a:r>
              <a:rPr lang="en-GB" noProof="0"/>
              <a:t>Click to edit Master title style</a:t>
            </a:r>
          </a:p>
        </p:txBody>
      </p:sp>
      <p:pic>
        <p:nvPicPr>
          <p:cNvPr id="6" name="Logo AXA" descr="\\Mac\AllFiles\Volumes\DOSSIERS EN COURS\17_1098 AXA_Creation_gabarits\elements\png\new_logo_axa_rgb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727773" y="4727113"/>
            <a:ext cx="209971" cy="2100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Layout>
</file>

<file path=ppt/slideLayouts/slideLayout5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78879170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 7">
            <a:extLst>
              <a:ext uri="{FF2B5EF4-FFF2-40B4-BE49-F238E27FC236}">
                <a16:creationId xmlns:a16="http://schemas.microsoft.com/office/drawing/2014/main" id="{50E250E4-7BA9-4228-BB1E-59105214863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37571" y="4724401"/>
            <a:ext cx="331946" cy="331946"/>
          </a:xfrm>
          <a:prstGeom prst="rect">
            <a:avLst/>
          </a:prstGeom>
        </p:spPr>
      </p:pic>
      <p:sp>
        <p:nvSpPr>
          <p:cNvPr id="25" name="Titre 24">
            <a:extLst>
              <a:ext uri="{FF2B5EF4-FFF2-40B4-BE49-F238E27FC236}">
                <a16:creationId xmlns:a16="http://schemas.microsoft.com/office/drawing/2014/main" id="{F890802F-925C-40FF-B38E-2BDFF32E14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69693" y="200849"/>
            <a:ext cx="6888872" cy="539891"/>
          </a:xfrm>
        </p:spPr>
        <p:txBody>
          <a:bodyPr>
            <a:normAutofit/>
          </a:bodyPr>
          <a:lstStyle>
            <a:lvl1pPr>
              <a:defRPr sz="2100"/>
            </a:lvl1pPr>
          </a:lstStyle>
          <a:p>
            <a:r>
              <a:rPr lang="fr-FR" sz="2400">
                <a:solidFill>
                  <a:srgbClr val="F57A30"/>
                </a:solidFill>
                <a:latin typeface="Source Sans Pro Black" panose="020B0803030403020204" pitchFamily="34" charset="0"/>
              </a:rPr>
              <a:t>Tit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B55EBB87-9BE6-41FD-8D01-91A3DBE3552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35860" y="907296"/>
            <a:ext cx="5176799" cy="1268015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2398648801"/>
      </p:ext>
    </p:extLst>
  </p:cSld>
  <p:clrMapOvr>
    <a:masterClrMapping/>
  </p:clrMapOvr>
</p:sldLayout>
</file>

<file path=ppt/slideLayouts/slideLayout5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 7">
            <a:extLst>
              <a:ext uri="{FF2B5EF4-FFF2-40B4-BE49-F238E27FC236}">
                <a16:creationId xmlns:a16="http://schemas.microsoft.com/office/drawing/2014/main" id="{50E250E4-7BA9-4228-BB1E-59105214863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37571" y="4724401"/>
            <a:ext cx="331946" cy="331946"/>
          </a:xfrm>
          <a:prstGeom prst="rect">
            <a:avLst/>
          </a:prstGeom>
        </p:spPr>
      </p:pic>
      <p:sp>
        <p:nvSpPr>
          <p:cNvPr id="25" name="Titre 24">
            <a:extLst>
              <a:ext uri="{FF2B5EF4-FFF2-40B4-BE49-F238E27FC236}">
                <a16:creationId xmlns:a16="http://schemas.microsoft.com/office/drawing/2014/main" id="{F890802F-925C-40FF-B38E-2BDFF32E14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69693" y="200849"/>
            <a:ext cx="6888872" cy="539891"/>
          </a:xfrm>
        </p:spPr>
        <p:txBody>
          <a:bodyPr>
            <a:normAutofit/>
          </a:bodyPr>
          <a:lstStyle>
            <a:lvl1pPr>
              <a:defRPr sz="2100"/>
            </a:lvl1pPr>
          </a:lstStyle>
          <a:p>
            <a:r>
              <a:rPr lang="fr-FR" sz="2400">
                <a:solidFill>
                  <a:srgbClr val="F57A30"/>
                </a:solidFill>
                <a:latin typeface="Source Sans Pro Black" panose="020B0803030403020204" pitchFamily="34" charset="0"/>
              </a:rPr>
              <a:t>Tit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B55EBB87-9BE6-41FD-8D01-91A3DBE3552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35860" y="907296"/>
            <a:ext cx="5176799" cy="1268015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2398648801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e la date 6">
            <a:extLst>
              <a:ext uri="{FF2B5EF4-FFF2-40B4-BE49-F238E27FC236}">
                <a16:creationId xmlns:a16="http://schemas.microsoft.com/office/drawing/2014/main" id="{C0C92CF4-FFD0-421A-B257-18D67B4A2AA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8" name="Espace réservé du pied de page 7">
            <a:extLst>
              <a:ext uri="{FF2B5EF4-FFF2-40B4-BE49-F238E27FC236}">
                <a16:creationId xmlns:a16="http://schemas.microsoft.com/office/drawing/2014/main" id="{41B233AF-40E2-4609-A8AD-FF2E1258FAF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546F928A-AB88-476A-BB6B-68BBDE8A3C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48F244-30DD-438A-ADD2-DF4984FBCA8F}" type="slidenum">
              <a:rPr lang="fr-FR" smtClean="0"/>
              <a:t>‹#›</a:t>
            </a:fld>
            <a:endParaRPr lang="fr-FR"/>
          </a:p>
        </p:txBody>
      </p:sp>
      <p:pic>
        <p:nvPicPr>
          <p:cNvPr id="10" name="Image 9">
            <a:extLst>
              <a:ext uri="{FF2B5EF4-FFF2-40B4-BE49-F238E27FC236}">
                <a16:creationId xmlns:a16="http://schemas.microsoft.com/office/drawing/2014/main" id="{F860669C-9D39-4015-8024-47DA81F8901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37571" y="4724401"/>
            <a:ext cx="331946" cy="331946"/>
          </a:xfrm>
          <a:prstGeom prst="rect">
            <a:avLst/>
          </a:prstGeom>
        </p:spPr>
      </p:pic>
      <p:grpSp>
        <p:nvGrpSpPr>
          <p:cNvPr id="11" name="Groupe 10">
            <a:extLst>
              <a:ext uri="{FF2B5EF4-FFF2-40B4-BE49-F238E27FC236}">
                <a16:creationId xmlns:a16="http://schemas.microsoft.com/office/drawing/2014/main" id="{D8766BD0-BA89-4296-8CC7-38185832DE00}"/>
              </a:ext>
            </a:extLst>
          </p:cNvPr>
          <p:cNvGrpSpPr/>
          <p:nvPr userDrawn="1"/>
        </p:nvGrpSpPr>
        <p:grpSpPr>
          <a:xfrm>
            <a:off x="60157" y="1407946"/>
            <a:ext cx="9023123" cy="3737331"/>
            <a:chOff x="771525" y="2133681"/>
            <a:chExt cx="16744950" cy="6935672"/>
          </a:xfrm>
        </p:grpSpPr>
        <p:sp>
          <p:nvSpPr>
            <p:cNvPr id="12" name="AutoShape 4">
              <a:extLst>
                <a:ext uri="{FF2B5EF4-FFF2-40B4-BE49-F238E27FC236}">
                  <a16:creationId xmlns:a16="http://schemas.microsoft.com/office/drawing/2014/main" id="{56866B81-2F61-4712-AFD8-1B9ACD8675B6}"/>
                </a:ext>
              </a:extLst>
            </p:cNvPr>
            <p:cNvSpPr/>
            <p:nvPr/>
          </p:nvSpPr>
          <p:spPr>
            <a:xfrm>
              <a:off x="771525" y="2134910"/>
              <a:ext cx="3943350" cy="6934443"/>
            </a:xfrm>
            <a:prstGeom prst="rect">
              <a:avLst/>
            </a:prstGeom>
            <a:solidFill>
              <a:srgbClr val="00727A"/>
            </a:solidFill>
          </p:spPr>
        </p:sp>
        <p:sp>
          <p:nvSpPr>
            <p:cNvPr id="13" name="AutoShape 5">
              <a:extLst>
                <a:ext uri="{FF2B5EF4-FFF2-40B4-BE49-F238E27FC236}">
                  <a16:creationId xmlns:a16="http://schemas.microsoft.com/office/drawing/2014/main" id="{6AEE2037-2B18-4F52-BEC4-370679CB831C}"/>
                </a:ext>
              </a:extLst>
            </p:cNvPr>
            <p:cNvSpPr/>
            <p:nvPr/>
          </p:nvSpPr>
          <p:spPr>
            <a:xfrm>
              <a:off x="771525" y="2133681"/>
              <a:ext cx="3943350" cy="1676400"/>
            </a:xfrm>
            <a:prstGeom prst="rect">
              <a:avLst/>
            </a:prstGeom>
            <a:solidFill>
              <a:srgbClr val="EBFDFF"/>
            </a:solidFill>
          </p:spPr>
        </p:sp>
        <p:sp>
          <p:nvSpPr>
            <p:cNvPr id="14" name="AutoShape 6">
              <a:extLst>
                <a:ext uri="{FF2B5EF4-FFF2-40B4-BE49-F238E27FC236}">
                  <a16:creationId xmlns:a16="http://schemas.microsoft.com/office/drawing/2014/main" id="{04B1550E-D27F-49D6-AE7F-8E312AB04AF3}"/>
                </a:ext>
              </a:extLst>
            </p:cNvPr>
            <p:cNvSpPr/>
            <p:nvPr/>
          </p:nvSpPr>
          <p:spPr>
            <a:xfrm>
              <a:off x="5038725" y="2134910"/>
              <a:ext cx="3943350" cy="6934443"/>
            </a:xfrm>
            <a:prstGeom prst="rect">
              <a:avLst/>
            </a:prstGeom>
            <a:solidFill>
              <a:srgbClr val="00727A"/>
            </a:solidFill>
          </p:spPr>
        </p:sp>
        <p:sp>
          <p:nvSpPr>
            <p:cNvPr id="15" name="AutoShape 7">
              <a:extLst>
                <a:ext uri="{FF2B5EF4-FFF2-40B4-BE49-F238E27FC236}">
                  <a16:creationId xmlns:a16="http://schemas.microsoft.com/office/drawing/2014/main" id="{FFCAA3B6-B339-4873-8349-BCC012C9730B}"/>
                </a:ext>
              </a:extLst>
            </p:cNvPr>
            <p:cNvSpPr/>
            <p:nvPr/>
          </p:nvSpPr>
          <p:spPr>
            <a:xfrm>
              <a:off x="5038725" y="2133681"/>
              <a:ext cx="3943350" cy="1676400"/>
            </a:xfrm>
            <a:prstGeom prst="rect">
              <a:avLst/>
            </a:prstGeom>
            <a:solidFill>
              <a:srgbClr val="EBFDFF"/>
            </a:solidFill>
          </p:spPr>
        </p:sp>
        <p:sp>
          <p:nvSpPr>
            <p:cNvPr id="16" name="AutoShape 8">
              <a:extLst>
                <a:ext uri="{FF2B5EF4-FFF2-40B4-BE49-F238E27FC236}">
                  <a16:creationId xmlns:a16="http://schemas.microsoft.com/office/drawing/2014/main" id="{509B435F-57CB-4108-A582-9820229F1FEF}"/>
                </a:ext>
              </a:extLst>
            </p:cNvPr>
            <p:cNvSpPr/>
            <p:nvPr/>
          </p:nvSpPr>
          <p:spPr>
            <a:xfrm>
              <a:off x="9305925" y="2134910"/>
              <a:ext cx="3943350" cy="6934443"/>
            </a:xfrm>
            <a:prstGeom prst="rect">
              <a:avLst/>
            </a:prstGeom>
            <a:solidFill>
              <a:srgbClr val="00727A"/>
            </a:solidFill>
          </p:spPr>
        </p:sp>
        <p:sp>
          <p:nvSpPr>
            <p:cNvPr id="17" name="AutoShape 9">
              <a:extLst>
                <a:ext uri="{FF2B5EF4-FFF2-40B4-BE49-F238E27FC236}">
                  <a16:creationId xmlns:a16="http://schemas.microsoft.com/office/drawing/2014/main" id="{17B71F4C-FA9D-4C37-84F0-3984C2B556B2}"/>
                </a:ext>
              </a:extLst>
            </p:cNvPr>
            <p:cNvSpPr/>
            <p:nvPr/>
          </p:nvSpPr>
          <p:spPr>
            <a:xfrm>
              <a:off x="9305925" y="2133681"/>
              <a:ext cx="3943350" cy="1676400"/>
            </a:xfrm>
            <a:prstGeom prst="rect">
              <a:avLst/>
            </a:prstGeom>
            <a:solidFill>
              <a:srgbClr val="EBFDFF"/>
            </a:solidFill>
          </p:spPr>
        </p:sp>
        <p:sp>
          <p:nvSpPr>
            <p:cNvPr id="21" name="AutoShape 13">
              <a:extLst>
                <a:ext uri="{FF2B5EF4-FFF2-40B4-BE49-F238E27FC236}">
                  <a16:creationId xmlns:a16="http://schemas.microsoft.com/office/drawing/2014/main" id="{AA5769F6-48BE-42F8-BA10-5131717A7E9E}"/>
                </a:ext>
              </a:extLst>
            </p:cNvPr>
            <p:cNvSpPr/>
            <p:nvPr/>
          </p:nvSpPr>
          <p:spPr>
            <a:xfrm>
              <a:off x="13573125" y="2134910"/>
              <a:ext cx="3943350" cy="6934443"/>
            </a:xfrm>
            <a:prstGeom prst="rect">
              <a:avLst/>
            </a:prstGeom>
            <a:solidFill>
              <a:srgbClr val="00727A"/>
            </a:solidFill>
          </p:spPr>
        </p:sp>
        <p:sp>
          <p:nvSpPr>
            <p:cNvPr id="22" name="AutoShape 14">
              <a:extLst>
                <a:ext uri="{FF2B5EF4-FFF2-40B4-BE49-F238E27FC236}">
                  <a16:creationId xmlns:a16="http://schemas.microsoft.com/office/drawing/2014/main" id="{E5457803-9394-4A01-B57C-ED684520A859}"/>
                </a:ext>
              </a:extLst>
            </p:cNvPr>
            <p:cNvSpPr/>
            <p:nvPr/>
          </p:nvSpPr>
          <p:spPr>
            <a:xfrm>
              <a:off x="13573125" y="2133681"/>
              <a:ext cx="3943350" cy="1676400"/>
            </a:xfrm>
            <a:prstGeom prst="rect">
              <a:avLst/>
            </a:prstGeom>
            <a:solidFill>
              <a:srgbClr val="EBFDFF"/>
            </a:solidFill>
          </p:spPr>
        </p:sp>
      </p:grpSp>
      <p:pic>
        <p:nvPicPr>
          <p:cNvPr id="26" name="Picture 6">
            <a:extLst>
              <a:ext uri="{FF2B5EF4-FFF2-40B4-BE49-F238E27FC236}">
                <a16:creationId xmlns:a16="http://schemas.microsoft.com/office/drawing/2014/main" id="{D34B8946-D3CD-44B1-B529-4F478EE06D09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>
            <a:fillRect/>
          </a:stretch>
        </p:blipFill>
        <p:spPr>
          <a:xfrm>
            <a:off x="8332356" y="4192962"/>
            <a:ext cx="1474322" cy="1420711"/>
          </a:xfrm>
          <a:prstGeom prst="rect">
            <a:avLst/>
          </a:prstGeom>
        </p:spPr>
      </p:pic>
      <p:sp>
        <p:nvSpPr>
          <p:cNvPr id="27" name="Titre 24">
            <a:extLst>
              <a:ext uri="{FF2B5EF4-FFF2-40B4-BE49-F238E27FC236}">
                <a16:creationId xmlns:a16="http://schemas.microsoft.com/office/drawing/2014/main" id="{49D5CE96-CFEB-49BF-A1E5-11C5220A7C1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69693" y="200849"/>
            <a:ext cx="6888872" cy="539891"/>
          </a:xfrm>
        </p:spPr>
        <p:txBody>
          <a:bodyPr>
            <a:normAutofit/>
          </a:bodyPr>
          <a:lstStyle>
            <a:lvl1pPr>
              <a:defRPr sz="2100"/>
            </a:lvl1pPr>
          </a:lstStyle>
          <a:p>
            <a:r>
              <a:rPr lang="fr-FR" sz="2400">
                <a:solidFill>
                  <a:srgbClr val="F57A30"/>
                </a:solidFill>
                <a:latin typeface="Source Sans Pro Black" panose="020B0803030403020204" pitchFamily="34" charset="0"/>
              </a:rPr>
              <a:t>Titre</a:t>
            </a:r>
          </a:p>
        </p:txBody>
      </p:sp>
      <p:sp>
        <p:nvSpPr>
          <p:cNvPr id="33" name="Espace réservé du contenu 25" descr="Zone de texte&#10;">
            <a:extLst>
              <a:ext uri="{FF2B5EF4-FFF2-40B4-BE49-F238E27FC236}">
                <a16:creationId xmlns:a16="http://schemas.microsoft.com/office/drawing/2014/main" id="{8CDB1036-57E9-41D7-8895-8F40D2B581E3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0157" y="1415774"/>
            <a:ext cx="2124900" cy="895511"/>
          </a:xfrm>
        </p:spPr>
        <p:txBody>
          <a:bodyPr anchor="ctr">
            <a:noAutofit/>
          </a:bodyPr>
          <a:lstStyle>
            <a:lvl1pPr marL="0" indent="0" algn="l">
              <a:buNone/>
              <a:defRPr lang="fr-FR" sz="1800" kern="1200" spc="203" dirty="0">
                <a:solidFill>
                  <a:srgbClr val="05445E"/>
                </a:solidFill>
                <a:latin typeface="Raleway"/>
                <a:ea typeface="+mn-ea"/>
                <a:cs typeface="+mn-cs"/>
              </a:defRPr>
            </a:lvl1pPr>
            <a:lvl2pPr>
              <a:defRPr sz="1500">
                <a:solidFill>
                  <a:schemeClr val="bg1"/>
                </a:solidFill>
                <a:latin typeface="Source Sans Pro" panose="020B0503030403020204" pitchFamily="34" charset="0"/>
              </a:defRPr>
            </a:lvl2pPr>
            <a:lvl3pPr>
              <a:defRPr sz="1350">
                <a:solidFill>
                  <a:schemeClr val="bg1"/>
                </a:solidFill>
                <a:latin typeface="Source Sans Pro" panose="020B0503030403020204" pitchFamily="34" charset="0"/>
              </a:defRPr>
            </a:lvl3pPr>
            <a:lvl4pPr>
              <a:defRPr sz="1200">
                <a:solidFill>
                  <a:schemeClr val="bg1"/>
                </a:solidFill>
                <a:latin typeface="Source Sans Pro" panose="020B0503030403020204" pitchFamily="34" charset="0"/>
              </a:defRPr>
            </a:lvl4pPr>
            <a:lvl5pPr>
              <a:defRPr sz="1200">
                <a:solidFill>
                  <a:schemeClr val="bg1"/>
                </a:solidFill>
                <a:latin typeface="Source Sans Pro" panose="020B0503030403020204" pitchFamily="34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34" name="Espace réservé du contenu 25" descr="Zone de texte&#10;">
            <a:extLst>
              <a:ext uri="{FF2B5EF4-FFF2-40B4-BE49-F238E27FC236}">
                <a16:creationId xmlns:a16="http://schemas.microsoft.com/office/drawing/2014/main" id="{1BBC535B-1694-4B5D-827E-3C823BF86C67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2363006" y="1426461"/>
            <a:ext cx="2124900" cy="895511"/>
          </a:xfrm>
        </p:spPr>
        <p:txBody>
          <a:bodyPr anchor="ctr">
            <a:noAutofit/>
          </a:bodyPr>
          <a:lstStyle>
            <a:lvl1pPr marL="0" indent="0" algn="l">
              <a:buNone/>
              <a:defRPr lang="fr-FR" sz="1800" kern="1200" spc="203" dirty="0">
                <a:solidFill>
                  <a:srgbClr val="05445E"/>
                </a:solidFill>
                <a:latin typeface="Raleway"/>
                <a:ea typeface="+mn-ea"/>
                <a:cs typeface="+mn-cs"/>
              </a:defRPr>
            </a:lvl1pPr>
            <a:lvl2pPr>
              <a:defRPr sz="1500">
                <a:solidFill>
                  <a:schemeClr val="bg1"/>
                </a:solidFill>
                <a:latin typeface="Source Sans Pro" panose="020B0503030403020204" pitchFamily="34" charset="0"/>
              </a:defRPr>
            </a:lvl2pPr>
            <a:lvl3pPr>
              <a:defRPr sz="1350">
                <a:solidFill>
                  <a:schemeClr val="bg1"/>
                </a:solidFill>
                <a:latin typeface="Source Sans Pro" panose="020B0503030403020204" pitchFamily="34" charset="0"/>
              </a:defRPr>
            </a:lvl3pPr>
            <a:lvl4pPr>
              <a:defRPr sz="1200">
                <a:solidFill>
                  <a:schemeClr val="bg1"/>
                </a:solidFill>
                <a:latin typeface="Source Sans Pro" panose="020B0503030403020204" pitchFamily="34" charset="0"/>
              </a:defRPr>
            </a:lvl4pPr>
            <a:lvl5pPr>
              <a:defRPr sz="1200">
                <a:solidFill>
                  <a:schemeClr val="bg1"/>
                </a:solidFill>
                <a:latin typeface="Source Sans Pro" panose="020B0503030403020204" pitchFamily="34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35" name="Espace réservé du contenu 25" descr="Zone de texte&#10;">
            <a:extLst>
              <a:ext uri="{FF2B5EF4-FFF2-40B4-BE49-F238E27FC236}">
                <a16:creationId xmlns:a16="http://schemas.microsoft.com/office/drawing/2014/main" id="{AEE1EC77-A690-4C3D-B0D2-8C1235ECE9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4662413" y="1426461"/>
            <a:ext cx="2124900" cy="895511"/>
          </a:xfrm>
        </p:spPr>
        <p:txBody>
          <a:bodyPr anchor="ctr">
            <a:noAutofit/>
          </a:bodyPr>
          <a:lstStyle>
            <a:lvl1pPr marL="0" indent="0" algn="l">
              <a:buNone/>
              <a:defRPr lang="fr-FR" sz="1800" kern="1200" spc="203" dirty="0">
                <a:solidFill>
                  <a:srgbClr val="05445E"/>
                </a:solidFill>
                <a:latin typeface="Raleway"/>
                <a:ea typeface="+mn-ea"/>
                <a:cs typeface="+mn-cs"/>
              </a:defRPr>
            </a:lvl1pPr>
            <a:lvl2pPr>
              <a:defRPr sz="1500">
                <a:solidFill>
                  <a:schemeClr val="bg1"/>
                </a:solidFill>
                <a:latin typeface="Source Sans Pro" panose="020B0503030403020204" pitchFamily="34" charset="0"/>
              </a:defRPr>
            </a:lvl2pPr>
            <a:lvl3pPr>
              <a:defRPr sz="1350">
                <a:solidFill>
                  <a:schemeClr val="bg1"/>
                </a:solidFill>
                <a:latin typeface="Source Sans Pro" panose="020B0503030403020204" pitchFamily="34" charset="0"/>
              </a:defRPr>
            </a:lvl3pPr>
            <a:lvl4pPr>
              <a:defRPr sz="1200">
                <a:solidFill>
                  <a:schemeClr val="bg1"/>
                </a:solidFill>
                <a:latin typeface="Source Sans Pro" panose="020B0503030403020204" pitchFamily="34" charset="0"/>
              </a:defRPr>
            </a:lvl4pPr>
            <a:lvl5pPr>
              <a:defRPr sz="1200">
                <a:solidFill>
                  <a:schemeClr val="bg1"/>
                </a:solidFill>
                <a:latin typeface="Source Sans Pro" panose="020B0503030403020204" pitchFamily="34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36" name="Espace réservé du contenu 25" descr="Zone de texte&#10;">
            <a:extLst>
              <a:ext uri="{FF2B5EF4-FFF2-40B4-BE49-F238E27FC236}">
                <a16:creationId xmlns:a16="http://schemas.microsoft.com/office/drawing/2014/main" id="{4F821B7D-7C07-426D-A69F-C3F707E754E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6948057" y="1419691"/>
            <a:ext cx="2124900" cy="895511"/>
          </a:xfrm>
        </p:spPr>
        <p:txBody>
          <a:bodyPr anchor="ctr">
            <a:noAutofit/>
          </a:bodyPr>
          <a:lstStyle>
            <a:lvl1pPr marL="0" indent="0" algn="l">
              <a:buNone/>
              <a:defRPr lang="fr-FR" sz="1800" kern="1200" spc="203" dirty="0">
                <a:solidFill>
                  <a:srgbClr val="05445E"/>
                </a:solidFill>
                <a:latin typeface="Raleway"/>
                <a:ea typeface="+mn-ea"/>
                <a:cs typeface="+mn-cs"/>
              </a:defRPr>
            </a:lvl1pPr>
            <a:lvl2pPr>
              <a:defRPr sz="1500">
                <a:solidFill>
                  <a:schemeClr val="bg1"/>
                </a:solidFill>
                <a:latin typeface="Source Sans Pro" panose="020B0503030403020204" pitchFamily="34" charset="0"/>
              </a:defRPr>
            </a:lvl2pPr>
            <a:lvl3pPr>
              <a:defRPr sz="1350">
                <a:solidFill>
                  <a:schemeClr val="bg1"/>
                </a:solidFill>
                <a:latin typeface="Source Sans Pro" panose="020B0503030403020204" pitchFamily="34" charset="0"/>
              </a:defRPr>
            </a:lvl3pPr>
            <a:lvl4pPr>
              <a:defRPr sz="1200">
                <a:solidFill>
                  <a:schemeClr val="bg1"/>
                </a:solidFill>
                <a:latin typeface="Source Sans Pro" panose="020B0503030403020204" pitchFamily="34" charset="0"/>
              </a:defRPr>
            </a:lvl4pPr>
            <a:lvl5pPr>
              <a:defRPr sz="1200">
                <a:solidFill>
                  <a:schemeClr val="bg1"/>
                </a:solidFill>
                <a:latin typeface="Source Sans Pro" panose="020B0503030403020204" pitchFamily="34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37" name="Espace réservé du contenu 25" descr="Zone de texte&#10;">
            <a:extLst>
              <a:ext uri="{FF2B5EF4-FFF2-40B4-BE49-F238E27FC236}">
                <a16:creationId xmlns:a16="http://schemas.microsoft.com/office/drawing/2014/main" id="{A7B8D852-1CAC-4171-BFB4-7819D05B172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60157" y="2318451"/>
            <a:ext cx="2124900" cy="2825049"/>
          </a:xfrm>
        </p:spPr>
        <p:txBody>
          <a:bodyPr anchor="ctr">
            <a:noAutofit/>
          </a:bodyPr>
          <a:lstStyle>
            <a:lvl1pPr marL="0" indent="0" algn="l">
              <a:buNone/>
              <a:defRPr lang="fr-FR" sz="1800" kern="1200" spc="203" dirty="0">
                <a:solidFill>
                  <a:srgbClr val="E6E6E6"/>
                </a:solidFill>
                <a:latin typeface="Raleway"/>
                <a:ea typeface="+mn-ea"/>
                <a:cs typeface="+mn-cs"/>
              </a:defRPr>
            </a:lvl1pPr>
            <a:lvl2pPr>
              <a:defRPr sz="1500">
                <a:solidFill>
                  <a:schemeClr val="bg1"/>
                </a:solidFill>
                <a:latin typeface="Source Sans Pro" panose="020B0503030403020204" pitchFamily="34" charset="0"/>
              </a:defRPr>
            </a:lvl2pPr>
            <a:lvl3pPr>
              <a:defRPr sz="1350">
                <a:solidFill>
                  <a:schemeClr val="bg1"/>
                </a:solidFill>
                <a:latin typeface="Source Sans Pro" panose="020B0503030403020204" pitchFamily="34" charset="0"/>
              </a:defRPr>
            </a:lvl3pPr>
            <a:lvl4pPr>
              <a:defRPr sz="1200">
                <a:solidFill>
                  <a:schemeClr val="bg1"/>
                </a:solidFill>
                <a:latin typeface="Source Sans Pro" panose="020B0503030403020204" pitchFamily="34" charset="0"/>
              </a:defRPr>
            </a:lvl4pPr>
            <a:lvl5pPr>
              <a:defRPr sz="1200">
                <a:solidFill>
                  <a:schemeClr val="bg1"/>
                </a:solidFill>
                <a:latin typeface="Source Sans Pro" panose="020B0503030403020204" pitchFamily="34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38" name="Espace réservé du contenu 25" descr="Zone de texte&#10;">
            <a:extLst>
              <a:ext uri="{FF2B5EF4-FFF2-40B4-BE49-F238E27FC236}">
                <a16:creationId xmlns:a16="http://schemas.microsoft.com/office/drawing/2014/main" id="{DEF90F25-8C99-493E-A772-647D40A9774B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2363006" y="2318451"/>
            <a:ext cx="2124900" cy="2825049"/>
          </a:xfrm>
        </p:spPr>
        <p:txBody>
          <a:bodyPr anchor="ctr">
            <a:noAutofit/>
          </a:bodyPr>
          <a:lstStyle>
            <a:lvl1pPr marL="0" indent="0" algn="l">
              <a:buNone/>
              <a:defRPr lang="fr-FR" sz="1800" kern="1200" spc="203" dirty="0">
                <a:solidFill>
                  <a:srgbClr val="E6E6E6"/>
                </a:solidFill>
                <a:latin typeface="Raleway"/>
                <a:ea typeface="+mn-ea"/>
                <a:cs typeface="+mn-cs"/>
              </a:defRPr>
            </a:lvl1pPr>
            <a:lvl2pPr>
              <a:defRPr sz="1500">
                <a:solidFill>
                  <a:schemeClr val="bg1"/>
                </a:solidFill>
                <a:latin typeface="Source Sans Pro" panose="020B0503030403020204" pitchFamily="34" charset="0"/>
              </a:defRPr>
            </a:lvl2pPr>
            <a:lvl3pPr>
              <a:defRPr sz="1350">
                <a:solidFill>
                  <a:schemeClr val="bg1"/>
                </a:solidFill>
                <a:latin typeface="Source Sans Pro" panose="020B0503030403020204" pitchFamily="34" charset="0"/>
              </a:defRPr>
            </a:lvl3pPr>
            <a:lvl4pPr>
              <a:defRPr sz="1200">
                <a:solidFill>
                  <a:schemeClr val="bg1"/>
                </a:solidFill>
                <a:latin typeface="Source Sans Pro" panose="020B0503030403020204" pitchFamily="34" charset="0"/>
              </a:defRPr>
            </a:lvl4pPr>
            <a:lvl5pPr>
              <a:defRPr sz="1200">
                <a:solidFill>
                  <a:schemeClr val="bg1"/>
                </a:solidFill>
                <a:latin typeface="Source Sans Pro" panose="020B0503030403020204" pitchFamily="34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39" name="Espace réservé du contenu 25" descr="Zone de texte&#10;">
            <a:extLst>
              <a:ext uri="{FF2B5EF4-FFF2-40B4-BE49-F238E27FC236}">
                <a16:creationId xmlns:a16="http://schemas.microsoft.com/office/drawing/2014/main" id="{4AD76D14-1982-4056-A0AD-F20741566EB2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4662413" y="2310413"/>
            <a:ext cx="2124900" cy="2825049"/>
          </a:xfrm>
        </p:spPr>
        <p:txBody>
          <a:bodyPr anchor="ctr">
            <a:noAutofit/>
          </a:bodyPr>
          <a:lstStyle>
            <a:lvl1pPr marL="0" indent="0" algn="l">
              <a:buNone/>
              <a:defRPr lang="fr-FR" sz="1800" kern="1200" spc="203" dirty="0">
                <a:solidFill>
                  <a:srgbClr val="E6E6E6"/>
                </a:solidFill>
                <a:latin typeface="Raleway"/>
                <a:ea typeface="+mn-ea"/>
                <a:cs typeface="+mn-cs"/>
              </a:defRPr>
            </a:lvl1pPr>
            <a:lvl2pPr>
              <a:defRPr sz="1500">
                <a:solidFill>
                  <a:schemeClr val="bg1"/>
                </a:solidFill>
                <a:latin typeface="Source Sans Pro" panose="020B0503030403020204" pitchFamily="34" charset="0"/>
              </a:defRPr>
            </a:lvl2pPr>
            <a:lvl3pPr>
              <a:defRPr sz="1350">
                <a:solidFill>
                  <a:schemeClr val="bg1"/>
                </a:solidFill>
                <a:latin typeface="Source Sans Pro" panose="020B0503030403020204" pitchFamily="34" charset="0"/>
              </a:defRPr>
            </a:lvl3pPr>
            <a:lvl4pPr>
              <a:defRPr sz="1200">
                <a:solidFill>
                  <a:schemeClr val="bg1"/>
                </a:solidFill>
                <a:latin typeface="Source Sans Pro" panose="020B0503030403020204" pitchFamily="34" charset="0"/>
              </a:defRPr>
            </a:lvl4pPr>
            <a:lvl5pPr>
              <a:defRPr sz="1200">
                <a:solidFill>
                  <a:schemeClr val="bg1"/>
                </a:solidFill>
                <a:latin typeface="Source Sans Pro" panose="020B0503030403020204" pitchFamily="34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0" name="Espace réservé du contenu 25" descr="Zone de texte&#10;">
            <a:extLst>
              <a:ext uri="{FF2B5EF4-FFF2-40B4-BE49-F238E27FC236}">
                <a16:creationId xmlns:a16="http://schemas.microsoft.com/office/drawing/2014/main" id="{BE2F9BA2-B51B-424B-A88D-FAA9322BFDA4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6948057" y="2310413"/>
            <a:ext cx="2124900" cy="2825049"/>
          </a:xfrm>
        </p:spPr>
        <p:txBody>
          <a:bodyPr anchor="ctr">
            <a:noAutofit/>
          </a:bodyPr>
          <a:lstStyle>
            <a:lvl1pPr marL="0" indent="0" algn="l">
              <a:buNone/>
              <a:defRPr lang="fr-FR" sz="1800" kern="1200" spc="203" dirty="0">
                <a:solidFill>
                  <a:srgbClr val="E6E6E6"/>
                </a:solidFill>
                <a:latin typeface="Raleway"/>
                <a:ea typeface="+mn-ea"/>
                <a:cs typeface="+mn-cs"/>
              </a:defRPr>
            </a:lvl1pPr>
            <a:lvl2pPr>
              <a:defRPr sz="1500">
                <a:solidFill>
                  <a:schemeClr val="bg1"/>
                </a:solidFill>
                <a:latin typeface="Source Sans Pro" panose="020B0503030403020204" pitchFamily="34" charset="0"/>
              </a:defRPr>
            </a:lvl2pPr>
            <a:lvl3pPr>
              <a:defRPr sz="1350">
                <a:solidFill>
                  <a:schemeClr val="bg1"/>
                </a:solidFill>
                <a:latin typeface="Source Sans Pro" panose="020B0503030403020204" pitchFamily="34" charset="0"/>
              </a:defRPr>
            </a:lvl3pPr>
            <a:lvl4pPr>
              <a:defRPr sz="1200">
                <a:solidFill>
                  <a:schemeClr val="bg1"/>
                </a:solidFill>
                <a:latin typeface="Source Sans Pro" panose="020B0503030403020204" pitchFamily="34" charset="0"/>
              </a:defRPr>
            </a:lvl4pPr>
            <a:lvl5pPr>
              <a:defRPr sz="1200">
                <a:solidFill>
                  <a:schemeClr val="bg1"/>
                </a:solidFill>
                <a:latin typeface="Source Sans Pro" panose="020B0503030403020204" pitchFamily="34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3228846223"/>
      </p:ext>
    </p:extLst>
  </p:cSld>
  <p:clrMapOvr>
    <a:masterClrMapping/>
  </p:clrMapOvr>
</p:sldLayout>
</file>

<file path=ppt/slideLayouts/slideLayout5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e la date 6">
            <a:extLst>
              <a:ext uri="{FF2B5EF4-FFF2-40B4-BE49-F238E27FC236}">
                <a16:creationId xmlns:a16="http://schemas.microsoft.com/office/drawing/2014/main" id="{C0C92CF4-FFD0-421A-B257-18D67B4A2AA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8" name="Espace réservé du pied de page 7">
            <a:extLst>
              <a:ext uri="{FF2B5EF4-FFF2-40B4-BE49-F238E27FC236}">
                <a16:creationId xmlns:a16="http://schemas.microsoft.com/office/drawing/2014/main" id="{41B233AF-40E2-4609-A8AD-FF2E1258FAF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546F928A-AB88-476A-BB6B-68BBDE8A3C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48F244-30DD-438A-ADD2-DF4984FBCA8F}" type="slidenum">
              <a:rPr lang="fr-FR" smtClean="0"/>
              <a:t>‹#›</a:t>
            </a:fld>
            <a:endParaRPr lang="fr-FR"/>
          </a:p>
        </p:txBody>
      </p:sp>
      <p:pic>
        <p:nvPicPr>
          <p:cNvPr id="10" name="Image 9">
            <a:extLst>
              <a:ext uri="{FF2B5EF4-FFF2-40B4-BE49-F238E27FC236}">
                <a16:creationId xmlns:a16="http://schemas.microsoft.com/office/drawing/2014/main" id="{F860669C-9D39-4015-8024-47DA81F8901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37571" y="4724401"/>
            <a:ext cx="331946" cy="331946"/>
          </a:xfrm>
          <a:prstGeom prst="rect">
            <a:avLst/>
          </a:prstGeom>
        </p:spPr>
      </p:pic>
      <p:grpSp>
        <p:nvGrpSpPr>
          <p:cNvPr id="11" name="Groupe 10">
            <a:extLst>
              <a:ext uri="{FF2B5EF4-FFF2-40B4-BE49-F238E27FC236}">
                <a16:creationId xmlns:a16="http://schemas.microsoft.com/office/drawing/2014/main" id="{D8766BD0-BA89-4296-8CC7-38185832DE00}"/>
              </a:ext>
            </a:extLst>
          </p:cNvPr>
          <p:cNvGrpSpPr/>
          <p:nvPr userDrawn="1"/>
        </p:nvGrpSpPr>
        <p:grpSpPr>
          <a:xfrm>
            <a:off x="60157" y="1407946"/>
            <a:ext cx="9023123" cy="3737331"/>
            <a:chOff x="771525" y="2133681"/>
            <a:chExt cx="16744950" cy="6935672"/>
          </a:xfrm>
        </p:grpSpPr>
        <p:sp>
          <p:nvSpPr>
            <p:cNvPr id="12" name="AutoShape 4">
              <a:extLst>
                <a:ext uri="{FF2B5EF4-FFF2-40B4-BE49-F238E27FC236}">
                  <a16:creationId xmlns:a16="http://schemas.microsoft.com/office/drawing/2014/main" id="{56866B81-2F61-4712-AFD8-1B9ACD8675B6}"/>
                </a:ext>
              </a:extLst>
            </p:cNvPr>
            <p:cNvSpPr/>
            <p:nvPr/>
          </p:nvSpPr>
          <p:spPr>
            <a:xfrm>
              <a:off x="771525" y="2134910"/>
              <a:ext cx="3943350" cy="6934443"/>
            </a:xfrm>
            <a:prstGeom prst="rect">
              <a:avLst/>
            </a:prstGeom>
            <a:solidFill>
              <a:srgbClr val="00727A"/>
            </a:solidFill>
          </p:spPr>
        </p:sp>
        <p:sp>
          <p:nvSpPr>
            <p:cNvPr id="13" name="AutoShape 5">
              <a:extLst>
                <a:ext uri="{FF2B5EF4-FFF2-40B4-BE49-F238E27FC236}">
                  <a16:creationId xmlns:a16="http://schemas.microsoft.com/office/drawing/2014/main" id="{6AEE2037-2B18-4F52-BEC4-370679CB831C}"/>
                </a:ext>
              </a:extLst>
            </p:cNvPr>
            <p:cNvSpPr/>
            <p:nvPr/>
          </p:nvSpPr>
          <p:spPr>
            <a:xfrm>
              <a:off x="771525" y="2133681"/>
              <a:ext cx="3943350" cy="1676400"/>
            </a:xfrm>
            <a:prstGeom prst="rect">
              <a:avLst/>
            </a:prstGeom>
            <a:solidFill>
              <a:srgbClr val="EBFDFF"/>
            </a:solidFill>
          </p:spPr>
        </p:sp>
        <p:sp>
          <p:nvSpPr>
            <p:cNvPr id="14" name="AutoShape 6">
              <a:extLst>
                <a:ext uri="{FF2B5EF4-FFF2-40B4-BE49-F238E27FC236}">
                  <a16:creationId xmlns:a16="http://schemas.microsoft.com/office/drawing/2014/main" id="{04B1550E-D27F-49D6-AE7F-8E312AB04AF3}"/>
                </a:ext>
              </a:extLst>
            </p:cNvPr>
            <p:cNvSpPr/>
            <p:nvPr/>
          </p:nvSpPr>
          <p:spPr>
            <a:xfrm>
              <a:off x="5038725" y="2134910"/>
              <a:ext cx="3943350" cy="6934443"/>
            </a:xfrm>
            <a:prstGeom prst="rect">
              <a:avLst/>
            </a:prstGeom>
            <a:solidFill>
              <a:srgbClr val="00727A"/>
            </a:solidFill>
          </p:spPr>
        </p:sp>
        <p:sp>
          <p:nvSpPr>
            <p:cNvPr id="15" name="AutoShape 7">
              <a:extLst>
                <a:ext uri="{FF2B5EF4-FFF2-40B4-BE49-F238E27FC236}">
                  <a16:creationId xmlns:a16="http://schemas.microsoft.com/office/drawing/2014/main" id="{FFCAA3B6-B339-4873-8349-BCC012C9730B}"/>
                </a:ext>
              </a:extLst>
            </p:cNvPr>
            <p:cNvSpPr/>
            <p:nvPr/>
          </p:nvSpPr>
          <p:spPr>
            <a:xfrm>
              <a:off x="5038725" y="2133681"/>
              <a:ext cx="3943350" cy="1676400"/>
            </a:xfrm>
            <a:prstGeom prst="rect">
              <a:avLst/>
            </a:prstGeom>
            <a:solidFill>
              <a:srgbClr val="EBFDFF"/>
            </a:solidFill>
          </p:spPr>
        </p:sp>
        <p:sp>
          <p:nvSpPr>
            <p:cNvPr id="16" name="AutoShape 8">
              <a:extLst>
                <a:ext uri="{FF2B5EF4-FFF2-40B4-BE49-F238E27FC236}">
                  <a16:creationId xmlns:a16="http://schemas.microsoft.com/office/drawing/2014/main" id="{509B435F-57CB-4108-A582-9820229F1FEF}"/>
                </a:ext>
              </a:extLst>
            </p:cNvPr>
            <p:cNvSpPr/>
            <p:nvPr/>
          </p:nvSpPr>
          <p:spPr>
            <a:xfrm>
              <a:off x="9305925" y="2134910"/>
              <a:ext cx="3943350" cy="6934443"/>
            </a:xfrm>
            <a:prstGeom prst="rect">
              <a:avLst/>
            </a:prstGeom>
            <a:solidFill>
              <a:srgbClr val="00727A"/>
            </a:solidFill>
          </p:spPr>
        </p:sp>
        <p:sp>
          <p:nvSpPr>
            <p:cNvPr id="17" name="AutoShape 9">
              <a:extLst>
                <a:ext uri="{FF2B5EF4-FFF2-40B4-BE49-F238E27FC236}">
                  <a16:creationId xmlns:a16="http://schemas.microsoft.com/office/drawing/2014/main" id="{17B71F4C-FA9D-4C37-84F0-3984C2B556B2}"/>
                </a:ext>
              </a:extLst>
            </p:cNvPr>
            <p:cNvSpPr/>
            <p:nvPr/>
          </p:nvSpPr>
          <p:spPr>
            <a:xfrm>
              <a:off x="9305925" y="2133681"/>
              <a:ext cx="3943350" cy="1676400"/>
            </a:xfrm>
            <a:prstGeom prst="rect">
              <a:avLst/>
            </a:prstGeom>
            <a:solidFill>
              <a:srgbClr val="EBFDFF"/>
            </a:solidFill>
          </p:spPr>
        </p:sp>
        <p:sp>
          <p:nvSpPr>
            <p:cNvPr id="21" name="AutoShape 13">
              <a:extLst>
                <a:ext uri="{FF2B5EF4-FFF2-40B4-BE49-F238E27FC236}">
                  <a16:creationId xmlns:a16="http://schemas.microsoft.com/office/drawing/2014/main" id="{AA5769F6-48BE-42F8-BA10-5131717A7E9E}"/>
                </a:ext>
              </a:extLst>
            </p:cNvPr>
            <p:cNvSpPr/>
            <p:nvPr/>
          </p:nvSpPr>
          <p:spPr>
            <a:xfrm>
              <a:off x="13573125" y="2134910"/>
              <a:ext cx="3943350" cy="6934443"/>
            </a:xfrm>
            <a:prstGeom prst="rect">
              <a:avLst/>
            </a:prstGeom>
            <a:solidFill>
              <a:srgbClr val="00727A"/>
            </a:solidFill>
          </p:spPr>
        </p:sp>
        <p:sp>
          <p:nvSpPr>
            <p:cNvPr id="22" name="AutoShape 14">
              <a:extLst>
                <a:ext uri="{FF2B5EF4-FFF2-40B4-BE49-F238E27FC236}">
                  <a16:creationId xmlns:a16="http://schemas.microsoft.com/office/drawing/2014/main" id="{E5457803-9394-4A01-B57C-ED684520A859}"/>
                </a:ext>
              </a:extLst>
            </p:cNvPr>
            <p:cNvSpPr/>
            <p:nvPr/>
          </p:nvSpPr>
          <p:spPr>
            <a:xfrm>
              <a:off x="13573125" y="2133681"/>
              <a:ext cx="3943350" cy="1676400"/>
            </a:xfrm>
            <a:prstGeom prst="rect">
              <a:avLst/>
            </a:prstGeom>
            <a:solidFill>
              <a:srgbClr val="EBFDFF"/>
            </a:solidFill>
          </p:spPr>
        </p:sp>
      </p:grpSp>
      <p:pic>
        <p:nvPicPr>
          <p:cNvPr id="26" name="Picture 6">
            <a:extLst>
              <a:ext uri="{FF2B5EF4-FFF2-40B4-BE49-F238E27FC236}">
                <a16:creationId xmlns:a16="http://schemas.microsoft.com/office/drawing/2014/main" id="{D34B8946-D3CD-44B1-B529-4F478EE06D09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>
            <a:fillRect/>
          </a:stretch>
        </p:blipFill>
        <p:spPr>
          <a:xfrm>
            <a:off x="8332356" y="4192962"/>
            <a:ext cx="1474322" cy="1420711"/>
          </a:xfrm>
          <a:prstGeom prst="rect">
            <a:avLst/>
          </a:prstGeom>
        </p:spPr>
      </p:pic>
      <p:sp>
        <p:nvSpPr>
          <p:cNvPr id="27" name="Titre 24">
            <a:extLst>
              <a:ext uri="{FF2B5EF4-FFF2-40B4-BE49-F238E27FC236}">
                <a16:creationId xmlns:a16="http://schemas.microsoft.com/office/drawing/2014/main" id="{49D5CE96-CFEB-49BF-A1E5-11C5220A7C1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69693" y="200849"/>
            <a:ext cx="6888872" cy="539891"/>
          </a:xfrm>
        </p:spPr>
        <p:txBody>
          <a:bodyPr>
            <a:normAutofit/>
          </a:bodyPr>
          <a:lstStyle>
            <a:lvl1pPr>
              <a:defRPr sz="2100"/>
            </a:lvl1pPr>
          </a:lstStyle>
          <a:p>
            <a:r>
              <a:rPr lang="fr-FR" sz="2400">
                <a:solidFill>
                  <a:srgbClr val="F57A30"/>
                </a:solidFill>
                <a:latin typeface="Source Sans Pro Black" panose="020B0803030403020204" pitchFamily="34" charset="0"/>
              </a:rPr>
              <a:t>Titre</a:t>
            </a:r>
          </a:p>
        </p:txBody>
      </p:sp>
      <p:sp>
        <p:nvSpPr>
          <p:cNvPr id="33" name="Espace réservé du contenu 25" descr="Zone de texte&#10;">
            <a:extLst>
              <a:ext uri="{FF2B5EF4-FFF2-40B4-BE49-F238E27FC236}">
                <a16:creationId xmlns:a16="http://schemas.microsoft.com/office/drawing/2014/main" id="{8CDB1036-57E9-41D7-8895-8F40D2B581E3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0157" y="1415774"/>
            <a:ext cx="2124900" cy="895511"/>
          </a:xfrm>
        </p:spPr>
        <p:txBody>
          <a:bodyPr anchor="ctr">
            <a:noAutofit/>
          </a:bodyPr>
          <a:lstStyle>
            <a:lvl1pPr marL="0" indent="0" algn="l">
              <a:buNone/>
              <a:defRPr lang="fr-FR" sz="1800" kern="1200" spc="203" dirty="0">
                <a:solidFill>
                  <a:srgbClr val="05445E"/>
                </a:solidFill>
                <a:latin typeface="Raleway"/>
                <a:ea typeface="+mn-ea"/>
                <a:cs typeface="+mn-cs"/>
              </a:defRPr>
            </a:lvl1pPr>
            <a:lvl2pPr>
              <a:defRPr sz="1500">
                <a:solidFill>
                  <a:schemeClr val="bg1"/>
                </a:solidFill>
                <a:latin typeface="Source Sans Pro" panose="020B0503030403020204" pitchFamily="34" charset="0"/>
              </a:defRPr>
            </a:lvl2pPr>
            <a:lvl3pPr>
              <a:defRPr sz="1350">
                <a:solidFill>
                  <a:schemeClr val="bg1"/>
                </a:solidFill>
                <a:latin typeface="Source Sans Pro" panose="020B0503030403020204" pitchFamily="34" charset="0"/>
              </a:defRPr>
            </a:lvl3pPr>
            <a:lvl4pPr>
              <a:defRPr sz="1200">
                <a:solidFill>
                  <a:schemeClr val="bg1"/>
                </a:solidFill>
                <a:latin typeface="Source Sans Pro" panose="020B0503030403020204" pitchFamily="34" charset="0"/>
              </a:defRPr>
            </a:lvl4pPr>
            <a:lvl5pPr>
              <a:defRPr sz="1200">
                <a:solidFill>
                  <a:schemeClr val="bg1"/>
                </a:solidFill>
                <a:latin typeface="Source Sans Pro" panose="020B0503030403020204" pitchFamily="34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34" name="Espace réservé du contenu 25" descr="Zone de texte&#10;">
            <a:extLst>
              <a:ext uri="{FF2B5EF4-FFF2-40B4-BE49-F238E27FC236}">
                <a16:creationId xmlns:a16="http://schemas.microsoft.com/office/drawing/2014/main" id="{1BBC535B-1694-4B5D-827E-3C823BF86C67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2363006" y="1426461"/>
            <a:ext cx="2124900" cy="895511"/>
          </a:xfrm>
        </p:spPr>
        <p:txBody>
          <a:bodyPr anchor="ctr">
            <a:noAutofit/>
          </a:bodyPr>
          <a:lstStyle>
            <a:lvl1pPr marL="0" indent="0" algn="l">
              <a:buNone/>
              <a:defRPr lang="fr-FR" sz="1800" kern="1200" spc="203" dirty="0">
                <a:solidFill>
                  <a:srgbClr val="05445E"/>
                </a:solidFill>
                <a:latin typeface="Raleway"/>
                <a:ea typeface="+mn-ea"/>
                <a:cs typeface="+mn-cs"/>
              </a:defRPr>
            </a:lvl1pPr>
            <a:lvl2pPr>
              <a:defRPr sz="1500">
                <a:solidFill>
                  <a:schemeClr val="bg1"/>
                </a:solidFill>
                <a:latin typeface="Source Sans Pro" panose="020B0503030403020204" pitchFamily="34" charset="0"/>
              </a:defRPr>
            </a:lvl2pPr>
            <a:lvl3pPr>
              <a:defRPr sz="1350">
                <a:solidFill>
                  <a:schemeClr val="bg1"/>
                </a:solidFill>
                <a:latin typeface="Source Sans Pro" panose="020B0503030403020204" pitchFamily="34" charset="0"/>
              </a:defRPr>
            </a:lvl3pPr>
            <a:lvl4pPr>
              <a:defRPr sz="1200">
                <a:solidFill>
                  <a:schemeClr val="bg1"/>
                </a:solidFill>
                <a:latin typeface="Source Sans Pro" panose="020B0503030403020204" pitchFamily="34" charset="0"/>
              </a:defRPr>
            </a:lvl4pPr>
            <a:lvl5pPr>
              <a:defRPr sz="1200">
                <a:solidFill>
                  <a:schemeClr val="bg1"/>
                </a:solidFill>
                <a:latin typeface="Source Sans Pro" panose="020B0503030403020204" pitchFamily="34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35" name="Espace réservé du contenu 25" descr="Zone de texte&#10;">
            <a:extLst>
              <a:ext uri="{FF2B5EF4-FFF2-40B4-BE49-F238E27FC236}">
                <a16:creationId xmlns:a16="http://schemas.microsoft.com/office/drawing/2014/main" id="{AEE1EC77-A690-4C3D-B0D2-8C1235ECE9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4662413" y="1426461"/>
            <a:ext cx="2124900" cy="895511"/>
          </a:xfrm>
        </p:spPr>
        <p:txBody>
          <a:bodyPr anchor="ctr">
            <a:noAutofit/>
          </a:bodyPr>
          <a:lstStyle>
            <a:lvl1pPr marL="0" indent="0" algn="l">
              <a:buNone/>
              <a:defRPr lang="fr-FR" sz="1800" kern="1200" spc="203" dirty="0">
                <a:solidFill>
                  <a:srgbClr val="05445E"/>
                </a:solidFill>
                <a:latin typeface="Raleway"/>
                <a:ea typeface="+mn-ea"/>
                <a:cs typeface="+mn-cs"/>
              </a:defRPr>
            </a:lvl1pPr>
            <a:lvl2pPr>
              <a:defRPr sz="1500">
                <a:solidFill>
                  <a:schemeClr val="bg1"/>
                </a:solidFill>
                <a:latin typeface="Source Sans Pro" panose="020B0503030403020204" pitchFamily="34" charset="0"/>
              </a:defRPr>
            </a:lvl2pPr>
            <a:lvl3pPr>
              <a:defRPr sz="1350">
                <a:solidFill>
                  <a:schemeClr val="bg1"/>
                </a:solidFill>
                <a:latin typeface="Source Sans Pro" panose="020B0503030403020204" pitchFamily="34" charset="0"/>
              </a:defRPr>
            </a:lvl3pPr>
            <a:lvl4pPr>
              <a:defRPr sz="1200">
                <a:solidFill>
                  <a:schemeClr val="bg1"/>
                </a:solidFill>
                <a:latin typeface="Source Sans Pro" panose="020B0503030403020204" pitchFamily="34" charset="0"/>
              </a:defRPr>
            </a:lvl4pPr>
            <a:lvl5pPr>
              <a:defRPr sz="1200">
                <a:solidFill>
                  <a:schemeClr val="bg1"/>
                </a:solidFill>
                <a:latin typeface="Source Sans Pro" panose="020B0503030403020204" pitchFamily="34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36" name="Espace réservé du contenu 25" descr="Zone de texte&#10;">
            <a:extLst>
              <a:ext uri="{FF2B5EF4-FFF2-40B4-BE49-F238E27FC236}">
                <a16:creationId xmlns:a16="http://schemas.microsoft.com/office/drawing/2014/main" id="{4F821B7D-7C07-426D-A69F-C3F707E754E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6948057" y="1419691"/>
            <a:ext cx="2124900" cy="895511"/>
          </a:xfrm>
        </p:spPr>
        <p:txBody>
          <a:bodyPr anchor="ctr">
            <a:noAutofit/>
          </a:bodyPr>
          <a:lstStyle>
            <a:lvl1pPr marL="0" indent="0" algn="l">
              <a:buNone/>
              <a:defRPr lang="fr-FR" sz="1800" kern="1200" spc="203" dirty="0">
                <a:solidFill>
                  <a:srgbClr val="05445E"/>
                </a:solidFill>
                <a:latin typeface="Raleway"/>
                <a:ea typeface="+mn-ea"/>
                <a:cs typeface="+mn-cs"/>
              </a:defRPr>
            </a:lvl1pPr>
            <a:lvl2pPr>
              <a:defRPr sz="1500">
                <a:solidFill>
                  <a:schemeClr val="bg1"/>
                </a:solidFill>
                <a:latin typeface="Source Sans Pro" panose="020B0503030403020204" pitchFamily="34" charset="0"/>
              </a:defRPr>
            </a:lvl2pPr>
            <a:lvl3pPr>
              <a:defRPr sz="1350">
                <a:solidFill>
                  <a:schemeClr val="bg1"/>
                </a:solidFill>
                <a:latin typeface="Source Sans Pro" panose="020B0503030403020204" pitchFamily="34" charset="0"/>
              </a:defRPr>
            </a:lvl3pPr>
            <a:lvl4pPr>
              <a:defRPr sz="1200">
                <a:solidFill>
                  <a:schemeClr val="bg1"/>
                </a:solidFill>
                <a:latin typeface="Source Sans Pro" panose="020B0503030403020204" pitchFamily="34" charset="0"/>
              </a:defRPr>
            </a:lvl4pPr>
            <a:lvl5pPr>
              <a:defRPr sz="1200">
                <a:solidFill>
                  <a:schemeClr val="bg1"/>
                </a:solidFill>
                <a:latin typeface="Source Sans Pro" panose="020B0503030403020204" pitchFamily="34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37" name="Espace réservé du contenu 25" descr="Zone de texte&#10;">
            <a:extLst>
              <a:ext uri="{FF2B5EF4-FFF2-40B4-BE49-F238E27FC236}">
                <a16:creationId xmlns:a16="http://schemas.microsoft.com/office/drawing/2014/main" id="{A7B8D852-1CAC-4171-BFB4-7819D05B172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60157" y="2318451"/>
            <a:ext cx="2124900" cy="2825049"/>
          </a:xfrm>
        </p:spPr>
        <p:txBody>
          <a:bodyPr anchor="ctr">
            <a:noAutofit/>
          </a:bodyPr>
          <a:lstStyle>
            <a:lvl1pPr marL="0" indent="0" algn="l">
              <a:buNone/>
              <a:defRPr lang="fr-FR" sz="1800" kern="1200" spc="203" dirty="0">
                <a:solidFill>
                  <a:srgbClr val="E6E6E6"/>
                </a:solidFill>
                <a:latin typeface="Raleway"/>
                <a:ea typeface="+mn-ea"/>
                <a:cs typeface="+mn-cs"/>
              </a:defRPr>
            </a:lvl1pPr>
            <a:lvl2pPr>
              <a:defRPr sz="1500">
                <a:solidFill>
                  <a:schemeClr val="bg1"/>
                </a:solidFill>
                <a:latin typeface="Source Sans Pro" panose="020B0503030403020204" pitchFamily="34" charset="0"/>
              </a:defRPr>
            </a:lvl2pPr>
            <a:lvl3pPr>
              <a:defRPr sz="1350">
                <a:solidFill>
                  <a:schemeClr val="bg1"/>
                </a:solidFill>
                <a:latin typeface="Source Sans Pro" panose="020B0503030403020204" pitchFamily="34" charset="0"/>
              </a:defRPr>
            </a:lvl3pPr>
            <a:lvl4pPr>
              <a:defRPr sz="1200">
                <a:solidFill>
                  <a:schemeClr val="bg1"/>
                </a:solidFill>
                <a:latin typeface="Source Sans Pro" panose="020B0503030403020204" pitchFamily="34" charset="0"/>
              </a:defRPr>
            </a:lvl4pPr>
            <a:lvl5pPr>
              <a:defRPr sz="1200">
                <a:solidFill>
                  <a:schemeClr val="bg1"/>
                </a:solidFill>
                <a:latin typeface="Source Sans Pro" panose="020B0503030403020204" pitchFamily="34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38" name="Espace réservé du contenu 25" descr="Zone de texte&#10;">
            <a:extLst>
              <a:ext uri="{FF2B5EF4-FFF2-40B4-BE49-F238E27FC236}">
                <a16:creationId xmlns:a16="http://schemas.microsoft.com/office/drawing/2014/main" id="{DEF90F25-8C99-493E-A772-647D40A9774B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2363006" y="2318451"/>
            <a:ext cx="2124900" cy="2825049"/>
          </a:xfrm>
        </p:spPr>
        <p:txBody>
          <a:bodyPr anchor="ctr">
            <a:noAutofit/>
          </a:bodyPr>
          <a:lstStyle>
            <a:lvl1pPr marL="0" indent="0" algn="l">
              <a:buNone/>
              <a:defRPr lang="fr-FR" sz="1800" kern="1200" spc="203" dirty="0">
                <a:solidFill>
                  <a:srgbClr val="E6E6E6"/>
                </a:solidFill>
                <a:latin typeface="Raleway"/>
                <a:ea typeface="+mn-ea"/>
                <a:cs typeface="+mn-cs"/>
              </a:defRPr>
            </a:lvl1pPr>
            <a:lvl2pPr>
              <a:defRPr sz="1500">
                <a:solidFill>
                  <a:schemeClr val="bg1"/>
                </a:solidFill>
                <a:latin typeface="Source Sans Pro" panose="020B0503030403020204" pitchFamily="34" charset="0"/>
              </a:defRPr>
            </a:lvl2pPr>
            <a:lvl3pPr>
              <a:defRPr sz="1350">
                <a:solidFill>
                  <a:schemeClr val="bg1"/>
                </a:solidFill>
                <a:latin typeface="Source Sans Pro" panose="020B0503030403020204" pitchFamily="34" charset="0"/>
              </a:defRPr>
            </a:lvl3pPr>
            <a:lvl4pPr>
              <a:defRPr sz="1200">
                <a:solidFill>
                  <a:schemeClr val="bg1"/>
                </a:solidFill>
                <a:latin typeface="Source Sans Pro" panose="020B0503030403020204" pitchFamily="34" charset="0"/>
              </a:defRPr>
            </a:lvl4pPr>
            <a:lvl5pPr>
              <a:defRPr sz="1200">
                <a:solidFill>
                  <a:schemeClr val="bg1"/>
                </a:solidFill>
                <a:latin typeface="Source Sans Pro" panose="020B0503030403020204" pitchFamily="34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39" name="Espace réservé du contenu 25" descr="Zone de texte&#10;">
            <a:extLst>
              <a:ext uri="{FF2B5EF4-FFF2-40B4-BE49-F238E27FC236}">
                <a16:creationId xmlns:a16="http://schemas.microsoft.com/office/drawing/2014/main" id="{4AD76D14-1982-4056-A0AD-F20741566EB2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4662413" y="2310413"/>
            <a:ext cx="2124900" cy="2825049"/>
          </a:xfrm>
        </p:spPr>
        <p:txBody>
          <a:bodyPr anchor="ctr">
            <a:noAutofit/>
          </a:bodyPr>
          <a:lstStyle>
            <a:lvl1pPr marL="0" indent="0" algn="l">
              <a:buNone/>
              <a:defRPr lang="fr-FR" sz="1800" kern="1200" spc="203" dirty="0">
                <a:solidFill>
                  <a:srgbClr val="E6E6E6"/>
                </a:solidFill>
                <a:latin typeface="Raleway"/>
                <a:ea typeface="+mn-ea"/>
                <a:cs typeface="+mn-cs"/>
              </a:defRPr>
            </a:lvl1pPr>
            <a:lvl2pPr>
              <a:defRPr sz="1500">
                <a:solidFill>
                  <a:schemeClr val="bg1"/>
                </a:solidFill>
                <a:latin typeface="Source Sans Pro" panose="020B0503030403020204" pitchFamily="34" charset="0"/>
              </a:defRPr>
            </a:lvl2pPr>
            <a:lvl3pPr>
              <a:defRPr sz="1350">
                <a:solidFill>
                  <a:schemeClr val="bg1"/>
                </a:solidFill>
                <a:latin typeface="Source Sans Pro" panose="020B0503030403020204" pitchFamily="34" charset="0"/>
              </a:defRPr>
            </a:lvl3pPr>
            <a:lvl4pPr>
              <a:defRPr sz="1200">
                <a:solidFill>
                  <a:schemeClr val="bg1"/>
                </a:solidFill>
                <a:latin typeface="Source Sans Pro" panose="020B0503030403020204" pitchFamily="34" charset="0"/>
              </a:defRPr>
            </a:lvl4pPr>
            <a:lvl5pPr>
              <a:defRPr sz="1200">
                <a:solidFill>
                  <a:schemeClr val="bg1"/>
                </a:solidFill>
                <a:latin typeface="Source Sans Pro" panose="020B0503030403020204" pitchFamily="34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0" name="Espace réservé du contenu 25" descr="Zone de texte&#10;">
            <a:extLst>
              <a:ext uri="{FF2B5EF4-FFF2-40B4-BE49-F238E27FC236}">
                <a16:creationId xmlns:a16="http://schemas.microsoft.com/office/drawing/2014/main" id="{BE2F9BA2-B51B-424B-A88D-FAA9322BFDA4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6948057" y="2310413"/>
            <a:ext cx="2124900" cy="2825049"/>
          </a:xfrm>
        </p:spPr>
        <p:txBody>
          <a:bodyPr anchor="ctr">
            <a:noAutofit/>
          </a:bodyPr>
          <a:lstStyle>
            <a:lvl1pPr marL="0" indent="0" algn="l">
              <a:buNone/>
              <a:defRPr lang="fr-FR" sz="1800" kern="1200" spc="203" dirty="0">
                <a:solidFill>
                  <a:srgbClr val="E6E6E6"/>
                </a:solidFill>
                <a:latin typeface="Raleway"/>
                <a:ea typeface="+mn-ea"/>
                <a:cs typeface="+mn-cs"/>
              </a:defRPr>
            </a:lvl1pPr>
            <a:lvl2pPr>
              <a:defRPr sz="1500">
                <a:solidFill>
                  <a:schemeClr val="bg1"/>
                </a:solidFill>
                <a:latin typeface="Source Sans Pro" panose="020B0503030403020204" pitchFamily="34" charset="0"/>
              </a:defRPr>
            </a:lvl2pPr>
            <a:lvl3pPr>
              <a:defRPr sz="1350">
                <a:solidFill>
                  <a:schemeClr val="bg1"/>
                </a:solidFill>
                <a:latin typeface="Source Sans Pro" panose="020B0503030403020204" pitchFamily="34" charset="0"/>
              </a:defRPr>
            </a:lvl3pPr>
            <a:lvl4pPr>
              <a:defRPr sz="1200">
                <a:solidFill>
                  <a:schemeClr val="bg1"/>
                </a:solidFill>
                <a:latin typeface="Source Sans Pro" panose="020B0503030403020204" pitchFamily="34" charset="0"/>
              </a:defRPr>
            </a:lvl4pPr>
            <a:lvl5pPr>
              <a:defRPr sz="1200">
                <a:solidFill>
                  <a:schemeClr val="bg1"/>
                </a:solidFill>
                <a:latin typeface="Source Sans Pro" panose="020B0503030403020204" pitchFamily="34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3228846223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e la date 6">
            <a:extLst>
              <a:ext uri="{FF2B5EF4-FFF2-40B4-BE49-F238E27FC236}">
                <a16:creationId xmlns:a16="http://schemas.microsoft.com/office/drawing/2014/main" id="{C0C92CF4-FFD0-421A-B257-18D67B4A2AA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8" name="Espace réservé du pied de page 7">
            <a:extLst>
              <a:ext uri="{FF2B5EF4-FFF2-40B4-BE49-F238E27FC236}">
                <a16:creationId xmlns:a16="http://schemas.microsoft.com/office/drawing/2014/main" id="{41B233AF-40E2-4609-A8AD-FF2E1258FAF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546F928A-AB88-476A-BB6B-68BBDE8A3C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48F244-30DD-438A-ADD2-DF4984FBCA8F}" type="slidenum">
              <a:rPr lang="fr-FR" smtClean="0"/>
              <a:t>‹#›</a:t>
            </a:fld>
            <a:endParaRPr lang="fr-FR"/>
          </a:p>
        </p:txBody>
      </p:sp>
      <p:pic>
        <p:nvPicPr>
          <p:cNvPr id="10" name="Image 9">
            <a:extLst>
              <a:ext uri="{FF2B5EF4-FFF2-40B4-BE49-F238E27FC236}">
                <a16:creationId xmlns:a16="http://schemas.microsoft.com/office/drawing/2014/main" id="{F860669C-9D39-4015-8024-47DA81F8901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37571" y="4724401"/>
            <a:ext cx="331946" cy="331946"/>
          </a:xfrm>
          <a:prstGeom prst="rect">
            <a:avLst/>
          </a:prstGeom>
        </p:spPr>
      </p:pic>
      <p:grpSp>
        <p:nvGrpSpPr>
          <p:cNvPr id="11" name="Groupe 10">
            <a:extLst>
              <a:ext uri="{FF2B5EF4-FFF2-40B4-BE49-F238E27FC236}">
                <a16:creationId xmlns:a16="http://schemas.microsoft.com/office/drawing/2014/main" id="{D8766BD0-BA89-4296-8CC7-38185832DE00}"/>
              </a:ext>
            </a:extLst>
          </p:cNvPr>
          <p:cNvGrpSpPr/>
          <p:nvPr userDrawn="1"/>
        </p:nvGrpSpPr>
        <p:grpSpPr>
          <a:xfrm>
            <a:off x="60157" y="1407946"/>
            <a:ext cx="9023123" cy="3737331"/>
            <a:chOff x="771525" y="2133681"/>
            <a:chExt cx="16744950" cy="6935672"/>
          </a:xfrm>
        </p:grpSpPr>
        <p:sp>
          <p:nvSpPr>
            <p:cNvPr id="12" name="AutoShape 4">
              <a:extLst>
                <a:ext uri="{FF2B5EF4-FFF2-40B4-BE49-F238E27FC236}">
                  <a16:creationId xmlns:a16="http://schemas.microsoft.com/office/drawing/2014/main" id="{56866B81-2F61-4712-AFD8-1B9ACD8675B6}"/>
                </a:ext>
              </a:extLst>
            </p:cNvPr>
            <p:cNvSpPr/>
            <p:nvPr/>
          </p:nvSpPr>
          <p:spPr>
            <a:xfrm>
              <a:off x="771525" y="2134910"/>
              <a:ext cx="3943350" cy="6934443"/>
            </a:xfrm>
            <a:prstGeom prst="rect">
              <a:avLst/>
            </a:prstGeom>
            <a:solidFill>
              <a:srgbClr val="00727A"/>
            </a:solidFill>
          </p:spPr>
        </p:sp>
        <p:sp>
          <p:nvSpPr>
            <p:cNvPr id="13" name="AutoShape 5">
              <a:extLst>
                <a:ext uri="{FF2B5EF4-FFF2-40B4-BE49-F238E27FC236}">
                  <a16:creationId xmlns:a16="http://schemas.microsoft.com/office/drawing/2014/main" id="{6AEE2037-2B18-4F52-BEC4-370679CB831C}"/>
                </a:ext>
              </a:extLst>
            </p:cNvPr>
            <p:cNvSpPr/>
            <p:nvPr/>
          </p:nvSpPr>
          <p:spPr>
            <a:xfrm>
              <a:off x="771525" y="2133681"/>
              <a:ext cx="3943350" cy="1676400"/>
            </a:xfrm>
            <a:prstGeom prst="rect">
              <a:avLst/>
            </a:prstGeom>
            <a:solidFill>
              <a:srgbClr val="EBFDFF"/>
            </a:solidFill>
          </p:spPr>
        </p:sp>
        <p:sp>
          <p:nvSpPr>
            <p:cNvPr id="14" name="AutoShape 6">
              <a:extLst>
                <a:ext uri="{FF2B5EF4-FFF2-40B4-BE49-F238E27FC236}">
                  <a16:creationId xmlns:a16="http://schemas.microsoft.com/office/drawing/2014/main" id="{04B1550E-D27F-49D6-AE7F-8E312AB04AF3}"/>
                </a:ext>
              </a:extLst>
            </p:cNvPr>
            <p:cNvSpPr/>
            <p:nvPr/>
          </p:nvSpPr>
          <p:spPr>
            <a:xfrm>
              <a:off x="5038725" y="2134910"/>
              <a:ext cx="3943350" cy="6934443"/>
            </a:xfrm>
            <a:prstGeom prst="rect">
              <a:avLst/>
            </a:prstGeom>
            <a:solidFill>
              <a:srgbClr val="00727A"/>
            </a:solidFill>
          </p:spPr>
        </p:sp>
        <p:sp>
          <p:nvSpPr>
            <p:cNvPr id="15" name="AutoShape 7">
              <a:extLst>
                <a:ext uri="{FF2B5EF4-FFF2-40B4-BE49-F238E27FC236}">
                  <a16:creationId xmlns:a16="http://schemas.microsoft.com/office/drawing/2014/main" id="{FFCAA3B6-B339-4873-8349-BCC012C9730B}"/>
                </a:ext>
              </a:extLst>
            </p:cNvPr>
            <p:cNvSpPr/>
            <p:nvPr/>
          </p:nvSpPr>
          <p:spPr>
            <a:xfrm>
              <a:off x="5038725" y="2133681"/>
              <a:ext cx="3943350" cy="1676400"/>
            </a:xfrm>
            <a:prstGeom prst="rect">
              <a:avLst/>
            </a:prstGeom>
            <a:solidFill>
              <a:srgbClr val="EBFDFF"/>
            </a:solidFill>
          </p:spPr>
        </p:sp>
        <p:sp>
          <p:nvSpPr>
            <p:cNvPr id="16" name="AutoShape 8">
              <a:extLst>
                <a:ext uri="{FF2B5EF4-FFF2-40B4-BE49-F238E27FC236}">
                  <a16:creationId xmlns:a16="http://schemas.microsoft.com/office/drawing/2014/main" id="{509B435F-57CB-4108-A582-9820229F1FEF}"/>
                </a:ext>
              </a:extLst>
            </p:cNvPr>
            <p:cNvSpPr/>
            <p:nvPr/>
          </p:nvSpPr>
          <p:spPr>
            <a:xfrm>
              <a:off x="9305925" y="2134910"/>
              <a:ext cx="3943350" cy="6934443"/>
            </a:xfrm>
            <a:prstGeom prst="rect">
              <a:avLst/>
            </a:prstGeom>
            <a:solidFill>
              <a:srgbClr val="00727A"/>
            </a:solidFill>
          </p:spPr>
        </p:sp>
        <p:sp>
          <p:nvSpPr>
            <p:cNvPr id="17" name="AutoShape 9">
              <a:extLst>
                <a:ext uri="{FF2B5EF4-FFF2-40B4-BE49-F238E27FC236}">
                  <a16:creationId xmlns:a16="http://schemas.microsoft.com/office/drawing/2014/main" id="{17B71F4C-FA9D-4C37-84F0-3984C2B556B2}"/>
                </a:ext>
              </a:extLst>
            </p:cNvPr>
            <p:cNvSpPr/>
            <p:nvPr/>
          </p:nvSpPr>
          <p:spPr>
            <a:xfrm>
              <a:off x="9305925" y="2133681"/>
              <a:ext cx="3943350" cy="1676400"/>
            </a:xfrm>
            <a:prstGeom prst="rect">
              <a:avLst/>
            </a:prstGeom>
            <a:solidFill>
              <a:srgbClr val="EBFDFF"/>
            </a:solidFill>
          </p:spPr>
        </p:sp>
        <p:sp>
          <p:nvSpPr>
            <p:cNvPr id="21" name="AutoShape 13">
              <a:extLst>
                <a:ext uri="{FF2B5EF4-FFF2-40B4-BE49-F238E27FC236}">
                  <a16:creationId xmlns:a16="http://schemas.microsoft.com/office/drawing/2014/main" id="{AA5769F6-48BE-42F8-BA10-5131717A7E9E}"/>
                </a:ext>
              </a:extLst>
            </p:cNvPr>
            <p:cNvSpPr/>
            <p:nvPr/>
          </p:nvSpPr>
          <p:spPr>
            <a:xfrm>
              <a:off x="13573125" y="2134910"/>
              <a:ext cx="3943350" cy="6934443"/>
            </a:xfrm>
            <a:prstGeom prst="rect">
              <a:avLst/>
            </a:prstGeom>
            <a:solidFill>
              <a:srgbClr val="00727A"/>
            </a:solidFill>
          </p:spPr>
        </p:sp>
        <p:sp>
          <p:nvSpPr>
            <p:cNvPr id="22" name="AutoShape 14">
              <a:extLst>
                <a:ext uri="{FF2B5EF4-FFF2-40B4-BE49-F238E27FC236}">
                  <a16:creationId xmlns:a16="http://schemas.microsoft.com/office/drawing/2014/main" id="{E5457803-9394-4A01-B57C-ED684520A859}"/>
                </a:ext>
              </a:extLst>
            </p:cNvPr>
            <p:cNvSpPr/>
            <p:nvPr/>
          </p:nvSpPr>
          <p:spPr>
            <a:xfrm>
              <a:off x="13573125" y="2133681"/>
              <a:ext cx="3943350" cy="1676400"/>
            </a:xfrm>
            <a:prstGeom prst="rect">
              <a:avLst/>
            </a:prstGeom>
            <a:solidFill>
              <a:srgbClr val="EBFDFF"/>
            </a:solidFill>
          </p:spPr>
        </p:sp>
      </p:grpSp>
      <p:pic>
        <p:nvPicPr>
          <p:cNvPr id="26" name="Picture 6">
            <a:extLst>
              <a:ext uri="{FF2B5EF4-FFF2-40B4-BE49-F238E27FC236}">
                <a16:creationId xmlns:a16="http://schemas.microsoft.com/office/drawing/2014/main" id="{D34B8946-D3CD-44B1-B529-4F478EE06D09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>
            <a:fillRect/>
          </a:stretch>
        </p:blipFill>
        <p:spPr>
          <a:xfrm>
            <a:off x="8332356" y="4192962"/>
            <a:ext cx="1474322" cy="1420711"/>
          </a:xfrm>
          <a:prstGeom prst="rect">
            <a:avLst/>
          </a:prstGeom>
        </p:spPr>
      </p:pic>
      <p:sp>
        <p:nvSpPr>
          <p:cNvPr id="27" name="Titre 24">
            <a:extLst>
              <a:ext uri="{FF2B5EF4-FFF2-40B4-BE49-F238E27FC236}">
                <a16:creationId xmlns:a16="http://schemas.microsoft.com/office/drawing/2014/main" id="{49D5CE96-CFEB-49BF-A1E5-11C5220A7C1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69693" y="200849"/>
            <a:ext cx="6888872" cy="539891"/>
          </a:xfrm>
        </p:spPr>
        <p:txBody>
          <a:bodyPr>
            <a:normAutofit/>
          </a:bodyPr>
          <a:lstStyle>
            <a:lvl1pPr>
              <a:defRPr sz="2100"/>
            </a:lvl1pPr>
          </a:lstStyle>
          <a:p>
            <a:r>
              <a:rPr lang="fr-FR" sz="2400">
                <a:solidFill>
                  <a:srgbClr val="F57A30"/>
                </a:solidFill>
                <a:latin typeface="Source Sans Pro Black" panose="020B0803030403020204" pitchFamily="34" charset="0"/>
              </a:rPr>
              <a:t>Titre</a:t>
            </a:r>
          </a:p>
        </p:txBody>
      </p:sp>
      <p:sp>
        <p:nvSpPr>
          <p:cNvPr id="47" name="Espace réservé du contenu 25" descr="Zone de texte&#10;">
            <a:extLst>
              <a:ext uri="{FF2B5EF4-FFF2-40B4-BE49-F238E27FC236}">
                <a16:creationId xmlns:a16="http://schemas.microsoft.com/office/drawing/2014/main" id="{094041C9-4E1F-4B56-A704-95F6ECDB4720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0157" y="1415774"/>
            <a:ext cx="2124900" cy="895511"/>
          </a:xfrm>
        </p:spPr>
        <p:txBody>
          <a:bodyPr anchor="ctr">
            <a:noAutofit/>
          </a:bodyPr>
          <a:lstStyle>
            <a:lvl1pPr marL="0" indent="0" algn="l">
              <a:buNone/>
              <a:defRPr lang="fr-FR" sz="1800" kern="1200" spc="203" dirty="0">
                <a:solidFill>
                  <a:srgbClr val="05445E"/>
                </a:solidFill>
                <a:latin typeface="Raleway"/>
                <a:ea typeface="+mn-ea"/>
                <a:cs typeface="+mn-cs"/>
              </a:defRPr>
            </a:lvl1pPr>
            <a:lvl2pPr>
              <a:defRPr sz="1500">
                <a:solidFill>
                  <a:schemeClr val="bg1"/>
                </a:solidFill>
                <a:latin typeface="Source Sans Pro" panose="020B0503030403020204" pitchFamily="34" charset="0"/>
              </a:defRPr>
            </a:lvl2pPr>
            <a:lvl3pPr>
              <a:defRPr sz="1350">
                <a:solidFill>
                  <a:schemeClr val="bg1"/>
                </a:solidFill>
                <a:latin typeface="Source Sans Pro" panose="020B0503030403020204" pitchFamily="34" charset="0"/>
              </a:defRPr>
            </a:lvl3pPr>
            <a:lvl4pPr>
              <a:defRPr sz="1200">
                <a:solidFill>
                  <a:schemeClr val="bg1"/>
                </a:solidFill>
                <a:latin typeface="Source Sans Pro" panose="020B0503030403020204" pitchFamily="34" charset="0"/>
              </a:defRPr>
            </a:lvl4pPr>
            <a:lvl5pPr>
              <a:defRPr sz="1200">
                <a:solidFill>
                  <a:schemeClr val="bg1"/>
                </a:solidFill>
                <a:latin typeface="Source Sans Pro" panose="020B0503030403020204" pitchFamily="34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8" name="Espace réservé du contenu 25" descr="Zone de texte&#10;">
            <a:extLst>
              <a:ext uri="{FF2B5EF4-FFF2-40B4-BE49-F238E27FC236}">
                <a16:creationId xmlns:a16="http://schemas.microsoft.com/office/drawing/2014/main" id="{416CA882-C003-471D-BE19-8A6BCB3C657C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2363006" y="1426461"/>
            <a:ext cx="2124900" cy="895511"/>
          </a:xfrm>
        </p:spPr>
        <p:txBody>
          <a:bodyPr anchor="ctr">
            <a:noAutofit/>
          </a:bodyPr>
          <a:lstStyle>
            <a:lvl1pPr marL="0" indent="0" algn="l">
              <a:buNone/>
              <a:defRPr lang="fr-FR" sz="1800" kern="1200" spc="203" dirty="0">
                <a:solidFill>
                  <a:srgbClr val="05445E"/>
                </a:solidFill>
                <a:latin typeface="Raleway"/>
                <a:ea typeface="+mn-ea"/>
                <a:cs typeface="+mn-cs"/>
              </a:defRPr>
            </a:lvl1pPr>
            <a:lvl2pPr>
              <a:defRPr sz="1500">
                <a:solidFill>
                  <a:schemeClr val="bg1"/>
                </a:solidFill>
                <a:latin typeface="Source Sans Pro" panose="020B0503030403020204" pitchFamily="34" charset="0"/>
              </a:defRPr>
            </a:lvl2pPr>
            <a:lvl3pPr>
              <a:defRPr sz="1350">
                <a:solidFill>
                  <a:schemeClr val="bg1"/>
                </a:solidFill>
                <a:latin typeface="Source Sans Pro" panose="020B0503030403020204" pitchFamily="34" charset="0"/>
              </a:defRPr>
            </a:lvl3pPr>
            <a:lvl4pPr>
              <a:defRPr sz="1200">
                <a:solidFill>
                  <a:schemeClr val="bg1"/>
                </a:solidFill>
                <a:latin typeface="Source Sans Pro" panose="020B0503030403020204" pitchFamily="34" charset="0"/>
              </a:defRPr>
            </a:lvl4pPr>
            <a:lvl5pPr>
              <a:defRPr sz="1200">
                <a:solidFill>
                  <a:schemeClr val="bg1"/>
                </a:solidFill>
                <a:latin typeface="Source Sans Pro" panose="020B0503030403020204" pitchFamily="34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9" name="Espace réservé du contenu 25" descr="Zone de texte&#10;">
            <a:extLst>
              <a:ext uri="{FF2B5EF4-FFF2-40B4-BE49-F238E27FC236}">
                <a16:creationId xmlns:a16="http://schemas.microsoft.com/office/drawing/2014/main" id="{DA08DE35-84F8-4305-A892-7105D4912FDD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4662413" y="1426461"/>
            <a:ext cx="2124900" cy="895511"/>
          </a:xfrm>
        </p:spPr>
        <p:txBody>
          <a:bodyPr anchor="ctr">
            <a:noAutofit/>
          </a:bodyPr>
          <a:lstStyle>
            <a:lvl1pPr marL="0" indent="0" algn="l">
              <a:buNone/>
              <a:defRPr lang="fr-FR" sz="1800" kern="1200" spc="203" dirty="0">
                <a:solidFill>
                  <a:srgbClr val="05445E"/>
                </a:solidFill>
                <a:latin typeface="Raleway"/>
                <a:ea typeface="+mn-ea"/>
                <a:cs typeface="+mn-cs"/>
              </a:defRPr>
            </a:lvl1pPr>
            <a:lvl2pPr>
              <a:defRPr sz="1500">
                <a:solidFill>
                  <a:schemeClr val="bg1"/>
                </a:solidFill>
                <a:latin typeface="Source Sans Pro" panose="020B0503030403020204" pitchFamily="34" charset="0"/>
              </a:defRPr>
            </a:lvl2pPr>
            <a:lvl3pPr>
              <a:defRPr sz="1350">
                <a:solidFill>
                  <a:schemeClr val="bg1"/>
                </a:solidFill>
                <a:latin typeface="Source Sans Pro" panose="020B0503030403020204" pitchFamily="34" charset="0"/>
              </a:defRPr>
            </a:lvl3pPr>
            <a:lvl4pPr>
              <a:defRPr sz="1200">
                <a:solidFill>
                  <a:schemeClr val="bg1"/>
                </a:solidFill>
                <a:latin typeface="Source Sans Pro" panose="020B0503030403020204" pitchFamily="34" charset="0"/>
              </a:defRPr>
            </a:lvl4pPr>
            <a:lvl5pPr>
              <a:defRPr sz="1200">
                <a:solidFill>
                  <a:schemeClr val="bg1"/>
                </a:solidFill>
                <a:latin typeface="Source Sans Pro" panose="020B0503030403020204" pitchFamily="34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0" name="Espace réservé du contenu 25" descr="Zone de texte&#10;">
            <a:extLst>
              <a:ext uri="{FF2B5EF4-FFF2-40B4-BE49-F238E27FC236}">
                <a16:creationId xmlns:a16="http://schemas.microsoft.com/office/drawing/2014/main" id="{1AEF126A-10EA-46E6-9542-B6CB44EDA154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6948057" y="1419691"/>
            <a:ext cx="2124900" cy="895511"/>
          </a:xfrm>
        </p:spPr>
        <p:txBody>
          <a:bodyPr anchor="ctr">
            <a:noAutofit/>
          </a:bodyPr>
          <a:lstStyle>
            <a:lvl1pPr marL="0" indent="0" algn="l">
              <a:buNone/>
              <a:defRPr lang="fr-FR" sz="1800" kern="1200" spc="203" dirty="0">
                <a:solidFill>
                  <a:srgbClr val="05445E"/>
                </a:solidFill>
                <a:latin typeface="Raleway"/>
                <a:ea typeface="+mn-ea"/>
                <a:cs typeface="+mn-cs"/>
              </a:defRPr>
            </a:lvl1pPr>
            <a:lvl2pPr>
              <a:defRPr sz="1500">
                <a:solidFill>
                  <a:schemeClr val="bg1"/>
                </a:solidFill>
                <a:latin typeface="Source Sans Pro" panose="020B0503030403020204" pitchFamily="34" charset="0"/>
              </a:defRPr>
            </a:lvl2pPr>
            <a:lvl3pPr>
              <a:defRPr sz="1350">
                <a:solidFill>
                  <a:schemeClr val="bg1"/>
                </a:solidFill>
                <a:latin typeface="Source Sans Pro" panose="020B0503030403020204" pitchFamily="34" charset="0"/>
              </a:defRPr>
            </a:lvl3pPr>
            <a:lvl4pPr>
              <a:defRPr sz="1200">
                <a:solidFill>
                  <a:schemeClr val="bg1"/>
                </a:solidFill>
                <a:latin typeface="Source Sans Pro" panose="020B0503030403020204" pitchFamily="34" charset="0"/>
              </a:defRPr>
            </a:lvl4pPr>
            <a:lvl5pPr>
              <a:defRPr sz="1200">
                <a:solidFill>
                  <a:schemeClr val="bg1"/>
                </a:solidFill>
                <a:latin typeface="Source Sans Pro" panose="020B0503030403020204" pitchFamily="34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1" name="Espace réservé du contenu 25" descr="Zone de texte&#10;">
            <a:extLst>
              <a:ext uri="{FF2B5EF4-FFF2-40B4-BE49-F238E27FC236}">
                <a16:creationId xmlns:a16="http://schemas.microsoft.com/office/drawing/2014/main" id="{B7786689-4540-4316-A5FF-C79D2933E6B4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60157" y="2318451"/>
            <a:ext cx="2124900" cy="2825049"/>
          </a:xfrm>
        </p:spPr>
        <p:txBody>
          <a:bodyPr anchor="ctr">
            <a:noAutofit/>
          </a:bodyPr>
          <a:lstStyle>
            <a:lvl1pPr marL="0" indent="0" algn="l">
              <a:buNone/>
              <a:defRPr lang="fr-FR" sz="1800" kern="1200" spc="203" dirty="0">
                <a:solidFill>
                  <a:srgbClr val="E6E6E6"/>
                </a:solidFill>
                <a:latin typeface="Raleway"/>
                <a:ea typeface="+mn-ea"/>
                <a:cs typeface="+mn-cs"/>
              </a:defRPr>
            </a:lvl1pPr>
            <a:lvl2pPr>
              <a:defRPr sz="1500">
                <a:solidFill>
                  <a:schemeClr val="bg1"/>
                </a:solidFill>
                <a:latin typeface="Source Sans Pro" panose="020B0503030403020204" pitchFamily="34" charset="0"/>
              </a:defRPr>
            </a:lvl2pPr>
            <a:lvl3pPr>
              <a:defRPr sz="1350">
                <a:solidFill>
                  <a:schemeClr val="bg1"/>
                </a:solidFill>
                <a:latin typeface="Source Sans Pro" panose="020B0503030403020204" pitchFamily="34" charset="0"/>
              </a:defRPr>
            </a:lvl3pPr>
            <a:lvl4pPr>
              <a:defRPr sz="1200">
                <a:solidFill>
                  <a:schemeClr val="bg1"/>
                </a:solidFill>
                <a:latin typeface="Source Sans Pro" panose="020B0503030403020204" pitchFamily="34" charset="0"/>
              </a:defRPr>
            </a:lvl4pPr>
            <a:lvl5pPr>
              <a:defRPr sz="1200">
                <a:solidFill>
                  <a:schemeClr val="bg1"/>
                </a:solidFill>
                <a:latin typeface="Source Sans Pro" panose="020B0503030403020204" pitchFamily="34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2" name="Espace réservé du contenu 25" descr="Zone de texte&#10;">
            <a:extLst>
              <a:ext uri="{FF2B5EF4-FFF2-40B4-BE49-F238E27FC236}">
                <a16:creationId xmlns:a16="http://schemas.microsoft.com/office/drawing/2014/main" id="{6488DD74-E033-430B-864A-89CB07C73AB3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2363006" y="2318451"/>
            <a:ext cx="2124900" cy="2825049"/>
          </a:xfrm>
        </p:spPr>
        <p:txBody>
          <a:bodyPr anchor="ctr">
            <a:noAutofit/>
          </a:bodyPr>
          <a:lstStyle>
            <a:lvl1pPr marL="0" indent="0" algn="l">
              <a:buNone/>
              <a:defRPr lang="fr-FR" sz="1800" kern="1200" spc="203" dirty="0">
                <a:solidFill>
                  <a:srgbClr val="E6E6E6"/>
                </a:solidFill>
                <a:latin typeface="Raleway"/>
                <a:ea typeface="+mn-ea"/>
                <a:cs typeface="+mn-cs"/>
              </a:defRPr>
            </a:lvl1pPr>
            <a:lvl2pPr>
              <a:defRPr sz="1500">
                <a:solidFill>
                  <a:schemeClr val="bg1"/>
                </a:solidFill>
                <a:latin typeface="Source Sans Pro" panose="020B0503030403020204" pitchFamily="34" charset="0"/>
              </a:defRPr>
            </a:lvl2pPr>
            <a:lvl3pPr>
              <a:defRPr sz="1350">
                <a:solidFill>
                  <a:schemeClr val="bg1"/>
                </a:solidFill>
                <a:latin typeface="Source Sans Pro" panose="020B0503030403020204" pitchFamily="34" charset="0"/>
              </a:defRPr>
            </a:lvl3pPr>
            <a:lvl4pPr>
              <a:defRPr sz="1200">
                <a:solidFill>
                  <a:schemeClr val="bg1"/>
                </a:solidFill>
                <a:latin typeface="Source Sans Pro" panose="020B0503030403020204" pitchFamily="34" charset="0"/>
              </a:defRPr>
            </a:lvl4pPr>
            <a:lvl5pPr>
              <a:defRPr sz="1200">
                <a:solidFill>
                  <a:schemeClr val="bg1"/>
                </a:solidFill>
                <a:latin typeface="Source Sans Pro" panose="020B0503030403020204" pitchFamily="34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3" name="Espace réservé du contenu 25" descr="Zone de texte&#10;">
            <a:extLst>
              <a:ext uri="{FF2B5EF4-FFF2-40B4-BE49-F238E27FC236}">
                <a16:creationId xmlns:a16="http://schemas.microsoft.com/office/drawing/2014/main" id="{DF017F14-60DE-4872-B54C-A0FDEC59729F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4662413" y="2310413"/>
            <a:ext cx="2124900" cy="2825049"/>
          </a:xfrm>
        </p:spPr>
        <p:txBody>
          <a:bodyPr anchor="ctr">
            <a:noAutofit/>
          </a:bodyPr>
          <a:lstStyle>
            <a:lvl1pPr marL="0" indent="0" algn="l">
              <a:buNone/>
              <a:defRPr lang="fr-FR" sz="1800" kern="1200" spc="203" dirty="0">
                <a:solidFill>
                  <a:srgbClr val="E6E6E6"/>
                </a:solidFill>
                <a:latin typeface="Raleway"/>
                <a:ea typeface="+mn-ea"/>
                <a:cs typeface="+mn-cs"/>
              </a:defRPr>
            </a:lvl1pPr>
            <a:lvl2pPr>
              <a:defRPr sz="1500">
                <a:solidFill>
                  <a:schemeClr val="bg1"/>
                </a:solidFill>
                <a:latin typeface="Source Sans Pro" panose="020B0503030403020204" pitchFamily="34" charset="0"/>
              </a:defRPr>
            </a:lvl2pPr>
            <a:lvl3pPr>
              <a:defRPr sz="1350">
                <a:solidFill>
                  <a:schemeClr val="bg1"/>
                </a:solidFill>
                <a:latin typeface="Source Sans Pro" panose="020B0503030403020204" pitchFamily="34" charset="0"/>
              </a:defRPr>
            </a:lvl3pPr>
            <a:lvl4pPr>
              <a:defRPr sz="1200">
                <a:solidFill>
                  <a:schemeClr val="bg1"/>
                </a:solidFill>
                <a:latin typeface="Source Sans Pro" panose="020B0503030403020204" pitchFamily="34" charset="0"/>
              </a:defRPr>
            </a:lvl4pPr>
            <a:lvl5pPr>
              <a:defRPr sz="1200">
                <a:solidFill>
                  <a:schemeClr val="bg1"/>
                </a:solidFill>
                <a:latin typeface="Source Sans Pro" panose="020B0503030403020204" pitchFamily="34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4" name="Espace réservé du contenu 25" descr="Zone de texte&#10;">
            <a:extLst>
              <a:ext uri="{FF2B5EF4-FFF2-40B4-BE49-F238E27FC236}">
                <a16:creationId xmlns:a16="http://schemas.microsoft.com/office/drawing/2014/main" id="{731F73BE-E999-497E-AA9F-7360C60B0EE1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6948057" y="2310413"/>
            <a:ext cx="2124900" cy="2825049"/>
          </a:xfrm>
        </p:spPr>
        <p:txBody>
          <a:bodyPr anchor="ctr">
            <a:noAutofit/>
          </a:bodyPr>
          <a:lstStyle>
            <a:lvl1pPr marL="0" indent="0" algn="l">
              <a:buNone/>
              <a:defRPr lang="fr-FR" sz="1800" kern="1200" spc="203" dirty="0">
                <a:solidFill>
                  <a:srgbClr val="E6E6E6"/>
                </a:solidFill>
                <a:latin typeface="Raleway"/>
                <a:ea typeface="+mn-ea"/>
                <a:cs typeface="+mn-cs"/>
              </a:defRPr>
            </a:lvl1pPr>
            <a:lvl2pPr>
              <a:defRPr sz="1500">
                <a:solidFill>
                  <a:schemeClr val="bg1"/>
                </a:solidFill>
                <a:latin typeface="Source Sans Pro" panose="020B0503030403020204" pitchFamily="34" charset="0"/>
              </a:defRPr>
            </a:lvl2pPr>
            <a:lvl3pPr>
              <a:defRPr sz="1350">
                <a:solidFill>
                  <a:schemeClr val="bg1"/>
                </a:solidFill>
                <a:latin typeface="Source Sans Pro" panose="020B0503030403020204" pitchFamily="34" charset="0"/>
              </a:defRPr>
            </a:lvl3pPr>
            <a:lvl4pPr>
              <a:defRPr sz="1200">
                <a:solidFill>
                  <a:schemeClr val="bg1"/>
                </a:solidFill>
                <a:latin typeface="Source Sans Pro" panose="020B0503030403020204" pitchFamily="34" charset="0"/>
              </a:defRPr>
            </a:lvl4pPr>
            <a:lvl5pPr>
              <a:defRPr sz="1200">
                <a:solidFill>
                  <a:schemeClr val="bg1"/>
                </a:solidFill>
                <a:latin typeface="Source Sans Pro" panose="020B0503030403020204" pitchFamily="34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2657456027"/>
      </p:ext>
    </p:extLst>
  </p:cSld>
  <p:clrMapOvr>
    <a:masterClrMapping/>
  </p:clrMapOvr>
</p:sldLayout>
</file>

<file path=ppt/slideLayouts/slideLayout5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e la date 6">
            <a:extLst>
              <a:ext uri="{FF2B5EF4-FFF2-40B4-BE49-F238E27FC236}">
                <a16:creationId xmlns:a16="http://schemas.microsoft.com/office/drawing/2014/main" id="{C0C92CF4-FFD0-421A-B257-18D67B4A2AA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8" name="Espace réservé du pied de page 7">
            <a:extLst>
              <a:ext uri="{FF2B5EF4-FFF2-40B4-BE49-F238E27FC236}">
                <a16:creationId xmlns:a16="http://schemas.microsoft.com/office/drawing/2014/main" id="{41B233AF-40E2-4609-A8AD-FF2E1258FAF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546F928A-AB88-476A-BB6B-68BBDE8A3C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48F244-30DD-438A-ADD2-DF4984FBCA8F}" type="slidenum">
              <a:rPr lang="fr-FR" smtClean="0"/>
              <a:t>‹#›</a:t>
            </a:fld>
            <a:endParaRPr lang="fr-FR"/>
          </a:p>
        </p:txBody>
      </p:sp>
      <p:pic>
        <p:nvPicPr>
          <p:cNvPr id="10" name="Image 9">
            <a:extLst>
              <a:ext uri="{FF2B5EF4-FFF2-40B4-BE49-F238E27FC236}">
                <a16:creationId xmlns:a16="http://schemas.microsoft.com/office/drawing/2014/main" id="{F860669C-9D39-4015-8024-47DA81F8901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37571" y="4724401"/>
            <a:ext cx="331946" cy="331946"/>
          </a:xfrm>
          <a:prstGeom prst="rect">
            <a:avLst/>
          </a:prstGeom>
        </p:spPr>
      </p:pic>
      <p:grpSp>
        <p:nvGrpSpPr>
          <p:cNvPr id="11" name="Groupe 10">
            <a:extLst>
              <a:ext uri="{FF2B5EF4-FFF2-40B4-BE49-F238E27FC236}">
                <a16:creationId xmlns:a16="http://schemas.microsoft.com/office/drawing/2014/main" id="{D8766BD0-BA89-4296-8CC7-38185832DE00}"/>
              </a:ext>
            </a:extLst>
          </p:cNvPr>
          <p:cNvGrpSpPr/>
          <p:nvPr userDrawn="1"/>
        </p:nvGrpSpPr>
        <p:grpSpPr>
          <a:xfrm>
            <a:off x="60157" y="1407946"/>
            <a:ext cx="9023123" cy="3737331"/>
            <a:chOff x="771525" y="2133681"/>
            <a:chExt cx="16744950" cy="6935672"/>
          </a:xfrm>
        </p:grpSpPr>
        <p:sp>
          <p:nvSpPr>
            <p:cNvPr id="12" name="AutoShape 4">
              <a:extLst>
                <a:ext uri="{FF2B5EF4-FFF2-40B4-BE49-F238E27FC236}">
                  <a16:creationId xmlns:a16="http://schemas.microsoft.com/office/drawing/2014/main" id="{56866B81-2F61-4712-AFD8-1B9ACD8675B6}"/>
                </a:ext>
              </a:extLst>
            </p:cNvPr>
            <p:cNvSpPr/>
            <p:nvPr/>
          </p:nvSpPr>
          <p:spPr>
            <a:xfrm>
              <a:off x="771525" y="2134910"/>
              <a:ext cx="3943350" cy="6934443"/>
            </a:xfrm>
            <a:prstGeom prst="rect">
              <a:avLst/>
            </a:prstGeom>
            <a:solidFill>
              <a:srgbClr val="00727A"/>
            </a:solidFill>
          </p:spPr>
        </p:sp>
        <p:sp>
          <p:nvSpPr>
            <p:cNvPr id="13" name="AutoShape 5">
              <a:extLst>
                <a:ext uri="{FF2B5EF4-FFF2-40B4-BE49-F238E27FC236}">
                  <a16:creationId xmlns:a16="http://schemas.microsoft.com/office/drawing/2014/main" id="{6AEE2037-2B18-4F52-BEC4-370679CB831C}"/>
                </a:ext>
              </a:extLst>
            </p:cNvPr>
            <p:cNvSpPr/>
            <p:nvPr/>
          </p:nvSpPr>
          <p:spPr>
            <a:xfrm>
              <a:off x="771525" y="2133681"/>
              <a:ext cx="3943350" cy="1676400"/>
            </a:xfrm>
            <a:prstGeom prst="rect">
              <a:avLst/>
            </a:prstGeom>
            <a:solidFill>
              <a:srgbClr val="EBFDFF"/>
            </a:solidFill>
          </p:spPr>
        </p:sp>
        <p:sp>
          <p:nvSpPr>
            <p:cNvPr id="14" name="AutoShape 6">
              <a:extLst>
                <a:ext uri="{FF2B5EF4-FFF2-40B4-BE49-F238E27FC236}">
                  <a16:creationId xmlns:a16="http://schemas.microsoft.com/office/drawing/2014/main" id="{04B1550E-D27F-49D6-AE7F-8E312AB04AF3}"/>
                </a:ext>
              </a:extLst>
            </p:cNvPr>
            <p:cNvSpPr/>
            <p:nvPr/>
          </p:nvSpPr>
          <p:spPr>
            <a:xfrm>
              <a:off x="5038725" y="2134910"/>
              <a:ext cx="3943350" cy="6934443"/>
            </a:xfrm>
            <a:prstGeom prst="rect">
              <a:avLst/>
            </a:prstGeom>
            <a:solidFill>
              <a:srgbClr val="00727A"/>
            </a:solidFill>
          </p:spPr>
        </p:sp>
        <p:sp>
          <p:nvSpPr>
            <p:cNvPr id="15" name="AutoShape 7">
              <a:extLst>
                <a:ext uri="{FF2B5EF4-FFF2-40B4-BE49-F238E27FC236}">
                  <a16:creationId xmlns:a16="http://schemas.microsoft.com/office/drawing/2014/main" id="{FFCAA3B6-B339-4873-8349-BCC012C9730B}"/>
                </a:ext>
              </a:extLst>
            </p:cNvPr>
            <p:cNvSpPr/>
            <p:nvPr/>
          </p:nvSpPr>
          <p:spPr>
            <a:xfrm>
              <a:off x="5038725" y="2133681"/>
              <a:ext cx="3943350" cy="1676400"/>
            </a:xfrm>
            <a:prstGeom prst="rect">
              <a:avLst/>
            </a:prstGeom>
            <a:solidFill>
              <a:srgbClr val="EBFDFF"/>
            </a:solidFill>
          </p:spPr>
        </p:sp>
        <p:sp>
          <p:nvSpPr>
            <p:cNvPr id="16" name="AutoShape 8">
              <a:extLst>
                <a:ext uri="{FF2B5EF4-FFF2-40B4-BE49-F238E27FC236}">
                  <a16:creationId xmlns:a16="http://schemas.microsoft.com/office/drawing/2014/main" id="{509B435F-57CB-4108-A582-9820229F1FEF}"/>
                </a:ext>
              </a:extLst>
            </p:cNvPr>
            <p:cNvSpPr/>
            <p:nvPr/>
          </p:nvSpPr>
          <p:spPr>
            <a:xfrm>
              <a:off x="9305925" y="2134910"/>
              <a:ext cx="3943350" cy="6934443"/>
            </a:xfrm>
            <a:prstGeom prst="rect">
              <a:avLst/>
            </a:prstGeom>
            <a:solidFill>
              <a:srgbClr val="00727A"/>
            </a:solidFill>
          </p:spPr>
        </p:sp>
        <p:sp>
          <p:nvSpPr>
            <p:cNvPr id="17" name="AutoShape 9">
              <a:extLst>
                <a:ext uri="{FF2B5EF4-FFF2-40B4-BE49-F238E27FC236}">
                  <a16:creationId xmlns:a16="http://schemas.microsoft.com/office/drawing/2014/main" id="{17B71F4C-FA9D-4C37-84F0-3984C2B556B2}"/>
                </a:ext>
              </a:extLst>
            </p:cNvPr>
            <p:cNvSpPr/>
            <p:nvPr/>
          </p:nvSpPr>
          <p:spPr>
            <a:xfrm>
              <a:off x="9305925" y="2133681"/>
              <a:ext cx="3943350" cy="1676400"/>
            </a:xfrm>
            <a:prstGeom prst="rect">
              <a:avLst/>
            </a:prstGeom>
            <a:solidFill>
              <a:srgbClr val="EBFDFF"/>
            </a:solidFill>
          </p:spPr>
        </p:sp>
        <p:sp>
          <p:nvSpPr>
            <p:cNvPr id="21" name="AutoShape 13">
              <a:extLst>
                <a:ext uri="{FF2B5EF4-FFF2-40B4-BE49-F238E27FC236}">
                  <a16:creationId xmlns:a16="http://schemas.microsoft.com/office/drawing/2014/main" id="{AA5769F6-48BE-42F8-BA10-5131717A7E9E}"/>
                </a:ext>
              </a:extLst>
            </p:cNvPr>
            <p:cNvSpPr/>
            <p:nvPr/>
          </p:nvSpPr>
          <p:spPr>
            <a:xfrm>
              <a:off x="13573125" y="2134910"/>
              <a:ext cx="3943350" cy="6934443"/>
            </a:xfrm>
            <a:prstGeom prst="rect">
              <a:avLst/>
            </a:prstGeom>
            <a:solidFill>
              <a:srgbClr val="00727A"/>
            </a:solidFill>
          </p:spPr>
        </p:sp>
        <p:sp>
          <p:nvSpPr>
            <p:cNvPr id="22" name="AutoShape 14">
              <a:extLst>
                <a:ext uri="{FF2B5EF4-FFF2-40B4-BE49-F238E27FC236}">
                  <a16:creationId xmlns:a16="http://schemas.microsoft.com/office/drawing/2014/main" id="{E5457803-9394-4A01-B57C-ED684520A859}"/>
                </a:ext>
              </a:extLst>
            </p:cNvPr>
            <p:cNvSpPr/>
            <p:nvPr/>
          </p:nvSpPr>
          <p:spPr>
            <a:xfrm>
              <a:off x="13573125" y="2133681"/>
              <a:ext cx="3943350" cy="1676400"/>
            </a:xfrm>
            <a:prstGeom prst="rect">
              <a:avLst/>
            </a:prstGeom>
            <a:solidFill>
              <a:srgbClr val="EBFDFF"/>
            </a:solidFill>
          </p:spPr>
        </p:sp>
      </p:grpSp>
      <p:pic>
        <p:nvPicPr>
          <p:cNvPr id="26" name="Picture 6">
            <a:extLst>
              <a:ext uri="{FF2B5EF4-FFF2-40B4-BE49-F238E27FC236}">
                <a16:creationId xmlns:a16="http://schemas.microsoft.com/office/drawing/2014/main" id="{D34B8946-D3CD-44B1-B529-4F478EE06D09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>
            <a:fillRect/>
          </a:stretch>
        </p:blipFill>
        <p:spPr>
          <a:xfrm>
            <a:off x="8332356" y="4192962"/>
            <a:ext cx="1474322" cy="1420711"/>
          </a:xfrm>
          <a:prstGeom prst="rect">
            <a:avLst/>
          </a:prstGeom>
        </p:spPr>
      </p:pic>
      <p:sp>
        <p:nvSpPr>
          <p:cNvPr id="27" name="Titre 24">
            <a:extLst>
              <a:ext uri="{FF2B5EF4-FFF2-40B4-BE49-F238E27FC236}">
                <a16:creationId xmlns:a16="http://schemas.microsoft.com/office/drawing/2014/main" id="{49D5CE96-CFEB-49BF-A1E5-11C5220A7C1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69693" y="200849"/>
            <a:ext cx="6888872" cy="539891"/>
          </a:xfrm>
        </p:spPr>
        <p:txBody>
          <a:bodyPr>
            <a:normAutofit/>
          </a:bodyPr>
          <a:lstStyle>
            <a:lvl1pPr>
              <a:defRPr sz="2100"/>
            </a:lvl1pPr>
          </a:lstStyle>
          <a:p>
            <a:r>
              <a:rPr lang="fr-FR" sz="2400">
                <a:solidFill>
                  <a:srgbClr val="F57A30"/>
                </a:solidFill>
                <a:latin typeface="Source Sans Pro Black" panose="020B0803030403020204" pitchFamily="34" charset="0"/>
              </a:rPr>
              <a:t>Titre</a:t>
            </a:r>
          </a:p>
        </p:txBody>
      </p:sp>
      <p:sp>
        <p:nvSpPr>
          <p:cNvPr id="47" name="Espace réservé du contenu 25" descr="Zone de texte&#10;">
            <a:extLst>
              <a:ext uri="{FF2B5EF4-FFF2-40B4-BE49-F238E27FC236}">
                <a16:creationId xmlns:a16="http://schemas.microsoft.com/office/drawing/2014/main" id="{094041C9-4E1F-4B56-A704-95F6ECDB4720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0157" y="1415774"/>
            <a:ext cx="2124900" cy="895511"/>
          </a:xfrm>
        </p:spPr>
        <p:txBody>
          <a:bodyPr anchor="ctr">
            <a:noAutofit/>
          </a:bodyPr>
          <a:lstStyle>
            <a:lvl1pPr marL="0" indent="0" algn="l">
              <a:buNone/>
              <a:defRPr lang="fr-FR" sz="1800" kern="1200" spc="203" dirty="0">
                <a:solidFill>
                  <a:srgbClr val="05445E"/>
                </a:solidFill>
                <a:latin typeface="Raleway"/>
                <a:ea typeface="+mn-ea"/>
                <a:cs typeface="+mn-cs"/>
              </a:defRPr>
            </a:lvl1pPr>
            <a:lvl2pPr>
              <a:defRPr sz="1500">
                <a:solidFill>
                  <a:schemeClr val="bg1"/>
                </a:solidFill>
                <a:latin typeface="Source Sans Pro" panose="020B0503030403020204" pitchFamily="34" charset="0"/>
              </a:defRPr>
            </a:lvl2pPr>
            <a:lvl3pPr>
              <a:defRPr sz="1350">
                <a:solidFill>
                  <a:schemeClr val="bg1"/>
                </a:solidFill>
                <a:latin typeface="Source Sans Pro" panose="020B0503030403020204" pitchFamily="34" charset="0"/>
              </a:defRPr>
            </a:lvl3pPr>
            <a:lvl4pPr>
              <a:defRPr sz="1200">
                <a:solidFill>
                  <a:schemeClr val="bg1"/>
                </a:solidFill>
                <a:latin typeface="Source Sans Pro" panose="020B0503030403020204" pitchFamily="34" charset="0"/>
              </a:defRPr>
            </a:lvl4pPr>
            <a:lvl5pPr>
              <a:defRPr sz="1200">
                <a:solidFill>
                  <a:schemeClr val="bg1"/>
                </a:solidFill>
                <a:latin typeface="Source Sans Pro" panose="020B0503030403020204" pitchFamily="34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8" name="Espace réservé du contenu 25" descr="Zone de texte&#10;">
            <a:extLst>
              <a:ext uri="{FF2B5EF4-FFF2-40B4-BE49-F238E27FC236}">
                <a16:creationId xmlns:a16="http://schemas.microsoft.com/office/drawing/2014/main" id="{416CA882-C003-471D-BE19-8A6BCB3C657C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2363006" y="1426461"/>
            <a:ext cx="2124900" cy="895511"/>
          </a:xfrm>
        </p:spPr>
        <p:txBody>
          <a:bodyPr anchor="ctr">
            <a:noAutofit/>
          </a:bodyPr>
          <a:lstStyle>
            <a:lvl1pPr marL="0" indent="0" algn="l">
              <a:buNone/>
              <a:defRPr lang="fr-FR" sz="1800" kern="1200" spc="203" dirty="0">
                <a:solidFill>
                  <a:srgbClr val="05445E"/>
                </a:solidFill>
                <a:latin typeface="Raleway"/>
                <a:ea typeface="+mn-ea"/>
                <a:cs typeface="+mn-cs"/>
              </a:defRPr>
            </a:lvl1pPr>
            <a:lvl2pPr>
              <a:defRPr sz="1500">
                <a:solidFill>
                  <a:schemeClr val="bg1"/>
                </a:solidFill>
                <a:latin typeface="Source Sans Pro" panose="020B0503030403020204" pitchFamily="34" charset="0"/>
              </a:defRPr>
            </a:lvl2pPr>
            <a:lvl3pPr>
              <a:defRPr sz="1350">
                <a:solidFill>
                  <a:schemeClr val="bg1"/>
                </a:solidFill>
                <a:latin typeface="Source Sans Pro" panose="020B0503030403020204" pitchFamily="34" charset="0"/>
              </a:defRPr>
            </a:lvl3pPr>
            <a:lvl4pPr>
              <a:defRPr sz="1200">
                <a:solidFill>
                  <a:schemeClr val="bg1"/>
                </a:solidFill>
                <a:latin typeface="Source Sans Pro" panose="020B0503030403020204" pitchFamily="34" charset="0"/>
              </a:defRPr>
            </a:lvl4pPr>
            <a:lvl5pPr>
              <a:defRPr sz="1200">
                <a:solidFill>
                  <a:schemeClr val="bg1"/>
                </a:solidFill>
                <a:latin typeface="Source Sans Pro" panose="020B0503030403020204" pitchFamily="34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9" name="Espace réservé du contenu 25" descr="Zone de texte&#10;">
            <a:extLst>
              <a:ext uri="{FF2B5EF4-FFF2-40B4-BE49-F238E27FC236}">
                <a16:creationId xmlns:a16="http://schemas.microsoft.com/office/drawing/2014/main" id="{DA08DE35-84F8-4305-A892-7105D4912FDD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4662413" y="1426461"/>
            <a:ext cx="2124900" cy="895511"/>
          </a:xfrm>
        </p:spPr>
        <p:txBody>
          <a:bodyPr anchor="ctr">
            <a:noAutofit/>
          </a:bodyPr>
          <a:lstStyle>
            <a:lvl1pPr marL="0" indent="0" algn="l">
              <a:buNone/>
              <a:defRPr lang="fr-FR" sz="1800" kern="1200" spc="203" dirty="0">
                <a:solidFill>
                  <a:srgbClr val="05445E"/>
                </a:solidFill>
                <a:latin typeface="Raleway"/>
                <a:ea typeface="+mn-ea"/>
                <a:cs typeface="+mn-cs"/>
              </a:defRPr>
            </a:lvl1pPr>
            <a:lvl2pPr>
              <a:defRPr sz="1500">
                <a:solidFill>
                  <a:schemeClr val="bg1"/>
                </a:solidFill>
                <a:latin typeface="Source Sans Pro" panose="020B0503030403020204" pitchFamily="34" charset="0"/>
              </a:defRPr>
            </a:lvl2pPr>
            <a:lvl3pPr>
              <a:defRPr sz="1350">
                <a:solidFill>
                  <a:schemeClr val="bg1"/>
                </a:solidFill>
                <a:latin typeface="Source Sans Pro" panose="020B0503030403020204" pitchFamily="34" charset="0"/>
              </a:defRPr>
            </a:lvl3pPr>
            <a:lvl4pPr>
              <a:defRPr sz="1200">
                <a:solidFill>
                  <a:schemeClr val="bg1"/>
                </a:solidFill>
                <a:latin typeface="Source Sans Pro" panose="020B0503030403020204" pitchFamily="34" charset="0"/>
              </a:defRPr>
            </a:lvl4pPr>
            <a:lvl5pPr>
              <a:defRPr sz="1200">
                <a:solidFill>
                  <a:schemeClr val="bg1"/>
                </a:solidFill>
                <a:latin typeface="Source Sans Pro" panose="020B0503030403020204" pitchFamily="34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0" name="Espace réservé du contenu 25" descr="Zone de texte&#10;">
            <a:extLst>
              <a:ext uri="{FF2B5EF4-FFF2-40B4-BE49-F238E27FC236}">
                <a16:creationId xmlns:a16="http://schemas.microsoft.com/office/drawing/2014/main" id="{1AEF126A-10EA-46E6-9542-B6CB44EDA154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6948057" y="1419691"/>
            <a:ext cx="2124900" cy="895511"/>
          </a:xfrm>
        </p:spPr>
        <p:txBody>
          <a:bodyPr anchor="ctr">
            <a:noAutofit/>
          </a:bodyPr>
          <a:lstStyle>
            <a:lvl1pPr marL="0" indent="0" algn="l">
              <a:buNone/>
              <a:defRPr lang="fr-FR" sz="1800" kern="1200" spc="203" dirty="0">
                <a:solidFill>
                  <a:srgbClr val="05445E"/>
                </a:solidFill>
                <a:latin typeface="Raleway"/>
                <a:ea typeface="+mn-ea"/>
                <a:cs typeface="+mn-cs"/>
              </a:defRPr>
            </a:lvl1pPr>
            <a:lvl2pPr>
              <a:defRPr sz="1500">
                <a:solidFill>
                  <a:schemeClr val="bg1"/>
                </a:solidFill>
                <a:latin typeface="Source Sans Pro" panose="020B0503030403020204" pitchFamily="34" charset="0"/>
              </a:defRPr>
            </a:lvl2pPr>
            <a:lvl3pPr>
              <a:defRPr sz="1350">
                <a:solidFill>
                  <a:schemeClr val="bg1"/>
                </a:solidFill>
                <a:latin typeface="Source Sans Pro" panose="020B0503030403020204" pitchFamily="34" charset="0"/>
              </a:defRPr>
            </a:lvl3pPr>
            <a:lvl4pPr>
              <a:defRPr sz="1200">
                <a:solidFill>
                  <a:schemeClr val="bg1"/>
                </a:solidFill>
                <a:latin typeface="Source Sans Pro" panose="020B0503030403020204" pitchFamily="34" charset="0"/>
              </a:defRPr>
            </a:lvl4pPr>
            <a:lvl5pPr>
              <a:defRPr sz="1200">
                <a:solidFill>
                  <a:schemeClr val="bg1"/>
                </a:solidFill>
                <a:latin typeface="Source Sans Pro" panose="020B0503030403020204" pitchFamily="34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1" name="Espace réservé du contenu 25" descr="Zone de texte&#10;">
            <a:extLst>
              <a:ext uri="{FF2B5EF4-FFF2-40B4-BE49-F238E27FC236}">
                <a16:creationId xmlns:a16="http://schemas.microsoft.com/office/drawing/2014/main" id="{B7786689-4540-4316-A5FF-C79D2933E6B4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60157" y="2318451"/>
            <a:ext cx="2124900" cy="2825049"/>
          </a:xfrm>
        </p:spPr>
        <p:txBody>
          <a:bodyPr anchor="ctr">
            <a:noAutofit/>
          </a:bodyPr>
          <a:lstStyle>
            <a:lvl1pPr marL="0" indent="0" algn="l">
              <a:buNone/>
              <a:defRPr lang="fr-FR" sz="1800" kern="1200" spc="203" dirty="0">
                <a:solidFill>
                  <a:srgbClr val="E6E6E6"/>
                </a:solidFill>
                <a:latin typeface="Raleway"/>
                <a:ea typeface="+mn-ea"/>
                <a:cs typeface="+mn-cs"/>
              </a:defRPr>
            </a:lvl1pPr>
            <a:lvl2pPr>
              <a:defRPr sz="1500">
                <a:solidFill>
                  <a:schemeClr val="bg1"/>
                </a:solidFill>
                <a:latin typeface="Source Sans Pro" panose="020B0503030403020204" pitchFamily="34" charset="0"/>
              </a:defRPr>
            </a:lvl2pPr>
            <a:lvl3pPr>
              <a:defRPr sz="1350">
                <a:solidFill>
                  <a:schemeClr val="bg1"/>
                </a:solidFill>
                <a:latin typeface="Source Sans Pro" panose="020B0503030403020204" pitchFamily="34" charset="0"/>
              </a:defRPr>
            </a:lvl3pPr>
            <a:lvl4pPr>
              <a:defRPr sz="1200">
                <a:solidFill>
                  <a:schemeClr val="bg1"/>
                </a:solidFill>
                <a:latin typeface="Source Sans Pro" panose="020B0503030403020204" pitchFamily="34" charset="0"/>
              </a:defRPr>
            </a:lvl4pPr>
            <a:lvl5pPr>
              <a:defRPr sz="1200">
                <a:solidFill>
                  <a:schemeClr val="bg1"/>
                </a:solidFill>
                <a:latin typeface="Source Sans Pro" panose="020B0503030403020204" pitchFamily="34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2" name="Espace réservé du contenu 25" descr="Zone de texte&#10;">
            <a:extLst>
              <a:ext uri="{FF2B5EF4-FFF2-40B4-BE49-F238E27FC236}">
                <a16:creationId xmlns:a16="http://schemas.microsoft.com/office/drawing/2014/main" id="{6488DD74-E033-430B-864A-89CB07C73AB3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2363006" y="2318451"/>
            <a:ext cx="2124900" cy="2825049"/>
          </a:xfrm>
        </p:spPr>
        <p:txBody>
          <a:bodyPr anchor="ctr">
            <a:noAutofit/>
          </a:bodyPr>
          <a:lstStyle>
            <a:lvl1pPr marL="0" indent="0" algn="l">
              <a:buNone/>
              <a:defRPr lang="fr-FR" sz="1800" kern="1200" spc="203" dirty="0">
                <a:solidFill>
                  <a:srgbClr val="E6E6E6"/>
                </a:solidFill>
                <a:latin typeface="Raleway"/>
                <a:ea typeface="+mn-ea"/>
                <a:cs typeface="+mn-cs"/>
              </a:defRPr>
            </a:lvl1pPr>
            <a:lvl2pPr>
              <a:defRPr sz="1500">
                <a:solidFill>
                  <a:schemeClr val="bg1"/>
                </a:solidFill>
                <a:latin typeface="Source Sans Pro" panose="020B0503030403020204" pitchFamily="34" charset="0"/>
              </a:defRPr>
            </a:lvl2pPr>
            <a:lvl3pPr>
              <a:defRPr sz="1350">
                <a:solidFill>
                  <a:schemeClr val="bg1"/>
                </a:solidFill>
                <a:latin typeface="Source Sans Pro" panose="020B0503030403020204" pitchFamily="34" charset="0"/>
              </a:defRPr>
            </a:lvl3pPr>
            <a:lvl4pPr>
              <a:defRPr sz="1200">
                <a:solidFill>
                  <a:schemeClr val="bg1"/>
                </a:solidFill>
                <a:latin typeface="Source Sans Pro" panose="020B0503030403020204" pitchFamily="34" charset="0"/>
              </a:defRPr>
            </a:lvl4pPr>
            <a:lvl5pPr>
              <a:defRPr sz="1200">
                <a:solidFill>
                  <a:schemeClr val="bg1"/>
                </a:solidFill>
                <a:latin typeface="Source Sans Pro" panose="020B0503030403020204" pitchFamily="34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3" name="Espace réservé du contenu 25" descr="Zone de texte&#10;">
            <a:extLst>
              <a:ext uri="{FF2B5EF4-FFF2-40B4-BE49-F238E27FC236}">
                <a16:creationId xmlns:a16="http://schemas.microsoft.com/office/drawing/2014/main" id="{DF017F14-60DE-4872-B54C-A0FDEC59729F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4662413" y="2310413"/>
            <a:ext cx="2124900" cy="2825049"/>
          </a:xfrm>
        </p:spPr>
        <p:txBody>
          <a:bodyPr anchor="ctr">
            <a:noAutofit/>
          </a:bodyPr>
          <a:lstStyle>
            <a:lvl1pPr marL="0" indent="0" algn="l">
              <a:buNone/>
              <a:defRPr lang="fr-FR" sz="1800" kern="1200" spc="203" dirty="0">
                <a:solidFill>
                  <a:srgbClr val="E6E6E6"/>
                </a:solidFill>
                <a:latin typeface="Raleway"/>
                <a:ea typeface="+mn-ea"/>
                <a:cs typeface="+mn-cs"/>
              </a:defRPr>
            </a:lvl1pPr>
            <a:lvl2pPr>
              <a:defRPr sz="1500">
                <a:solidFill>
                  <a:schemeClr val="bg1"/>
                </a:solidFill>
                <a:latin typeface="Source Sans Pro" panose="020B0503030403020204" pitchFamily="34" charset="0"/>
              </a:defRPr>
            </a:lvl2pPr>
            <a:lvl3pPr>
              <a:defRPr sz="1350">
                <a:solidFill>
                  <a:schemeClr val="bg1"/>
                </a:solidFill>
                <a:latin typeface="Source Sans Pro" panose="020B0503030403020204" pitchFamily="34" charset="0"/>
              </a:defRPr>
            </a:lvl3pPr>
            <a:lvl4pPr>
              <a:defRPr sz="1200">
                <a:solidFill>
                  <a:schemeClr val="bg1"/>
                </a:solidFill>
                <a:latin typeface="Source Sans Pro" panose="020B0503030403020204" pitchFamily="34" charset="0"/>
              </a:defRPr>
            </a:lvl4pPr>
            <a:lvl5pPr>
              <a:defRPr sz="1200">
                <a:solidFill>
                  <a:schemeClr val="bg1"/>
                </a:solidFill>
                <a:latin typeface="Source Sans Pro" panose="020B0503030403020204" pitchFamily="34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4" name="Espace réservé du contenu 25" descr="Zone de texte&#10;">
            <a:extLst>
              <a:ext uri="{FF2B5EF4-FFF2-40B4-BE49-F238E27FC236}">
                <a16:creationId xmlns:a16="http://schemas.microsoft.com/office/drawing/2014/main" id="{731F73BE-E999-497E-AA9F-7360C60B0EE1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6948057" y="2310413"/>
            <a:ext cx="2124900" cy="2825049"/>
          </a:xfrm>
        </p:spPr>
        <p:txBody>
          <a:bodyPr anchor="ctr">
            <a:noAutofit/>
          </a:bodyPr>
          <a:lstStyle>
            <a:lvl1pPr marL="0" indent="0" algn="l">
              <a:buNone/>
              <a:defRPr lang="fr-FR" sz="1800" kern="1200" spc="203" dirty="0">
                <a:solidFill>
                  <a:srgbClr val="E6E6E6"/>
                </a:solidFill>
                <a:latin typeface="Raleway"/>
                <a:ea typeface="+mn-ea"/>
                <a:cs typeface="+mn-cs"/>
              </a:defRPr>
            </a:lvl1pPr>
            <a:lvl2pPr>
              <a:defRPr sz="1500">
                <a:solidFill>
                  <a:schemeClr val="bg1"/>
                </a:solidFill>
                <a:latin typeface="Source Sans Pro" panose="020B0503030403020204" pitchFamily="34" charset="0"/>
              </a:defRPr>
            </a:lvl2pPr>
            <a:lvl3pPr>
              <a:defRPr sz="1350">
                <a:solidFill>
                  <a:schemeClr val="bg1"/>
                </a:solidFill>
                <a:latin typeface="Source Sans Pro" panose="020B0503030403020204" pitchFamily="34" charset="0"/>
              </a:defRPr>
            </a:lvl3pPr>
            <a:lvl4pPr>
              <a:defRPr sz="1200">
                <a:solidFill>
                  <a:schemeClr val="bg1"/>
                </a:solidFill>
                <a:latin typeface="Source Sans Pro" panose="020B0503030403020204" pitchFamily="34" charset="0"/>
              </a:defRPr>
            </a:lvl4pPr>
            <a:lvl5pPr>
              <a:defRPr sz="1200">
                <a:solidFill>
                  <a:schemeClr val="bg1"/>
                </a:solidFill>
                <a:latin typeface="Source Sans Pro" panose="020B0503030403020204" pitchFamily="34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2657456027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 5">
            <a:extLst>
              <a:ext uri="{FF2B5EF4-FFF2-40B4-BE49-F238E27FC236}">
                <a16:creationId xmlns:a16="http://schemas.microsoft.com/office/drawing/2014/main" id="{2EC8188C-B61B-49C5-BED9-2E828761428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37571" y="4724401"/>
            <a:ext cx="331946" cy="331946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F4D6E1F2-40EF-447E-BC00-5C46ABE43E68}"/>
              </a:ext>
            </a:extLst>
          </p:cNvPr>
          <p:cNvSpPr/>
          <p:nvPr userDrawn="1"/>
        </p:nvSpPr>
        <p:spPr>
          <a:xfrm>
            <a:off x="-457200" y="-397042"/>
            <a:ext cx="9601200" cy="5540542"/>
          </a:xfrm>
          <a:prstGeom prst="rect">
            <a:avLst/>
          </a:prstGeom>
          <a:solidFill>
            <a:srgbClr val="00727A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200"/>
          </a:p>
        </p:txBody>
      </p:sp>
      <p:sp>
        <p:nvSpPr>
          <p:cNvPr id="8" name="AutoShape 2">
            <a:extLst>
              <a:ext uri="{FF2B5EF4-FFF2-40B4-BE49-F238E27FC236}">
                <a16:creationId xmlns:a16="http://schemas.microsoft.com/office/drawing/2014/main" id="{490BE0AD-F689-452F-88B3-A79ECC122B54}"/>
              </a:ext>
            </a:extLst>
          </p:cNvPr>
          <p:cNvSpPr/>
          <p:nvPr userDrawn="1"/>
        </p:nvSpPr>
        <p:spPr>
          <a:xfrm>
            <a:off x="1780344" y="1495119"/>
            <a:ext cx="5728914" cy="2776091"/>
          </a:xfrm>
          <a:prstGeom prst="rect">
            <a:avLst/>
          </a:prstGeom>
          <a:solidFill>
            <a:srgbClr val="F8F6F6">
              <a:alpha val="49803"/>
            </a:srgbClr>
          </a:solidFill>
        </p:spPr>
      </p:sp>
      <p:sp>
        <p:nvSpPr>
          <p:cNvPr id="9" name="AutoShape 3">
            <a:extLst>
              <a:ext uri="{FF2B5EF4-FFF2-40B4-BE49-F238E27FC236}">
                <a16:creationId xmlns:a16="http://schemas.microsoft.com/office/drawing/2014/main" id="{F0CA665B-9B53-4FDD-A3DC-7224DF1A5F2E}"/>
              </a:ext>
            </a:extLst>
          </p:cNvPr>
          <p:cNvSpPr/>
          <p:nvPr userDrawn="1"/>
        </p:nvSpPr>
        <p:spPr>
          <a:xfrm>
            <a:off x="1634742" y="1282965"/>
            <a:ext cx="5728914" cy="2776091"/>
          </a:xfrm>
          <a:prstGeom prst="rect">
            <a:avLst/>
          </a:prstGeom>
          <a:solidFill>
            <a:srgbClr val="D6ECE9"/>
          </a:solidFill>
        </p:spPr>
      </p:sp>
      <p:pic>
        <p:nvPicPr>
          <p:cNvPr id="11" name="Picture 3">
            <a:extLst>
              <a:ext uri="{FF2B5EF4-FFF2-40B4-BE49-F238E27FC236}">
                <a16:creationId xmlns:a16="http://schemas.microsoft.com/office/drawing/2014/main" id="{79D357F1-76D5-4899-AAFB-4B558F069C2D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>
            <a:fillRect/>
          </a:stretch>
        </p:blipFill>
        <p:spPr>
          <a:xfrm>
            <a:off x="6854378" y="2609549"/>
            <a:ext cx="3054517" cy="2899014"/>
          </a:xfrm>
          <a:prstGeom prst="rect">
            <a:avLst/>
          </a:prstGeom>
        </p:spPr>
      </p:pic>
      <p:sp>
        <p:nvSpPr>
          <p:cNvPr id="12" name="Titre 11">
            <a:extLst>
              <a:ext uri="{FF2B5EF4-FFF2-40B4-BE49-F238E27FC236}">
                <a16:creationId xmlns:a16="http://schemas.microsoft.com/office/drawing/2014/main" id="{508F6941-5080-4C88-B43A-7F51E7E0E6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035295" y="2958299"/>
            <a:ext cx="5073410" cy="994172"/>
          </a:xfrm>
        </p:spPr>
        <p:txBody>
          <a:bodyPr/>
          <a:lstStyle>
            <a:lvl1pPr algn="ctr">
              <a:defRPr>
                <a:solidFill>
                  <a:srgbClr val="F57A30"/>
                </a:solidFill>
                <a:latin typeface="Source Sans Pro" panose="020B0503030403020204" pitchFamily="34" charset="0"/>
              </a:defRPr>
            </a:lvl1pPr>
          </a:lstStyle>
          <a:p>
            <a:r>
              <a:rPr lang="fr-FR"/>
              <a:t>TITRE</a:t>
            </a:r>
          </a:p>
        </p:txBody>
      </p:sp>
      <p:sp>
        <p:nvSpPr>
          <p:cNvPr id="13" name="Espace réservé du texte 12">
            <a:extLst>
              <a:ext uri="{FF2B5EF4-FFF2-40B4-BE49-F238E27FC236}">
                <a16:creationId xmlns:a16="http://schemas.microsoft.com/office/drawing/2014/main" id="{430DC536-4C49-44AD-8A73-E163F28C0A2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636941" y="1979247"/>
            <a:ext cx="3870118" cy="964280"/>
          </a:xfrm>
        </p:spPr>
        <p:txBody>
          <a:bodyPr>
            <a:noAutofit/>
          </a:bodyPr>
          <a:lstStyle>
            <a:lvl1pPr marL="0" indent="0" algn="ctr" defTabSz="685800" rtl="0" eaLnBrk="1" latinLnBrk="0" hangingPunct="1">
              <a:lnSpc>
                <a:spcPts val="6240"/>
              </a:lnSpc>
              <a:buNone/>
              <a:defRPr lang="fr-FR" sz="12450" kern="1200" spc="52" dirty="0" smtClean="0">
                <a:solidFill>
                  <a:srgbClr val="F57A30"/>
                </a:solidFill>
                <a:latin typeface="Source Sans Pro" panose="020B0503030403020204" pitchFamily="34" charset="0"/>
                <a:ea typeface="+mn-ea"/>
                <a:cs typeface="+mn-cs"/>
              </a:defRPr>
            </a:lvl1pPr>
            <a:lvl2pPr marL="0" algn="ctr" defTabSz="685800" rtl="0" eaLnBrk="1" latinLnBrk="0" hangingPunct="1">
              <a:lnSpc>
                <a:spcPts val="6240"/>
              </a:lnSpc>
              <a:defRPr lang="fr-FR" sz="12450" kern="1200" spc="52" dirty="0" smtClean="0">
                <a:solidFill>
                  <a:srgbClr val="F57A30"/>
                </a:solidFill>
                <a:latin typeface="Source Sans Pro" panose="020B0503030403020204" pitchFamily="34" charset="0"/>
                <a:ea typeface="+mn-ea"/>
                <a:cs typeface="+mn-cs"/>
              </a:defRPr>
            </a:lvl2pPr>
            <a:lvl3pPr marL="0" algn="ctr" defTabSz="685800" rtl="0" eaLnBrk="1" latinLnBrk="0" hangingPunct="1">
              <a:lnSpc>
                <a:spcPts val="6240"/>
              </a:lnSpc>
              <a:defRPr lang="fr-FR" sz="12450" kern="1200" spc="52" dirty="0" smtClean="0">
                <a:solidFill>
                  <a:srgbClr val="F57A30"/>
                </a:solidFill>
                <a:latin typeface="Source Sans Pro" panose="020B0503030403020204" pitchFamily="34" charset="0"/>
                <a:ea typeface="+mn-ea"/>
                <a:cs typeface="+mn-cs"/>
              </a:defRPr>
            </a:lvl3pPr>
            <a:lvl4pPr marL="0" algn="ctr" defTabSz="685800" rtl="0" eaLnBrk="1" latinLnBrk="0" hangingPunct="1">
              <a:lnSpc>
                <a:spcPts val="6240"/>
              </a:lnSpc>
              <a:defRPr lang="fr-FR" sz="12450" kern="1200" spc="52" dirty="0" smtClean="0">
                <a:solidFill>
                  <a:srgbClr val="F57A30"/>
                </a:solidFill>
                <a:latin typeface="Source Sans Pro" panose="020B0503030403020204" pitchFamily="34" charset="0"/>
                <a:ea typeface="+mn-ea"/>
                <a:cs typeface="+mn-cs"/>
              </a:defRPr>
            </a:lvl4pPr>
            <a:lvl5pPr marL="0" algn="ctr" defTabSz="685800" rtl="0" eaLnBrk="1" latinLnBrk="0" hangingPunct="1">
              <a:lnSpc>
                <a:spcPts val="6240"/>
              </a:lnSpc>
              <a:defRPr lang="fr-FR" sz="12450" kern="1200" spc="52" dirty="0">
                <a:solidFill>
                  <a:srgbClr val="F57A30"/>
                </a:solidFill>
                <a:latin typeface="Source Sans Pro" panose="020B0503030403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N°</a:t>
            </a:r>
          </a:p>
        </p:txBody>
      </p:sp>
    </p:spTree>
    <p:extLst>
      <p:ext uri="{BB962C8B-B14F-4D97-AF65-F5344CB8AC3E}">
        <p14:creationId xmlns:p14="http://schemas.microsoft.com/office/powerpoint/2010/main" val="1278556392"/>
      </p:ext>
    </p:extLst>
  </p:cSld>
  <p:clrMapOvr>
    <a:masterClrMapping/>
  </p:clrMapOvr>
</p:sldLayout>
</file>

<file path=ppt/slideLayouts/slideLayout5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 5">
            <a:extLst>
              <a:ext uri="{FF2B5EF4-FFF2-40B4-BE49-F238E27FC236}">
                <a16:creationId xmlns:a16="http://schemas.microsoft.com/office/drawing/2014/main" id="{2EC8188C-B61B-49C5-BED9-2E828761428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37571" y="4724401"/>
            <a:ext cx="331946" cy="331946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F4D6E1F2-40EF-447E-BC00-5C46ABE43E68}"/>
              </a:ext>
            </a:extLst>
          </p:cNvPr>
          <p:cNvSpPr/>
          <p:nvPr userDrawn="1"/>
        </p:nvSpPr>
        <p:spPr>
          <a:xfrm>
            <a:off x="-457200" y="-397042"/>
            <a:ext cx="9601200" cy="5540542"/>
          </a:xfrm>
          <a:prstGeom prst="rect">
            <a:avLst/>
          </a:prstGeom>
          <a:solidFill>
            <a:srgbClr val="00727A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200"/>
          </a:p>
        </p:txBody>
      </p:sp>
      <p:sp>
        <p:nvSpPr>
          <p:cNvPr id="8" name="AutoShape 2">
            <a:extLst>
              <a:ext uri="{FF2B5EF4-FFF2-40B4-BE49-F238E27FC236}">
                <a16:creationId xmlns:a16="http://schemas.microsoft.com/office/drawing/2014/main" id="{490BE0AD-F689-452F-88B3-A79ECC122B54}"/>
              </a:ext>
            </a:extLst>
          </p:cNvPr>
          <p:cNvSpPr/>
          <p:nvPr userDrawn="1"/>
        </p:nvSpPr>
        <p:spPr>
          <a:xfrm>
            <a:off x="1780344" y="1495119"/>
            <a:ext cx="5728914" cy="2776091"/>
          </a:xfrm>
          <a:prstGeom prst="rect">
            <a:avLst/>
          </a:prstGeom>
          <a:solidFill>
            <a:srgbClr val="F8F6F6">
              <a:alpha val="49803"/>
            </a:srgbClr>
          </a:solidFill>
        </p:spPr>
      </p:sp>
      <p:sp>
        <p:nvSpPr>
          <p:cNvPr id="9" name="AutoShape 3">
            <a:extLst>
              <a:ext uri="{FF2B5EF4-FFF2-40B4-BE49-F238E27FC236}">
                <a16:creationId xmlns:a16="http://schemas.microsoft.com/office/drawing/2014/main" id="{F0CA665B-9B53-4FDD-A3DC-7224DF1A5F2E}"/>
              </a:ext>
            </a:extLst>
          </p:cNvPr>
          <p:cNvSpPr/>
          <p:nvPr userDrawn="1"/>
        </p:nvSpPr>
        <p:spPr>
          <a:xfrm>
            <a:off x="1634742" y="1282965"/>
            <a:ext cx="5728914" cy="2776091"/>
          </a:xfrm>
          <a:prstGeom prst="rect">
            <a:avLst/>
          </a:prstGeom>
          <a:solidFill>
            <a:srgbClr val="D6ECE9"/>
          </a:solidFill>
        </p:spPr>
      </p:sp>
      <p:pic>
        <p:nvPicPr>
          <p:cNvPr id="11" name="Picture 3">
            <a:extLst>
              <a:ext uri="{FF2B5EF4-FFF2-40B4-BE49-F238E27FC236}">
                <a16:creationId xmlns:a16="http://schemas.microsoft.com/office/drawing/2014/main" id="{79D357F1-76D5-4899-AAFB-4B558F069C2D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>
            <a:fillRect/>
          </a:stretch>
        </p:blipFill>
        <p:spPr>
          <a:xfrm>
            <a:off x="6854378" y="2609549"/>
            <a:ext cx="3054517" cy="2899014"/>
          </a:xfrm>
          <a:prstGeom prst="rect">
            <a:avLst/>
          </a:prstGeom>
        </p:spPr>
      </p:pic>
      <p:sp>
        <p:nvSpPr>
          <p:cNvPr id="12" name="Titre 11">
            <a:extLst>
              <a:ext uri="{FF2B5EF4-FFF2-40B4-BE49-F238E27FC236}">
                <a16:creationId xmlns:a16="http://schemas.microsoft.com/office/drawing/2014/main" id="{508F6941-5080-4C88-B43A-7F51E7E0E6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035295" y="2958299"/>
            <a:ext cx="5073410" cy="994172"/>
          </a:xfrm>
        </p:spPr>
        <p:txBody>
          <a:bodyPr/>
          <a:lstStyle>
            <a:lvl1pPr algn="ctr">
              <a:defRPr>
                <a:solidFill>
                  <a:srgbClr val="F57A30"/>
                </a:solidFill>
                <a:latin typeface="Source Sans Pro" panose="020B0503030403020204" pitchFamily="34" charset="0"/>
              </a:defRPr>
            </a:lvl1pPr>
          </a:lstStyle>
          <a:p>
            <a:r>
              <a:rPr lang="fr-FR"/>
              <a:t>TITRE</a:t>
            </a:r>
          </a:p>
        </p:txBody>
      </p:sp>
      <p:sp>
        <p:nvSpPr>
          <p:cNvPr id="13" name="Espace réservé du texte 12">
            <a:extLst>
              <a:ext uri="{FF2B5EF4-FFF2-40B4-BE49-F238E27FC236}">
                <a16:creationId xmlns:a16="http://schemas.microsoft.com/office/drawing/2014/main" id="{430DC536-4C49-44AD-8A73-E163F28C0A2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636941" y="1979247"/>
            <a:ext cx="3870118" cy="964280"/>
          </a:xfrm>
        </p:spPr>
        <p:txBody>
          <a:bodyPr>
            <a:noAutofit/>
          </a:bodyPr>
          <a:lstStyle>
            <a:lvl1pPr marL="0" indent="0" algn="ctr" defTabSz="685800" rtl="0" eaLnBrk="1" latinLnBrk="0" hangingPunct="1">
              <a:lnSpc>
                <a:spcPts val="6240"/>
              </a:lnSpc>
              <a:buNone/>
              <a:defRPr lang="fr-FR" sz="12450" kern="1200" spc="52" dirty="0" smtClean="0">
                <a:solidFill>
                  <a:srgbClr val="F57A30"/>
                </a:solidFill>
                <a:latin typeface="Source Sans Pro" panose="020B0503030403020204" pitchFamily="34" charset="0"/>
                <a:ea typeface="+mn-ea"/>
                <a:cs typeface="+mn-cs"/>
              </a:defRPr>
            </a:lvl1pPr>
            <a:lvl2pPr marL="0" algn="ctr" defTabSz="685800" rtl="0" eaLnBrk="1" latinLnBrk="0" hangingPunct="1">
              <a:lnSpc>
                <a:spcPts val="6240"/>
              </a:lnSpc>
              <a:defRPr lang="fr-FR" sz="12450" kern="1200" spc="52" dirty="0" smtClean="0">
                <a:solidFill>
                  <a:srgbClr val="F57A30"/>
                </a:solidFill>
                <a:latin typeface="Source Sans Pro" panose="020B0503030403020204" pitchFamily="34" charset="0"/>
                <a:ea typeface="+mn-ea"/>
                <a:cs typeface="+mn-cs"/>
              </a:defRPr>
            </a:lvl2pPr>
            <a:lvl3pPr marL="0" algn="ctr" defTabSz="685800" rtl="0" eaLnBrk="1" latinLnBrk="0" hangingPunct="1">
              <a:lnSpc>
                <a:spcPts val="6240"/>
              </a:lnSpc>
              <a:defRPr lang="fr-FR" sz="12450" kern="1200" spc="52" dirty="0" smtClean="0">
                <a:solidFill>
                  <a:srgbClr val="F57A30"/>
                </a:solidFill>
                <a:latin typeface="Source Sans Pro" panose="020B0503030403020204" pitchFamily="34" charset="0"/>
                <a:ea typeface="+mn-ea"/>
                <a:cs typeface="+mn-cs"/>
              </a:defRPr>
            </a:lvl3pPr>
            <a:lvl4pPr marL="0" algn="ctr" defTabSz="685800" rtl="0" eaLnBrk="1" latinLnBrk="0" hangingPunct="1">
              <a:lnSpc>
                <a:spcPts val="6240"/>
              </a:lnSpc>
              <a:defRPr lang="fr-FR" sz="12450" kern="1200" spc="52" dirty="0" smtClean="0">
                <a:solidFill>
                  <a:srgbClr val="F57A30"/>
                </a:solidFill>
                <a:latin typeface="Source Sans Pro" panose="020B0503030403020204" pitchFamily="34" charset="0"/>
                <a:ea typeface="+mn-ea"/>
                <a:cs typeface="+mn-cs"/>
              </a:defRPr>
            </a:lvl4pPr>
            <a:lvl5pPr marL="0" algn="ctr" defTabSz="685800" rtl="0" eaLnBrk="1" latinLnBrk="0" hangingPunct="1">
              <a:lnSpc>
                <a:spcPts val="6240"/>
              </a:lnSpc>
              <a:defRPr lang="fr-FR" sz="12450" kern="1200" spc="52" dirty="0">
                <a:solidFill>
                  <a:srgbClr val="F57A30"/>
                </a:solidFill>
                <a:latin typeface="Source Sans Pro" panose="020B0503030403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N°</a:t>
            </a:r>
          </a:p>
        </p:txBody>
      </p:sp>
    </p:spTree>
    <p:extLst>
      <p:ext uri="{BB962C8B-B14F-4D97-AF65-F5344CB8AC3E}">
        <p14:creationId xmlns:p14="http://schemas.microsoft.com/office/powerpoint/2010/main" val="1278556392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>
            <a:extLst>
              <a:ext uri="{FF2B5EF4-FFF2-40B4-BE49-F238E27FC236}">
                <a16:creationId xmlns:a16="http://schemas.microsoft.com/office/drawing/2014/main" id="{63BECC50-3855-4193-8B9B-F96A8FFAF13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37571" y="4724401"/>
            <a:ext cx="331946" cy="331946"/>
          </a:xfrm>
          <a:prstGeom prst="rect">
            <a:avLst/>
          </a:prstGeom>
        </p:spPr>
      </p:pic>
      <p:sp>
        <p:nvSpPr>
          <p:cNvPr id="6" name="AutoShape 11">
            <a:extLst>
              <a:ext uri="{FF2B5EF4-FFF2-40B4-BE49-F238E27FC236}">
                <a16:creationId xmlns:a16="http://schemas.microsoft.com/office/drawing/2014/main" id="{BAD7EE75-9DF6-491D-B00A-E779396ED724}"/>
              </a:ext>
            </a:extLst>
          </p:cNvPr>
          <p:cNvSpPr/>
          <p:nvPr userDrawn="1"/>
        </p:nvSpPr>
        <p:spPr>
          <a:xfrm>
            <a:off x="-95250" y="-95250"/>
            <a:ext cx="9334500" cy="2257425"/>
          </a:xfrm>
          <a:prstGeom prst="rect">
            <a:avLst/>
          </a:prstGeom>
          <a:solidFill>
            <a:srgbClr val="F57A30"/>
          </a:solidFill>
        </p:spPr>
      </p:sp>
      <p:grpSp>
        <p:nvGrpSpPr>
          <p:cNvPr id="7" name="Group 12">
            <a:extLst>
              <a:ext uri="{FF2B5EF4-FFF2-40B4-BE49-F238E27FC236}">
                <a16:creationId xmlns:a16="http://schemas.microsoft.com/office/drawing/2014/main" id="{8118CFC4-F2FE-429D-AEDF-58DFE237795C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55898" y="1369596"/>
            <a:ext cx="2212606" cy="2212606"/>
            <a:chOff x="0" y="0"/>
            <a:chExt cx="2787650" cy="2787650"/>
          </a:xfrm>
          <a:solidFill>
            <a:srgbClr val="FFC8AF"/>
          </a:solidFill>
        </p:grpSpPr>
        <p:sp>
          <p:nvSpPr>
            <p:cNvPr id="8" name="Freeform 13">
              <a:extLst>
                <a:ext uri="{FF2B5EF4-FFF2-40B4-BE49-F238E27FC236}">
                  <a16:creationId xmlns:a16="http://schemas.microsoft.com/office/drawing/2014/main" id="{E1D8B17D-F267-4EE8-A47B-B8411CCDAE54}"/>
                </a:ext>
              </a:extLst>
            </p:cNvPr>
            <p:cNvSpPr/>
            <p:nvPr/>
          </p:nvSpPr>
          <p:spPr>
            <a:xfrm>
              <a:off x="0" y="0"/>
              <a:ext cx="2787650" cy="2787650"/>
            </a:xfrm>
            <a:custGeom>
              <a:avLst/>
              <a:gdLst/>
              <a:ahLst/>
              <a:cxnLst/>
              <a:rect l="l" t="t" r="r" b="b"/>
              <a:pathLst>
                <a:path w="2787650" h="2787650">
                  <a:moveTo>
                    <a:pt x="81280" y="1861820"/>
                  </a:moveTo>
                  <a:cubicBezTo>
                    <a:pt x="73660" y="1841500"/>
                    <a:pt x="67310" y="1819910"/>
                    <a:pt x="60960" y="1799590"/>
                  </a:cubicBezTo>
                  <a:lnTo>
                    <a:pt x="1800860" y="59690"/>
                  </a:lnTo>
                  <a:cubicBezTo>
                    <a:pt x="1821180" y="66040"/>
                    <a:pt x="1842770" y="72390"/>
                    <a:pt x="1863090" y="80010"/>
                  </a:cubicBezTo>
                  <a:lnTo>
                    <a:pt x="81280" y="1861820"/>
                  </a:lnTo>
                  <a:close/>
                  <a:moveTo>
                    <a:pt x="1597660" y="15240"/>
                  </a:moveTo>
                  <a:cubicBezTo>
                    <a:pt x="1573530" y="11430"/>
                    <a:pt x="1548130" y="8890"/>
                    <a:pt x="1524000" y="6350"/>
                  </a:cubicBezTo>
                  <a:lnTo>
                    <a:pt x="6350" y="1524000"/>
                  </a:lnTo>
                  <a:cubicBezTo>
                    <a:pt x="8890" y="1548130"/>
                    <a:pt x="11430" y="1573530"/>
                    <a:pt x="15240" y="1597660"/>
                  </a:cubicBezTo>
                  <a:lnTo>
                    <a:pt x="1597660" y="15240"/>
                  </a:lnTo>
                  <a:close/>
                  <a:moveTo>
                    <a:pt x="2189480" y="248920"/>
                  </a:moveTo>
                  <a:cubicBezTo>
                    <a:pt x="2172970" y="237490"/>
                    <a:pt x="2156460" y="226060"/>
                    <a:pt x="2139950" y="215900"/>
                  </a:cubicBezTo>
                  <a:lnTo>
                    <a:pt x="215900" y="2139950"/>
                  </a:lnTo>
                  <a:cubicBezTo>
                    <a:pt x="226060" y="2156460"/>
                    <a:pt x="237490" y="2172970"/>
                    <a:pt x="248920" y="2189480"/>
                  </a:cubicBezTo>
                  <a:lnTo>
                    <a:pt x="2189480" y="248920"/>
                  </a:lnTo>
                  <a:close/>
                  <a:moveTo>
                    <a:pt x="1979930" y="128270"/>
                  </a:moveTo>
                  <a:cubicBezTo>
                    <a:pt x="1960880" y="119380"/>
                    <a:pt x="1941830" y="110490"/>
                    <a:pt x="1922780" y="102870"/>
                  </a:cubicBezTo>
                  <a:lnTo>
                    <a:pt x="104140" y="1921510"/>
                  </a:lnTo>
                  <a:cubicBezTo>
                    <a:pt x="111760" y="1940560"/>
                    <a:pt x="120650" y="1959610"/>
                    <a:pt x="129540" y="1978660"/>
                  </a:cubicBezTo>
                  <a:lnTo>
                    <a:pt x="1979930" y="128270"/>
                  </a:lnTo>
                  <a:close/>
                  <a:moveTo>
                    <a:pt x="2087880" y="185420"/>
                  </a:moveTo>
                  <a:cubicBezTo>
                    <a:pt x="2070100" y="175260"/>
                    <a:pt x="2052320" y="165100"/>
                    <a:pt x="2034540" y="156210"/>
                  </a:cubicBezTo>
                  <a:lnTo>
                    <a:pt x="154940" y="2035810"/>
                  </a:lnTo>
                  <a:cubicBezTo>
                    <a:pt x="163830" y="2053590"/>
                    <a:pt x="173990" y="2071370"/>
                    <a:pt x="184150" y="2089150"/>
                  </a:cubicBezTo>
                  <a:lnTo>
                    <a:pt x="2087880" y="185420"/>
                  </a:lnTo>
                  <a:close/>
                  <a:moveTo>
                    <a:pt x="834390" y="116840"/>
                  </a:moveTo>
                  <a:cubicBezTo>
                    <a:pt x="774700" y="143510"/>
                    <a:pt x="716280" y="173990"/>
                    <a:pt x="660400" y="208280"/>
                  </a:cubicBezTo>
                  <a:lnTo>
                    <a:pt x="208280" y="660400"/>
                  </a:lnTo>
                  <a:cubicBezTo>
                    <a:pt x="172720" y="716280"/>
                    <a:pt x="142240" y="774700"/>
                    <a:pt x="116840" y="834390"/>
                  </a:cubicBezTo>
                  <a:lnTo>
                    <a:pt x="834390" y="116840"/>
                  </a:lnTo>
                  <a:close/>
                  <a:moveTo>
                    <a:pt x="1363980" y="0"/>
                  </a:moveTo>
                  <a:lnTo>
                    <a:pt x="0" y="1363980"/>
                  </a:lnTo>
                  <a:cubicBezTo>
                    <a:pt x="0" y="1391920"/>
                    <a:pt x="0" y="1418590"/>
                    <a:pt x="1270" y="1446530"/>
                  </a:cubicBezTo>
                  <a:lnTo>
                    <a:pt x="1445260" y="1270"/>
                  </a:lnTo>
                  <a:cubicBezTo>
                    <a:pt x="1418590" y="0"/>
                    <a:pt x="1390650" y="0"/>
                    <a:pt x="1363980" y="0"/>
                  </a:cubicBezTo>
                  <a:close/>
                  <a:moveTo>
                    <a:pt x="2787650" y="1386840"/>
                  </a:moveTo>
                  <a:lnTo>
                    <a:pt x="1386840" y="2787650"/>
                  </a:lnTo>
                  <a:cubicBezTo>
                    <a:pt x="1414780" y="2787650"/>
                    <a:pt x="1443990" y="2787650"/>
                    <a:pt x="1471930" y="2785110"/>
                  </a:cubicBezTo>
                  <a:lnTo>
                    <a:pt x="2785110" y="1471930"/>
                  </a:lnTo>
                  <a:cubicBezTo>
                    <a:pt x="2786380" y="1443990"/>
                    <a:pt x="2787650" y="1414780"/>
                    <a:pt x="2787650" y="1386840"/>
                  </a:cubicBezTo>
                  <a:close/>
                  <a:moveTo>
                    <a:pt x="2283460" y="321310"/>
                  </a:moveTo>
                  <a:cubicBezTo>
                    <a:pt x="2268220" y="308610"/>
                    <a:pt x="2252980" y="295910"/>
                    <a:pt x="2237740" y="284480"/>
                  </a:cubicBezTo>
                  <a:lnTo>
                    <a:pt x="284480" y="2237740"/>
                  </a:lnTo>
                  <a:cubicBezTo>
                    <a:pt x="295910" y="2252980"/>
                    <a:pt x="308610" y="2268220"/>
                    <a:pt x="321310" y="2283460"/>
                  </a:cubicBezTo>
                  <a:lnTo>
                    <a:pt x="2283460" y="321310"/>
                  </a:lnTo>
                  <a:close/>
                  <a:moveTo>
                    <a:pt x="1276350" y="5080"/>
                  </a:moveTo>
                  <a:cubicBezTo>
                    <a:pt x="1244600" y="7620"/>
                    <a:pt x="1214120" y="11430"/>
                    <a:pt x="1182370" y="16510"/>
                  </a:cubicBezTo>
                  <a:lnTo>
                    <a:pt x="16510" y="1182370"/>
                  </a:lnTo>
                  <a:cubicBezTo>
                    <a:pt x="11430" y="1214120"/>
                    <a:pt x="7620" y="1244600"/>
                    <a:pt x="5080" y="1276350"/>
                  </a:cubicBezTo>
                  <a:lnTo>
                    <a:pt x="1276350" y="5080"/>
                  </a:lnTo>
                  <a:close/>
                  <a:moveTo>
                    <a:pt x="1080770" y="35560"/>
                  </a:moveTo>
                  <a:cubicBezTo>
                    <a:pt x="1042670" y="44450"/>
                    <a:pt x="1004570" y="54610"/>
                    <a:pt x="966470" y="67310"/>
                  </a:cubicBezTo>
                  <a:lnTo>
                    <a:pt x="66040" y="966470"/>
                  </a:lnTo>
                  <a:cubicBezTo>
                    <a:pt x="54610" y="1004570"/>
                    <a:pt x="43180" y="1041400"/>
                    <a:pt x="34290" y="1080770"/>
                  </a:cubicBezTo>
                  <a:lnTo>
                    <a:pt x="1080770" y="35560"/>
                  </a:lnTo>
                  <a:close/>
                  <a:moveTo>
                    <a:pt x="1734820" y="41910"/>
                  </a:moveTo>
                  <a:cubicBezTo>
                    <a:pt x="1711960" y="36830"/>
                    <a:pt x="1690370" y="31750"/>
                    <a:pt x="1667510" y="26670"/>
                  </a:cubicBezTo>
                  <a:lnTo>
                    <a:pt x="26670" y="1667510"/>
                  </a:lnTo>
                  <a:cubicBezTo>
                    <a:pt x="31750" y="1690370"/>
                    <a:pt x="36830" y="1711960"/>
                    <a:pt x="41910" y="1734820"/>
                  </a:cubicBezTo>
                  <a:lnTo>
                    <a:pt x="1734820" y="41910"/>
                  </a:lnTo>
                  <a:close/>
                  <a:moveTo>
                    <a:pt x="2762250" y="1659890"/>
                  </a:moveTo>
                  <a:cubicBezTo>
                    <a:pt x="2768600" y="1626870"/>
                    <a:pt x="2773680" y="1595120"/>
                    <a:pt x="2777490" y="1562100"/>
                  </a:cubicBezTo>
                  <a:lnTo>
                    <a:pt x="1562100" y="2777490"/>
                  </a:lnTo>
                  <a:cubicBezTo>
                    <a:pt x="1595120" y="2773680"/>
                    <a:pt x="1628140" y="2768600"/>
                    <a:pt x="1659890" y="2762250"/>
                  </a:cubicBezTo>
                  <a:lnTo>
                    <a:pt x="2762250" y="1659890"/>
                  </a:lnTo>
                  <a:close/>
                  <a:moveTo>
                    <a:pt x="2785110" y="1306830"/>
                  </a:moveTo>
                  <a:cubicBezTo>
                    <a:pt x="2783840" y="1281430"/>
                    <a:pt x="2781300" y="1256030"/>
                    <a:pt x="2778760" y="1230630"/>
                  </a:cubicBezTo>
                  <a:lnTo>
                    <a:pt x="1230630" y="2777490"/>
                  </a:lnTo>
                  <a:cubicBezTo>
                    <a:pt x="1256030" y="2780030"/>
                    <a:pt x="1281430" y="2782570"/>
                    <a:pt x="1306830" y="2783840"/>
                  </a:cubicBezTo>
                  <a:lnTo>
                    <a:pt x="2785110" y="1306830"/>
                  </a:lnTo>
                  <a:close/>
                  <a:moveTo>
                    <a:pt x="2767330" y="1158240"/>
                  </a:moveTo>
                  <a:cubicBezTo>
                    <a:pt x="2763520" y="1135380"/>
                    <a:pt x="2758440" y="1112520"/>
                    <a:pt x="2753360" y="1089660"/>
                  </a:cubicBezTo>
                  <a:lnTo>
                    <a:pt x="1088390" y="2753360"/>
                  </a:lnTo>
                  <a:cubicBezTo>
                    <a:pt x="1111250" y="2758440"/>
                    <a:pt x="1134110" y="2763520"/>
                    <a:pt x="1156970" y="2767330"/>
                  </a:cubicBezTo>
                  <a:lnTo>
                    <a:pt x="2767330" y="1158240"/>
                  </a:lnTo>
                  <a:close/>
                  <a:moveTo>
                    <a:pt x="2369820" y="398780"/>
                  </a:moveTo>
                  <a:cubicBezTo>
                    <a:pt x="2355850" y="384810"/>
                    <a:pt x="2341880" y="372110"/>
                    <a:pt x="2327910" y="358140"/>
                  </a:cubicBezTo>
                  <a:lnTo>
                    <a:pt x="359410" y="2326640"/>
                  </a:lnTo>
                  <a:cubicBezTo>
                    <a:pt x="372110" y="2340610"/>
                    <a:pt x="386080" y="2354580"/>
                    <a:pt x="400050" y="2368550"/>
                  </a:cubicBezTo>
                  <a:lnTo>
                    <a:pt x="2369820" y="398780"/>
                  </a:lnTo>
                  <a:close/>
                  <a:moveTo>
                    <a:pt x="2451100" y="2301240"/>
                  </a:moveTo>
                  <a:cubicBezTo>
                    <a:pt x="2520950" y="2219960"/>
                    <a:pt x="2579370" y="2133600"/>
                    <a:pt x="2627630" y="2042160"/>
                  </a:cubicBezTo>
                  <a:lnTo>
                    <a:pt x="2042160" y="2627630"/>
                  </a:lnTo>
                  <a:cubicBezTo>
                    <a:pt x="2133600" y="2579370"/>
                    <a:pt x="2219960" y="2520950"/>
                    <a:pt x="2301240" y="2451100"/>
                  </a:cubicBezTo>
                  <a:lnTo>
                    <a:pt x="2451100" y="2301240"/>
                  </a:lnTo>
                  <a:close/>
                  <a:moveTo>
                    <a:pt x="2736850" y="1023620"/>
                  </a:moveTo>
                  <a:cubicBezTo>
                    <a:pt x="2730500" y="1002030"/>
                    <a:pt x="2724150" y="981710"/>
                    <a:pt x="2717800" y="960120"/>
                  </a:cubicBezTo>
                  <a:lnTo>
                    <a:pt x="960120" y="2717800"/>
                  </a:lnTo>
                  <a:cubicBezTo>
                    <a:pt x="981710" y="2724150"/>
                    <a:pt x="1002030" y="2730500"/>
                    <a:pt x="1023620" y="2736850"/>
                  </a:cubicBezTo>
                  <a:lnTo>
                    <a:pt x="2736850" y="1023620"/>
                  </a:lnTo>
                  <a:close/>
                  <a:moveTo>
                    <a:pt x="2696210" y="1892300"/>
                  </a:moveTo>
                  <a:cubicBezTo>
                    <a:pt x="2711450" y="1851660"/>
                    <a:pt x="2725420" y="1811020"/>
                    <a:pt x="2736850" y="1769110"/>
                  </a:cubicBezTo>
                  <a:lnTo>
                    <a:pt x="1769110" y="2736850"/>
                  </a:lnTo>
                  <a:cubicBezTo>
                    <a:pt x="1811020" y="2725420"/>
                    <a:pt x="1851660" y="2711450"/>
                    <a:pt x="1892300" y="2696210"/>
                  </a:cubicBezTo>
                  <a:lnTo>
                    <a:pt x="2696210" y="1892300"/>
                  </a:lnTo>
                  <a:close/>
                  <a:moveTo>
                    <a:pt x="2523490" y="576580"/>
                  </a:moveTo>
                  <a:cubicBezTo>
                    <a:pt x="2512060" y="561340"/>
                    <a:pt x="2500630" y="544830"/>
                    <a:pt x="2487930" y="529590"/>
                  </a:cubicBezTo>
                  <a:lnTo>
                    <a:pt x="529590" y="2486660"/>
                  </a:lnTo>
                  <a:cubicBezTo>
                    <a:pt x="544830" y="2499360"/>
                    <a:pt x="561340" y="2510790"/>
                    <a:pt x="576580" y="2522220"/>
                  </a:cubicBezTo>
                  <a:lnTo>
                    <a:pt x="2523490" y="576580"/>
                  </a:lnTo>
                  <a:close/>
                  <a:moveTo>
                    <a:pt x="2696210" y="899160"/>
                  </a:moveTo>
                  <a:cubicBezTo>
                    <a:pt x="2688590" y="878840"/>
                    <a:pt x="2680970" y="859790"/>
                    <a:pt x="2672080" y="840740"/>
                  </a:cubicBezTo>
                  <a:lnTo>
                    <a:pt x="839470" y="2673350"/>
                  </a:lnTo>
                  <a:cubicBezTo>
                    <a:pt x="858520" y="2682240"/>
                    <a:pt x="878840" y="2689860"/>
                    <a:pt x="897890" y="2697480"/>
                  </a:cubicBezTo>
                  <a:lnTo>
                    <a:pt x="2696210" y="899160"/>
                  </a:lnTo>
                  <a:close/>
                  <a:moveTo>
                    <a:pt x="2449830" y="483870"/>
                  </a:moveTo>
                  <a:cubicBezTo>
                    <a:pt x="2437130" y="468630"/>
                    <a:pt x="2424430" y="454660"/>
                    <a:pt x="2410460" y="440690"/>
                  </a:cubicBezTo>
                  <a:lnTo>
                    <a:pt x="440690" y="2410460"/>
                  </a:lnTo>
                  <a:cubicBezTo>
                    <a:pt x="454660" y="2424430"/>
                    <a:pt x="469900" y="2437130"/>
                    <a:pt x="483870" y="2449830"/>
                  </a:cubicBezTo>
                  <a:lnTo>
                    <a:pt x="2449830" y="483870"/>
                  </a:lnTo>
                  <a:close/>
                  <a:moveTo>
                    <a:pt x="2588260" y="675640"/>
                  </a:moveTo>
                  <a:cubicBezTo>
                    <a:pt x="2578100" y="659130"/>
                    <a:pt x="2567940" y="641350"/>
                    <a:pt x="2556510" y="624840"/>
                  </a:cubicBezTo>
                  <a:lnTo>
                    <a:pt x="624840" y="2556510"/>
                  </a:lnTo>
                  <a:cubicBezTo>
                    <a:pt x="641350" y="2567940"/>
                    <a:pt x="657860" y="2578100"/>
                    <a:pt x="675640" y="2588260"/>
                  </a:cubicBezTo>
                  <a:lnTo>
                    <a:pt x="2588260" y="675640"/>
                  </a:lnTo>
                  <a:close/>
                  <a:moveTo>
                    <a:pt x="2646680" y="783590"/>
                  </a:moveTo>
                  <a:cubicBezTo>
                    <a:pt x="2637790" y="765810"/>
                    <a:pt x="2628900" y="746760"/>
                    <a:pt x="2618740" y="728980"/>
                  </a:cubicBezTo>
                  <a:lnTo>
                    <a:pt x="728980" y="2618740"/>
                  </a:lnTo>
                  <a:cubicBezTo>
                    <a:pt x="746760" y="2628900"/>
                    <a:pt x="764540" y="2637790"/>
                    <a:pt x="783590" y="2646680"/>
                  </a:cubicBezTo>
                  <a:lnTo>
                    <a:pt x="2646680" y="783590"/>
                  </a:lnTo>
                  <a:close/>
                </a:path>
              </a:pathLst>
            </a:custGeom>
            <a:grpFill/>
          </p:spPr>
        </p:sp>
      </p:grpSp>
      <p:grpSp>
        <p:nvGrpSpPr>
          <p:cNvPr id="9" name="Group 14">
            <a:extLst>
              <a:ext uri="{FF2B5EF4-FFF2-40B4-BE49-F238E27FC236}">
                <a16:creationId xmlns:a16="http://schemas.microsoft.com/office/drawing/2014/main" id="{28CEFC40-143F-4A87-8DA4-9FCBA3CF0735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360648" y="1655346"/>
            <a:ext cx="2212606" cy="2212606"/>
            <a:chOff x="-2540" y="-2540"/>
            <a:chExt cx="6355080" cy="6355080"/>
          </a:xfrm>
          <a:solidFill>
            <a:srgbClr val="00727A"/>
          </a:solidFill>
        </p:grpSpPr>
        <p:sp>
          <p:nvSpPr>
            <p:cNvPr id="10" name="Freeform 15">
              <a:extLst>
                <a:ext uri="{FF2B5EF4-FFF2-40B4-BE49-F238E27FC236}">
                  <a16:creationId xmlns:a16="http://schemas.microsoft.com/office/drawing/2014/main" id="{0DB46C69-9216-416B-B46A-1BC7FE4E8D97}"/>
                </a:ext>
              </a:extLst>
            </p:cNvPr>
            <p:cNvSpPr/>
            <p:nvPr/>
          </p:nvSpPr>
          <p:spPr>
            <a:xfrm>
              <a:off x="-2540" y="-2540"/>
              <a:ext cx="6355080" cy="6355080"/>
            </a:xfrm>
            <a:custGeom>
              <a:avLst/>
              <a:gdLst/>
              <a:ahLst/>
              <a:cxnLst/>
              <a:rect l="l" t="t" r="r" b="b"/>
              <a:pathLst>
                <a:path w="6355080" h="6355080">
                  <a:moveTo>
                    <a:pt x="3177540" y="6355080"/>
                  </a:moveTo>
                  <a:cubicBezTo>
                    <a:pt x="2329180" y="6355080"/>
                    <a:pt x="1530350" y="6024880"/>
                    <a:pt x="930910" y="5424170"/>
                  </a:cubicBezTo>
                  <a:cubicBezTo>
                    <a:pt x="330200" y="4824730"/>
                    <a:pt x="0" y="4025900"/>
                    <a:pt x="0" y="3177540"/>
                  </a:cubicBezTo>
                  <a:cubicBezTo>
                    <a:pt x="0" y="2329180"/>
                    <a:pt x="330200" y="1530350"/>
                    <a:pt x="930910" y="930910"/>
                  </a:cubicBezTo>
                  <a:cubicBezTo>
                    <a:pt x="1530350" y="330200"/>
                    <a:pt x="2329180" y="0"/>
                    <a:pt x="3177540" y="0"/>
                  </a:cubicBezTo>
                  <a:cubicBezTo>
                    <a:pt x="4025900" y="0"/>
                    <a:pt x="4824730" y="330200"/>
                    <a:pt x="5424170" y="930910"/>
                  </a:cubicBezTo>
                  <a:cubicBezTo>
                    <a:pt x="6024880" y="1531620"/>
                    <a:pt x="6355080" y="2329180"/>
                    <a:pt x="6355080" y="3177540"/>
                  </a:cubicBezTo>
                  <a:cubicBezTo>
                    <a:pt x="6355080" y="4025900"/>
                    <a:pt x="6024880" y="4824730"/>
                    <a:pt x="5424170" y="5424170"/>
                  </a:cubicBezTo>
                  <a:cubicBezTo>
                    <a:pt x="4824730" y="6024880"/>
                    <a:pt x="4025900" y="6355080"/>
                    <a:pt x="3177540" y="6355080"/>
                  </a:cubicBezTo>
                  <a:close/>
                  <a:moveTo>
                    <a:pt x="3177540" y="190500"/>
                  </a:moveTo>
                  <a:cubicBezTo>
                    <a:pt x="2379980" y="190500"/>
                    <a:pt x="1629410" y="501650"/>
                    <a:pt x="1065530" y="1065530"/>
                  </a:cubicBezTo>
                  <a:cubicBezTo>
                    <a:pt x="501650" y="1629410"/>
                    <a:pt x="190500" y="2379980"/>
                    <a:pt x="190500" y="3177540"/>
                  </a:cubicBezTo>
                  <a:cubicBezTo>
                    <a:pt x="190500" y="3975100"/>
                    <a:pt x="501650" y="4725670"/>
                    <a:pt x="1065530" y="5289550"/>
                  </a:cubicBezTo>
                  <a:cubicBezTo>
                    <a:pt x="1629410" y="5853430"/>
                    <a:pt x="2379980" y="6164580"/>
                    <a:pt x="3177540" y="6164580"/>
                  </a:cubicBezTo>
                  <a:cubicBezTo>
                    <a:pt x="3975100" y="6164580"/>
                    <a:pt x="4725670" y="5853430"/>
                    <a:pt x="5289550" y="5289550"/>
                  </a:cubicBezTo>
                  <a:cubicBezTo>
                    <a:pt x="5853430" y="4725670"/>
                    <a:pt x="6164580" y="3975100"/>
                    <a:pt x="6164580" y="3177540"/>
                  </a:cubicBezTo>
                  <a:cubicBezTo>
                    <a:pt x="6164580" y="2379980"/>
                    <a:pt x="5853430" y="1629410"/>
                    <a:pt x="5289550" y="1065530"/>
                  </a:cubicBezTo>
                  <a:cubicBezTo>
                    <a:pt x="4725670" y="501650"/>
                    <a:pt x="3975100" y="190500"/>
                    <a:pt x="3177540" y="190500"/>
                  </a:cubicBezTo>
                  <a:close/>
                </a:path>
              </a:pathLst>
            </a:custGeom>
            <a:grpFill/>
          </p:spPr>
        </p:sp>
      </p:grpSp>
      <p:grpSp>
        <p:nvGrpSpPr>
          <p:cNvPr id="11" name="Group 16">
            <a:extLst>
              <a:ext uri="{FF2B5EF4-FFF2-40B4-BE49-F238E27FC236}">
                <a16:creationId xmlns:a16="http://schemas.microsoft.com/office/drawing/2014/main" id="{B65D3F8D-87DE-468B-99D7-52F2B0D895FB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6475497" y="1379469"/>
            <a:ext cx="2212606" cy="2212606"/>
            <a:chOff x="0" y="0"/>
            <a:chExt cx="2787650" cy="2787650"/>
          </a:xfrm>
          <a:solidFill>
            <a:srgbClr val="FFC8AF"/>
          </a:solidFill>
        </p:grpSpPr>
        <p:sp>
          <p:nvSpPr>
            <p:cNvPr id="12" name="Freeform 17">
              <a:extLst>
                <a:ext uri="{FF2B5EF4-FFF2-40B4-BE49-F238E27FC236}">
                  <a16:creationId xmlns:a16="http://schemas.microsoft.com/office/drawing/2014/main" id="{5BCCC000-DED3-40E8-9C43-583F0B35B9DF}"/>
                </a:ext>
              </a:extLst>
            </p:cNvPr>
            <p:cNvSpPr/>
            <p:nvPr/>
          </p:nvSpPr>
          <p:spPr>
            <a:xfrm>
              <a:off x="0" y="0"/>
              <a:ext cx="2787650" cy="2787650"/>
            </a:xfrm>
            <a:custGeom>
              <a:avLst/>
              <a:gdLst/>
              <a:ahLst/>
              <a:cxnLst/>
              <a:rect l="l" t="t" r="r" b="b"/>
              <a:pathLst>
                <a:path w="2787650" h="2787650">
                  <a:moveTo>
                    <a:pt x="81280" y="1861820"/>
                  </a:moveTo>
                  <a:cubicBezTo>
                    <a:pt x="73660" y="1841500"/>
                    <a:pt x="67310" y="1819910"/>
                    <a:pt x="60960" y="1799590"/>
                  </a:cubicBezTo>
                  <a:lnTo>
                    <a:pt x="1800860" y="59690"/>
                  </a:lnTo>
                  <a:cubicBezTo>
                    <a:pt x="1821180" y="66040"/>
                    <a:pt x="1842770" y="72390"/>
                    <a:pt x="1863090" y="80010"/>
                  </a:cubicBezTo>
                  <a:lnTo>
                    <a:pt x="81280" y="1861820"/>
                  </a:lnTo>
                  <a:close/>
                  <a:moveTo>
                    <a:pt x="1597660" y="15240"/>
                  </a:moveTo>
                  <a:cubicBezTo>
                    <a:pt x="1573530" y="11430"/>
                    <a:pt x="1548130" y="8890"/>
                    <a:pt x="1524000" y="6350"/>
                  </a:cubicBezTo>
                  <a:lnTo>
                    <a:pt x="6350" y="1524000"/>
                  </a:lnTo>
                  <a:cubicBezTo>
                    <a:pt x="8890" y="1548130"/>
                    <a:pt x="11430" y="1573530"/>
                    <a:pt x="15240" y="1597660"/>
                  </a:cubicBezTo>
                  <a:lnTo>
                    <a:pt x="1597660" y="15240"/>
                  </a:lnTo>
                  <a:close/>
                  <a:moveTo>
                    <a:pt x="2189480" y="248920"/>
                  </a:moveTo>
                  <a:cubicBezTo>
                    <a:pt x="2172970" y="237490"/>
                    <a:pt x="2156460" y="226060"/>
                    <a:pt x="2139950" y="215900"/>
                  </a:cubicBezTo>
                  <a:lnTo>
                    <a:pt x="215900" y="2139950"/>
                  </a:lnTo>
                  <a:cubicBezTo>
                    <a:pt x="226060" y="2156460"/>
                    <a:pt x="237490" y="2172970"/>
                    <a:pt x="248920" y="2189480"/>
                  </a:cubicBezTo>
                  <a:lnTo>
                    <a:pt x="2189480" y="248920"/>
                  </a:lnTo>
                  <a:close/>
                  <a:moveTo>
                    <a:pt x="1979930" y="128270"/>
                  </a:moveTo>
                  <a:cubicBezTo>
                    <a:pt x="1960880" y="119380"/>
                    <a:pt x="1941830" y="110490"/>
                    <a:pt x="1922780" y="102870"/>
                  </a:cubicBezTo>
                  <a:lnTo>
                    <a:pt x="104140" y="1921510"/>
                  </a:lnTo>
                  <a:cubicBezTo>
                    <a:pt x="111760" y="1940560"/>
                    <a:pt x="120650" y="1959610"/>
                    <a:pt x="129540" y="1978660"/>
                  </a:cubicBezTo>
                  <a:lnTo>
                    <a:pt x="1979930" y="128270"/>
                  </a:lnTo>
                  <a:close/>
                  <a:moveTo>
                    <a:pt x="2087880" y="185420"/>
                  </a:moveTo>
                  <a:cubicBezTo>
                    <a:pt x="2070100" y="175260"/>
                    <a:pt x="2052320" y="165100"/>
                    <a:pt x="2034540" y="156210"/>
                  </a:cubicBezTo>
                  <a:lnTo>
                    <a:pt x="154940" y="2035810"/>
                  </a:lnTo>
                  <a:cubicBezTo>
                    <a:pt x="163830" y="2053590"/>
                    <a:pt x="173990" y="2071370"/>
                    <a:pt x="184150" y="2089150"/>
                  </a:cubicBezTo>
                  <a:lnTo>
                    <a:pt x="2087880" y="185420"/>
                  </a:lnTo>
                  <a:close/>
                  <a:moveTo>
                    <a:pt x="834390" y="116840"/>
                  </a:moveTo>
                  <a:cubicBezTo>
                    <a:pt x="774700" y="143510"/>
                    <a:pt x="716280" y="173990"/>
                    <a:pt x="660400" y="208280"/>
                  </a:cubicBezTo>
                  <a:lnTo>
                    <a:pt x="208280" y="660400"/>
                  </a:lnTo>
                  <a:cubicBezTo>
                    <a:pt x="172720" y="716280"/>
                    <a:pt x="142240" y="774700"/>
                    <a:pt x="116840" y="834390"/>
                  </a:cubicBezTo>
                  <a:lnTo>
                    <a:pt x="834390" y="116840"/>
                  </a:lnTo>
                  <a:close/>
                  <a:moveTo>
                    <a:pt x="1363980" y="0"/>
                  </a:moveTo>
                  <a:lnTo>
                    <a:pt x="0" y="1363980"/>
                  </a:lnTo>
                  <a:cubicBezTo>
                    <a:pt x="0" y="1391920"/>
                    <a:pt x="0" y="1418590"/>
                    <a:pt x="1270" y="1446530"/>
                  </a:cubicBezTo>
                  <a:lnTo>
                    <a:pt x="1445260" y="1270"/>
                  </a:lnTo>
                  <a:cubicBezTo>
                    <a:pt x="1418590" y="0"/>
                    <a:pt x="1390650" y="0"/>
                    <a:pt x="1363980" y="0"/>
                  </a:cubicBezTo>
                  <a:close/>
                  <a:moveTo>
                    <a:pt x="2787650" y="1386840"/>
                  </a:moveTo>
                  <a:lnTo>
                    <a:pt x="1386840" y="2787650"/>
                  </a:lnTo>
                  <a:cubicBezTo>
                    <a:pt x="1414780" y="2787650"/>
                    <a:pt x="1443990" y="2787650"/>
                    <a:pt x="1471930" y="2785110"/>
                  </a:cubicBezTo>
                  <a:lnTo>
                    <a:pt x="2785110" y="1471930"/>
                  </a:lnTo>
                  <a:cubicBezTo>
                    <a:pt x="2786380" y="1443990"/>
                    <a:pt x="2787650" y="1414780"/>
                    <a:pt x="2787650" y="1386840"/>
                  </a:cubicBezTo>
                  <a:close/>
                  <a:moveTo>
                    <a:pt x="2283460" y="321310"/>
                  </a:moveTo>
                  <a:cubicBezTo>
                    <a:pt x="2268220" y="308610"/>
                    <a:pt x="2252980" y="295910"/>
                    <a:pt x="2237740" y="284480"/>
                  </a:cubicBezTo>
                  <a:lnTo>
                    <a:pt x="284480" y="2237740"/>
                  </a:lnTo>
                  <a:cubicBezTo>
                    <a:pt x="295910" y="2252980"/>
                    <a:pt x="308610" y="2268220"/>
                    <a:pt x="321310" y="2283460"/>
                  </a:cubicBezTo>
                  <a:lnTo>
                    <a:pt x="2283460" y="321310"/>
                  </a:lnTo>
                  <a:close/>
                  <a:moveTo>
                    <a:pt x="1276350" y="5080"/>
                  </a:moveTo>
                  <a:cubicBezTo>
                    <a:pt x="1244600" y="7620"/>
                    <a:pt x="1214120" y="11430"/>
                    <a:pt x="1182370" y="16510"/>
                  </a:cubicBezTo>
                  <a:lnTo>
                    <a:pt x="16510" y="1182370"/>
                  </a:lnTo>
                  <a:cubicBezTo>
                    <a:pt x="11430" y="1214120"/>
                    <a:pt x="7620" y="1244600"/>
                    <a:pt x="5080" y="1276350"/>
                  </a:cubicBezTo>
                  <a:lnTo>
                    <a:pt x="1276350" y="5080"/>
                  </a:lnTo>
                  <a:close/>
                  <a:moveTo>
                    <a:pt x="1080770" y="35560"/>
                  </a:moveTo>
                  <a:cubicBezTo>
                    <a:pt x="1042670" y="44450"/>
                    <a:pt x="1004570" y="54610"/>
                    <a:pt x="966470" y="67310"/>
                  </a:cubicBezTo>
                  <a:lnTo>
                    <a:pt x="66040" y="966470"/>
                  </a:lnTo>
                  <a:cubicBezTo>
                    <a:pt x="54610" y="1004570"/>
                    <a:pt x="43180" y="1041400"/>
                    <a:pt x="34290" y="1080770"/>
                  </a:cubicBezTo>
                  <a:lnTo>
                    <a:pt x="1080770" y="35560"/>
                  </a:lnTo>
                  <a:close/>
                  <a:moveTo>
                    <a:pt x="1734820" y="41910"/>
                  </a:moveTo>
                  <a:cubicBezTo>
                    <a:pt x="1711960" y="36830"/>
                    <a:pt x="1690370" y="31750"/>
                    <a:pt x="1667510" y="26670"/>
                  </a:cubicBezTo>
                  <a:lnTo>
                    <a:pt x="26670" y="1667510"/>
                  </a:lnTo>
                  <a:cubicBezTo>
                    <a:pt x="31750" y="1690370"/>
                    <a:pt x="36830" y="1711960"/>
                    <a:pt x="41910" y="1734820"/>
                  </a:cubicBezTo>
                  <a:lnTo>
                    <a:pt x="1734820" y="41910"/>
                  </a:lnTo>
                  <a:close/>
                  <a:moveTo>
                    <a:pt x="2762250" y="1659890"/>
                  </a:moveTo>
                  <a:cubicBezTo>
                    <a:pt x="2768600" y="1626870"/>
                    <a:pt x="2773680" y="1595120"/>
                    <a:pt x="2777490" y="1562100"/>
                  </a:cubicBezTo>
                  <a:lnTo>
                    <a:pt x="1562100" y="2777490"/>
                  </a:lnTo>
                  <a:cubicBezTo>
                    <a:pt x="1595120" y="2773680"/>
                    <a:pt x="1628140" y="2768600"/>
                    <a:pt x="1659890" y="2762250"/>
                  </a:cubicBezTo>
                  <a:lnTo>
                    <a:pt x="2762250" y="1659890"/>
                  </a:lnTo>
                  <a:close/>
                  <a:moveTo>
                    <a:pt x="2785110" y="1306830"/>
                  </a:moveTo>
                  <a:cubicBezTo>
                    <a:pt x="2783840" y="1281430"/>
                    <a:pt x="2781300" y="1256030"/>
                    <a:pt x="2778760" y="1230630"/>
                  </a:cubicBezTo>
                  <a:lnTo>
                    <a:pt x="1230630" y="2777490"/>
                  </a:lnTo>
                  <a:cubicBezTo>
                    <a:pt x="1256030" y="2780030"/>
                    <a:pt x="1281430" y="2782570"/>
                    <a:pt x="1306830" y="2783840"/>
                  </a:cubicBezTo>
                  <a:lnTo>
                    <a:pt x="2785110" y="1306830"/>
                  </a:lnTo>
                  <a:close/>
                  <a:moveTo>
                    <a:pt x="2767330" y="1158240"/>
                  </a:moveTo>
                  <a:cubicBezTo>
                    <a:pt x="2763520" y="1135380"/>
                    <a:pt x="2758440" y="1112520"/>
                    <a:pt x="2753360" y="1089660"/>
                  </a:cubicBezTo>
                  <a:lnTo>
                    <a:pt x="1088390" y="2753360"/>
                  </a:lnTo>
                  <a:cubicBezTo>
                    <a:pt x="1111250" y="2758440"/>
                    <a:pt x="1134110" y="2763520"/>
                    <a:pt x="1156970" y="2767330"/>
                  </a:cubicBezTo>
                  <a:lnTo>
                    <a:pt x="2767330" y="1158240"/>
                  </a:lnTo>
                  <a:close/>
                  <a:moveTo>
                    <a:pt x="2369820" y="398780"/>
                  </a:moveTo>
                  <a:cubicBezTo>
                    <a:pt x="2355850" y="384810"/>
                    <a:pt x="2341880" y="372110"/>
                    <a:pt x="2327910" y="358140"/>
                  </a:cubicBezTo>
                  <a:lnTo>
                    <a:pt x="359410" y="2326640"/>
                  </a:lnTo>
                  <a:cubicBezTo>
                    <a:pt x="372110" y="2340610"/>
                    <a:pt x="386080" y="2354580"/>
                    <a:pt x="400050" y="2368550"/>
                  </a:cubicBezTo>
                  <a:lnTo>
                    <a:pt x="2369820" y="398780"/>
                  </a:lnTo>
                  <a:close/>
                  <a:moveTo>
                    <a:pt x="2451100" y="2301240"/>
                  </a:moveTo>
                  <a:cubicBezTo>
                    <a:pt x="2520950" y="2219960"/>
                    <a:pt x="2579370" y="2133600"/>
                    <a:pt x="2627630" y="2042160"/>
                  </a:cubicBezTo>
                  <a:lnTo>
                    <a:pt x="2042160" y="2627630"/>
                  </a:lnTo>
                  <a:cubicBezTo>
                    <a:pt x="2133600" y="2579370"/>
                    <a:pt x="2219960" y="2520950"/>
                    <a:pt x="2301240" y="2451100"/>
                  </a:cubicBezTo>
                  <a:lnTo>
                    <a:pt x="2451100" y="2301240"/>
                  </a:lnTo>
                  <a:close/>
                  <a:moveTo>
                    <a:pt x="2736850" y="1023620"/>
                  </a:moveTo>
                  <a:cubicBezTo>
                    <a:pt x="2730500" y="1002030"/>
                    <a:pt x="2724150" y="981710"/>
                    <a:pt x="2717800" y="960120"/>
                  </a:cubicBezTo>
                  <a:lnTo>
                    <a:pt x="960120" y="2717800"/>
                  </a:lnTo>
                  <a:cubicBezTo>
                    <a:pt x="981710" y="2724150"/>
                    <a:pt x="1002030" y="2730500"/>
                    <a:pt x="1023620" y="2736850"/>
                  </a:cubicBezTo>
                  <a:lnTo>
                    <a:pt x="2736850" y="1023620"/>
                  </a:lnTo>
                  <a:close/>
                  <a:moveTo>
                    <a:pt x="2696210" y="1892300"/>
                  </a:moveTo>
                  <a:cubicBezTo>
                    <a:pt x="2711450" y="1851660"/>
                    <a:pt x="2725420" y="1811020"/>
                    <a:pt x="2736850" y="1769110"/>
                  </a:cubicBezTo>
                  <a:lnTo>
                    <a:pt x="1769110" y="2736850"/>
                  </a:lnTo>
                  <a:cubicBezTo>
                    <a:pt x="1811020" y="2725420"/>
                    <a:pt x="1851660" y="2711450"/>
                    <a:pt x="1892300" y="2696210"/>
                  </a:cubicBezTo>
                  <a:lnTo>
                    <a:pt x="2696210" y="1892300"/>
                  </a:lnTo>
                  <a:close/>
                  <a:moveTo>
                    <a:pt x="2523490" y="576580"/>
                  </a:moveTo>
                  <a:cubicBezTo>
                    <a:pt x="2512060" y="561340"/>
                    <a:pt x="2500630" y="544830"/>
                    <a:pt x="2487930" y="529590"/>
                  </a:cubicBezTo>
                  <a:lnTo>
                    <a:pt x="529590" y="2486660"/>
                  </a:lnTo>
                  <a:cubicBezTo>
                    <a:pt x="544830" y="2499360"/>
                    <a:pt x="561340" y="2510790"/>
                    <a:pt x="576580" y="2522220"/>
                  </a:cubicBezTo>
                  <a:lnTo>
                    <a:pt x="2523490" y="576580"/>
                  </a:lnTo>
                  <a:close/>
                  <a:moveTo>
                    <a:pt x="2696210" y="899160"/>
                  </a:moveTo>
                  <a:cubicBezTo>
                    <a:pt x="2688590" y="878840"/>
                    <a:pt x="2680970" y="859790"/>
                    <a:pt x="2672080" y="840740"/>
                  </a:cubicBezTo>
                  <a:lnTo>
                    <a:pt x="839470" y="2673350"/>
                  </a:lnTo>
                  <a:cubicBezTo>
                    <a:pt x="858520" y="2682240"/>
                    <a:pt x="878840" y="2689860"/>
                    <a:pt x="897890" y="2697480"/>
                  </a:cubicBezTo>
                  <a:lnTo>
                    <a:pt x="2696210" y="899160"/>
                  </a:lnTo>
                  <a:close/>
                  <a:moveTo>
                    <a:pt x="2449830" y="483870"/>
                  </a:moveTo>
                  <a:cubicBezTo>
                    <a:pt x="2437130" y="468630"/>
                    <a:pt x="2424430" y="454660"/>
                    <a:pt x="2410460" y="440690"/>
                  </a:cubicBezTo>
                  <a:lnTo>
                    <a:pt x="440690" y="2410460"/>
                  </a:lnTo>
                  <a:cubicBezTo>
                    <a:pt x="454660" y="2424430"/>
                    <a:pt x="469900" y="2437130"/>
                    <a:pt x="483870" y="2449830"/>
                  </a:cubicBezTo>
                  <a:lnTo>
                    <a:pt x="2449830" y="483870"/>
                  </a:lnTo>
                  <a:close/>
                  <a:moveTo>
                    <a:pt x="2588260" y="675640"/>
                  </a:moveTo>
                  <a:cubicBezTo>
                    <a:pt x="2578100" y="659130"/>
                    <a:pt x="2567940" y="641350"/>
                    <a:pt x="2556510" y="624840"/>
                  </a:cubicBezTo>
                  <a:lnTo>
                    <a:pt x="624840" y="2556510"/>
                  </a:lnTo>
                  <a:cubicBezTo>
                    <a:pt x="641350" y="2567940"/>
                    <a:pt x="657860" y="2578100"/>
                    <a:pt x="675640" y="2588260"/>
                  </a:cubicBezTo>
                  <a:lnTo>
                    <a:pt x="2588260" y="675640"/>
                  </a:lnTo>
                  <a:close/>
                  <a:moveTo>
                    <a:pt x="2646680" y="783590"/>
                  </a:moveTo>
                  <a:cubicBezTo>
                    <a:pt x="2637790" y="765810"/>
                    <a:pt x="2628900" y="746760"/>
                    <a:pt x="2618740" y="728980"/>
                  </a:cubicBezTo>
                  <a:lnTo>
                    <a:pt x="728980" y="2618740"/>
                  </a:lnTo>
                  <a:cubicBezTo>
                    <a:pt x="746760" y="2628900"/>
                    <a:pt x="764540" y="2637790"/>
                    <a:pt x="783590" y="2646680"/>
                  </a:cubicBezTo>
                  <a:lnTo>
                    <a:pt x="2646680" y="783590"/>
                  </a:lnTo>
                  <a:close/>
                </a:path>
              </a:pathLst>
            </a:custGeom>
            <a:grpFill/>
          </p:spPr>
        </p:sp>
      </p:grpSp>
      <p:grpSp>
        <p:nvGrpSpPr>
          <p:cNvPr id="13" name="Group 18">
            <a:extLst>
              <a:ext uri="{FF2B5EF4-FFF2-40B4-BE49-F238E27FC236}">
                <a16:creationId xmlns:a16="http://schemas.microsoft.com/office/drawing/2014/main" id="{561A602B-14FF-4E46-A5E9-521DF2839A20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6665997" y="1569969"/>
            <a:ext cx="2212606" cy="2212606"/>
            <a:chOff x="-2540" y="-2540"/>
            <a:chExt cx="6355080" cy="6355080"/>
          </a:xfrm>
          <a:solidFill>
            <a:srgbClr val="00727A"/>
          </a:solidFill>
        </p:grpSpPr>
        <p:sp>
          <p:nvSpPr>
            <p:cNvPr id="14" name="Freeform 19">
              <a:extLst>
                <a:ext uri="{FF2B5EF4-FFF2-40B4-BE49-F238E27FC236}">
                  <a16:creationId xmlns:a16="http://schemas.microsoft.com/office/drawing/2014/main" id="{BF75DE21-C909-4ACE-BAC3-804C316A901C}"/>
                </a:ext>
              </a:extLst>
            </p:cNvPr>
            <p:cNvSpPr/>
            <p:nvPr/>
          </p:nvSpPr>
          <p:spPr>
            <a:xfrm>
              <a:off x="-2540" y="-2540"/>
              <a:ext cx="6355080" cy="6355080"/>
            </a:xfrm>
            <a:custGeom>
              <a:avLst/>
              <a:gdLst/>
              <a:ahLst/>
              <a:cxnLst/>
              <a:rect l="l" t="t" r="r" b="b"/>
              <a:pathLst>
                <a:path w="6355080" h="6355080">
                  <a:moveTo>
                    <a:pt x="3177540" y="6355080"/>
                  </a:moveTo>
                  <a:cubicBezTo>
                    <a:pt x="2329180" y="6355080"/>
                    <a:pt x="1530350" y="6024880"/>
                    <a:pt x="930910" y="5424170"/>
                  </a:cubicBezTo>
                  <a:cubicBezTo>
                    <a:pt x="330200" y="4824730"/>
                    <a:pt x="0" y="4025900"/>
                    <a:pt x="0" y="3177540"/>
                  </a:cubicBezTo>
                  <a:cubicBezTo>
                    <a:pt x="0" y="2329180"/>
                    <a:pt x="330200" y="1530350"/>
                    <a:pt x="930910" y="930910"/>
                  </a:cubicBezTo>
                  <a:cubicBezTo>
                    <a:pt x="1530350" y="330200"/>
                    <a:pt x="2329180" y="0"/>
                    <a:pt x="3177540" y="0"/>
                  </a:cubicBezTo>
                  <a:cubicBezTo>
                    <a:pt x="4025900" y="0"/>
                    <a:pt x="4824730" y="330200"/>
                    <a:pt x="5424170" y="930910"/>
                  </a:cubicBezTo>
                  <a:cubicBezTo>
                    <a:pt x="6024880" y="1531620"/>
                    <a:pt x="6355080" y="2329180"/>
                    <a:pt x="6355080" y="3177540"/>
                  </a:cubicBezTo>
                  <a:cubicBezTo>
                    <a:pt x="6355080" y="4025900"/>
                    <a:pt x="6024880" y="4824730"/>
                    <a:pt x="5424170" y="5424170"/>
                  </a:cubicBezTo>
                  <a:cubicBezTo>
                    <a:pt x="4824730" y="6024880"/>
                    <a:pt x="4025900" y="6355080"/>
                    <a:pt x="3177540" y="6355080"/>
                  </a:cubicBezTo>
                  <a:close/>
                  <a:moveTo>
                    <a:pt x="3177540" y="190500"/>
                  </a:moveTo>
                  <a:cubicBezTo>
                    <a:pt x="2379980" y="190500"/>
                    <a:pt x="1629410" y="501650"/>
                    <a:pt x="1065530" y="1065530"/>
                  </a:cubicBezTo>
                  <a:cubicBezTo>
                    <a:pt x="501650" y="1629410"/>
                    <a:pt x="190500" y="2379980"/>
                    <a:pt x="190500" y="3177540"/>
                  </a:cubicBezTo>
                  <a:cubicBezTo>
                    <a:pt x="190500" y="3975100"/>
                    <a:pt x="501650" y="4725670"/>
                    <a:pt x="1065530" y="5289550"/>
                  </a:cubicBezTo>
                  <a:cubicBezTo>
                    <a:pt x="1629410" y="5853430"/>
                    <a:pt x="2379980" y="6164580"/>
                    <a:pt x="3177540" y="6164580"/>
                  </a:cubicBezTo>
                  <a:cubicBezTo>
                    <a:pt x="3975100" y="6164580"/>
                    <a:pt x="4725670" y="5853430"/>
                    <a:pt x="5289550" y="5289550"/>
                  </a:cubicBezTo>
                  <a:cubicBezTo>
                    <a:pt x="5853430" y="4725670"/>
                    <a:pt x="6164580" y="3975100"/>
                    <a:pt x="6164580" y="3177540"/>
                  </a:cubicBezTo>
                  <a:cubicBezTo>
                    <a:pt x="6164580" y="2379980"/>
                    <a:pt x="5853430" y="1629410"/>
                    <a:pt x="5289550" y="1065530"/>
                  </a:cubicBezTo>
                  <a:cubicBezTo>
                    <a:pt x="4725670" y="501650"/>
                    <a:pt x="3975100" y="190500"/>
                    <a:pt x="3177540" y="190500"/>
                  </a:cubicBezTo>
                  <a:close/>
                </a:path>
              </a:pathLst>
            </a:custGeom>
            <a:grpFill/>
          </p:spPr>
        </p:sp>
      </p:grpSp>
      <p:grpSp>
        <p:nvGrpSpPr>
          <p:cNvPr id="15" name="Group 20">
            <a:extLst>
              <a:ext uri="{FF2B5EF4-FFF2-40B4-BE49-F238E27FC236}">
                <a16:creationId xmlns:a16="http://schemas.microsoft.com/office/drawing/2014/main" id="{022923EA-EC00-40FA-BED2-E7DC8D2C4925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3105930" y="1420009"/>
            <a:ext cx="2671963" cy="2671963"/>
            <a:chOff x="0" y="0"/>
            <a:chExt cx="2787650" cy="2787650"/>
          </a:xfrm>
          <a:solidFill>
            <a:srgbClr val="FFC8AF"/>
          </a:solidFill>
        </p:grpSpPr>
        <p:sp>
          <p:nvSpPr>
            <p:cNvPr id="16" name="Freeform 21">
              <a:extLst>
                <a:ext uri="{FF2B5EF4-FFF2-40B4-BE49-F238E27FC236}">
                  <a16:creationId xmlns:a16="http://schemas.microsoft.com/office/drawing/2014/main" id="{CCB56146-1B2C-4F11-A9C0-BAD6EC32C427}"/>
                </a:ext>
              </a:extLst>
            </p:cNvPr>
            <p:cNvSpPr/>
            <p:nvPr/>
          </p:nvSpPr>
          <p:spPr>
            <a:xfrm>
              <a:off x="0" y="0"/>
              <a:ext cx="2787650" cy="2787650"/>
            </a:xfrm>
            <a:custGeom>
              <a:avLst/>
              <a:gdLst/>
              <a:ahLst/>
              <a:cxnLst/>
              <a:rect l="l" t="t" r="r" b="b"/>
              <a:pathLst>
                <a:path w="2787650" h="2787650">
                  <a:moveTo>
                    <a:pt x="81280" y="1861820"/>
                  </a:moveTo>
                  <a:cubicBezTo>
                    <a:pt x="73660" y="1841500"/>
                    <a:pt x="67310" y="1819910"/>
                    <a:pt x="60960" y="1799590"/>
                  </a:cubicBezTo>
                  <a:lnTo>
                    <a:pt x="1800860" y="59690"/>
                  </a:lnTo>
                  <a:cubicBezTo>
                    <a:pt x="1821180" y="66040"/>
                    <a:pt x="1842770" y="72390"/>
                    <a:pt x="1863090" y="80010"/>
                  </a:cubicBezTo>
                  <a:lnTo>
                    <a:pt x="81280" y="1861820"/>
                  </a:lnTo>
                  <a:close/>
                  <a:moveTo>
                    <a:pt x="1597660" y="15240"/>
                  </a:moveTo>
                  <a:cubicBezTo>
                    <a:pt x="1573530" y="11430"/>
                    <a:pt x="1548130" y="8890"/>
                    <a:pt x="1524000" y="6350"/>
                  </a:cubicBezTo>
                  <a:lnTo>
                    <a:pt x="6350" y="1524000"/>
                  </a:lnTo>
                  <a:cubicBezTo>
                    <a:pt x="8890" y="1548130"/>
                    <a:pt x="11430" y="1573530"/>
                    <a:pt x="15240" y="1597660"/>
                  </a:cubicBezTo>
                  <a:lnTo>
                    <a:pt x="1597660" y="15240"/>
                  </a:lnTo>
                  <a:close/>
                  <a:moveTo>
                    <a:pt x="2189480" y="248920"/>
                  </a:moveTo>
                  <a:cubicBezTo>
                    <a:pt x="2172970" y="237490"/>
                    <a:pt x="2156460" y="226060"/>
                    <a:pt x="2139950" y="215900"/>
                  </a:cubicBezTo>
                  <a:lnTo>
                    <a:pt x="215900" y="2139950"/>
                  </a:lnTo>
                  <a:cubicBezTo>
                    <a:pt x="226060" y="2156460"/>
                    <a:pt x="237490" y="2172970"/>
                    <a:pt x="248920" y="2189480"/>
                  </a:cubicBezTo>
                  <a:lnTo>
                    <a:pt x="2189480" y="248920"/>
                  </a:lnTo>
                  <a:close/>
                  <a:moveTo>
                    <a:pt x="1979930" y="128270"/>
                  </a:moveTo>
                  <a:cubicBezTo>
                    <a:pt x="1960880" y="119380"/>
                    <a:pt x="1941830" y="110490"/>
                    <a:pt x="1922780" y="102870"/>
                  </a:cubicBezTo>
                  <a:lnTo>
                    <a:pt x="104140" y="1921510"/>
                  </a:lnTo>
                  <a:cubicBezTo>
                    <a:pt x="111760" y="1940560"/>
                    <a:pt x="120650" y="1959610"/>
                    <a:pt x="129540" y="1978660"/>
                  </a:cubicBezTo>
                  <a:lnTo>
                    <a:pt x="1979930" y="128270"/>
                  </a:lnTo>
                  <a:close/>
                  <a:moveTo>
                    <a:pt x="2087880" y="185420"/>
                  </a:moveTo>
                  <a:cubicBezTo>
                    <a:pt x="2070100" y="175260"/>
                    <a:pt x="2052320" y="165100"/>
                    <a:pt x="2034540" y="156210"/>
                  </a:cubicBezTo>
                  <a:lnTo>
                    <a:pt x="154940" y="2035810"/>
                  </a:lnTo>
                  <a:cubicBezTo>
                    <a:pt x="163830" y="2053590"/>
                    <a:pt x="173990" y="2071370"/>
                    <a:pt x="184150" y="2089150"/>
                  </a:cubicBezTo>
                  <a:lnTo>
                    <a:pt x="2087880" y="185420"/>
                  </a:lnTo>
                  <a:close/>
                  <a:moveTo>
                    <a:pt x="834390" y="116840"/>
                  </a:moveTo>
                  <a:cubicBezTo>
                    <a:pt x="774700" y="143510"/>
                    <a:pt x="716280" y="173990"/>
                    <a:pt x="660400" y="208280"/>
                  </a:cubicBezTo>
                  <a:lnTo>
                    <a:pt x="208280" y="660400"/>
                  </a:lnTo>
                  <a:cubicBezTo>
                    <a:pt x="172720" y="716280"/>
                    <a:pt x="142240" y="774700"/>
                    <a:pt x="116840" y="834390"/>
                  </a:cubicBezTo>
                  <a:lnTo>
                    <a:pt x="834390" y="116840"/>
                  </a:lnTo>
                  <a:close/>
                  <a:moveTo>
                    <a:pt x="1363980" y="0"/>
                  </a:moveTo>
                  <a:lnTo>
                    <a:pt x="0" y="1363980"/>
                  </a:lnTo>
                  <a:cubicBezTo>
                    <a:pt x="0" y="1391920"/>
                    <a:pt x="0" y="1418590"/>
                    <a:pt x="1270" y="1446530"/>
                  </a:cubicBezTo>
                  <a:lnTo>
                    <a:pt x="1445260" y="1270"/>
                  </a:lnTo>
                  <a:cubicBezTo>
                    <a:pt x="1418590" y="0"/>
                    <a:pt x="1390650" y="0"/>
                    <a:pt x="1363980" y="0"/>
                  </a:cubicBezTo>
                  <a:close/>
                  <a:moveTo>
                    <a:pt x="2787650" y="1386840"/>
                  </a:moveTo>
                  <a:lnTo>
                    <a:pt x="1386840" y="2787650"/>
                  </a:lnTo>
                  <a:cubicBezTo>
                    <a:pt x="1414780" y="2787650"/>
                    <a:pt x="1443990" y="2787650"/>
                    <a:pt x="1471930" y="2785110"/>
                  </a:cubicBezTo>
                  <a:lnTo>
                    <a:pt x="2785110" y="1471930"/>
                  </a:lnTo>
                  <a:cubicBezTo>
                    <a:pt x="2786380" y="1443990"/>
                    <a:pt x="2787650" y="1414780"/>
                    <a:pt x="2787650" y="1386840"/>
                  </a:cubicBezTo>
                  <a:close/>
                  <a:moveTo>
                    <a:pt x="2283460" y="321310"/>
                  </a:moveTo>
                  <a:cubicBezTo>
                    <a:pt x="2268220" y="308610"/>
                    <a:pt x="2252980" y="295910"/>
                    <a:pt x="2237740" y="284480"/>
                  </a:cubicBezTo>
                  <a:lnTo>
                    <a:pt x="284480" y="2237740"/>
                  </a:lnTo>
                  <a:cubicBezTo>
                    <a:pt x="295910" y="2252980"/>
                    <a:pt x="308610" y="2268220"/>
                    <a:pt x="321310" y="2283460"/>
                  </a:cubicBezTo>
                  <a:lnTo>
                    <a:pt x="2283460" y="321310"/>
                  </a:lnTo>
                  <a:close/>
                  <a:moveTo>
                    <a:pt x="1276350" y="5080"/>
                  </a:moveTo>
                  <a:cubicBezTo>
                    <a:pt x="1244600" y="7620"/>
                    <a:pt x="1214120" y="11430"/>
                    <a:pt x="1182370" y="16510"/>
                  </a:cubicBezTo>
                  <a:lnTo>
                    <a:pt x="16510" y="1182370"/>
                  </a:lnTo>
                  <a:cubicBezTo>
                    <a:pt x="11430" y="1214120"/>
                    <a:pt x="7620" y="1244600"/>
                    <a:pt x="5080" y="1276350"/>
                  </a:cubicBezTo>
                  <a:lnTo>
                    <a:pt x="1276350" y="5080"/>
                  </a:lnTo>
                  <a:close/>
                  <a:moveTo>
                    <a:pt x="1080770" y="35560"/>
                  </a:moveTo>
                  <a:cubicBezTo>
                    <a:pt x="1042670" y="44450"/>
                    <a:pt x="1004570" y="54610"/>
                    <a:pt x="966470" y="67310"/>
                  </a:cubicBezTo>
                  <a:lnTo>
                    <a:pt x="66040" y="966470"/>
                  </a:lnTo>
                  <a:cubicBezTo>
                    <a:pt x="54610" y="1004570"/>
                    <a:pt x="43180" y="1041400"/>
                    <a:pt x="34290" y="1080770"/>
                  </a:cubicBezTo>
                  <a:lnTo>
                    <a:pt x="1080770" y="35560"/>
                  </a:lnTo>
                  <a:close/>
                  <a:moveTo>
                    <a:pt x="1734820" y="41910"/>
                  </a:moveTo>
                  <a:cubicBezTo>
                    <a:pt x="1711960" y="36830"/>
                    <a:pt x="1690370" y="31750"/>
                    <a:pt x="1667510" y="26670"/>
                  </a:cubicBezTo>
                  <a:lnTo>
                    <a:pt x="26670" y="1667510"/>
                  </a:lnTo>
                  <a:cubicBezTo>
                    <a:pt x="31750" y="1690370"/>
                    <a:pt x="36830" y="1711960"/>
                    <a:pt x="41910" y="1734820"/>
                  </a:cubicBezTo>
                  <a:lnTo>
                    <a:pt x="1734820" y="41910"/>
                  </a:lnTo>
                  <a:close/>
                  <a:moveTo>
                    <a:pt x="2762250" y="1659890"/>
                  </a:moveTo>
                  <a:cubicBezTo>
                    <a:pt x="2768600" y="1626870"/>
                    <a:pt x="2773680" y="1595120"/>
                    <a:pt x="2777490" y="1562100"/>
                  </a:cubicBezTo>
                  <a:lnTo>
                    <a:pt x="1562100" y="2777490"/>
                  </a:lnTo>
                  <a:cubicBezTo>
                    <a:pt x="1595120" y="2773680"/>
                    <a:pt x="1628140" y="2768600"/>
                    <a:pt x="1659890" y="2762250"/>
                  </a:cubicBezTo>
                  <a:lnTo>
                    <a:pt x="2762250" y="1659890"/>
                  </a:lnTo>
                  <a:close/>
                  <a:moveTo>
                    <a:pt x="2785110" y="1306830"/>
                  </a:moveTo>
                  <a:cubicBezTo>
                    <a:pt x="2783840" y="1281430"/>
                    <a:pt x="2781300" y="1256030"/>
                    <a:pt x="2778760" y="1230630"/>
                  </a:cubicBezTo>
                  <a:lnTo>
                    <a:pt x="1230630" y="2777490"/>
                  </a:lnTo>
                  <a:cubicBezTo>
                    <a:pt x="1256030" y="2780030"/>
                    <a:pt x="1281430" y="2782570"/>
                    <a:pt x="1306830" y="2783840"/>
                  </a:cubicBezTo>
                  <a:lnTo>
                    <a:pt x="2785110" y="1306830"/>
                  </a:lnTo>
                  <a:close/>
                  <a:moveTo>
                    <a:pt x="2767330" y="1158240"/>
                  </a:moveTo>
                  <a:cubicBezTo>
                    <a:pt x="2763520" y="1135380"/>
                    <a:pt x="2758440" y="1112520"/>
                    <a:pt x="2753360" y="1089660"/>
                  </a:cubicBezTo>
                  <a:lnTo>
                    <a:pt x="1088390" y="2753360"/>
                  </a:lnTo>
                  <a:cubicBezTo>
                    <a:pt x="1111250" y="2758440"/>
                    <a:pt x="1134110" y="2763520"/>
                    <a:pt x="1156970" y="2767330"/>
                  </a:cubicBezTo>
                  <a:lnTo>
                    <a:pt x="2767330" y="1158240"/>
                  </a:lnTo>
                  <a:close/>
                  <a:moveTo>
                    <a:pt x="2369820" y="398780"/>
                  </a:moveTo>
                  <a:cubicBezTo>
                    <a:pt x="2355850" y="384810"/>
                    <a:pt x="2341880" y="372110"/>
                    <a:pt x="2327910" y="358140"/>
                  </a:cubicBezTo>
                  <a:lnTo>
                    <a:pt x="359410" y="2326640"/>
                  </a:lnTo>
                  <a:cubicBezTo>
                    <a:pt x="372110" y="2340610"/>
                    <a:pt x="386080" y="2354580"/>
                    <a:pt x="400050" y="2368550"/>
                  </a:cubicBezTo>
                  <a:lnTo>
                    <a:pt x="2369820" y="398780"/>
                  </a:lnTo>
                  <a:close/>
                  <a:moveTo>
                    <a:pt x="2451100" y="2301240"/>
                  </a:moveTo>
                  <a:cubicBezTo>
                    <a:pt x="2520950" y="2219960"/>
                    <a:pt x="2579370" y="2133600"/>
                    <a:pt x="2627630" y="2042160"/>
                  </a:cubicBezTo>
                  <a:lnTo>
                    <a:pt x="2042160" y="2627630"/>
                  </a:lnTo>
                  <a:cubicBezTo>
                    <a:pt x="2133600" y="2579370"/>
                    <a:pt x="2219960" y="2520950"/>
                    <a:pt x="2301240" y="2451100"/>
                  </a:cubicBezTo>
                  <a:lnTo>
                    <a:pt x="2451100" y="2301240"/>
                  </a:lnTo>
                  <a:close/>
                  <a:moveTo>
                    <a:pt x="2736850" y="1023620"/>
                  </a:moveTo>
                  <a:cubicBezTo>
                    <a:pt x="2730500" y="1002030"/>
                    <a:pt x="2724150" y="981710"/>
                    <a:pt x="2717800" y="960120"/>
                  </a:cubicBezTo>
                  <a:lnTo>
                    <a:pt x="960120" y="2717800"/>
                  </a:lnTo>
                  <a:cubicBezTo>
                    <a:pt x="981710" y="2724150"/>
                    <a:pt x="1002030" y="2730500"/>
                    <a:pt x="1023620" y="2736850"/>
                  </a:cubicBezTo>
                  <a:lnTo>
                    <a:pt x="2736850" y="1023620"/>
                  </a:lnTo>
                  <a:close/>
                  <a:moveTo>
                    <a:pt x="2696210" y="1892300"/>
                  </a:moveTo>
                  <a:cubicBezTo>
                    <a:pt x="2711450" y="1851660"/>
                    <a:pt x="2725420" y="1811020"/>
                    <a:pt x="2736850" y="1769110"/>
                  </a:cubicBezTo>
                  <a:lnTo>
                    <a:pt x="1769110" y="2736850"/>
                  </a:lnTo>
                  <a:cubicBezTo>
                    <a:pt x="1811020" y="2725420"/>
                    <a:pt x="1851660" y="2711450"/>
                    <a:pt x="1892300" y="2696210"/>
                  </a:cubicBezTo>
                  <a:lnTo>
                    <a:pt x="2696210" y="1892300"/>
                  </a:lnTo>
                  <a:close/>
                  <a:moveTo>
                    <a:pt x="2523490" y="576580"/>
                  </a:moveTo>
                  <a:cubicBezTo>
                    <a:pt x="2512060" y="561340"/>
                    <a:pt x="2500630" y="544830"/>
                    <a:pt x="2487930" y="529590"/>
                  </a:cubicBezTo>
                  <a:lnTo>
                    <a:pt x="529590" y="2486660"/>
                  </a:lnTo>
                  <a:cubicBezTo>
                    <a:pt x="544830" y="2499360"/>
                    <a:pt x="561340" y="2510790"/>
                    <a:pt x="576580" y="2522220"/>
                  </a:cubicBezTo>
                  <a:lnTo>
                    <a:pt x="2523490" y="576580"/>
                  </a:lnTo>
                  <a:close/>
                  <a:moveTo>
                    <a:pt x="2696210" y="899160"/>
                  </a:moveTo>
                  <a:cubicBezTo>
                    <a:pt x="2688590" y="878840"/>
                    <a:pt x="2680970" y="859790"/>
                    <a:pt x="2672080" y="840740"/>
                  </a:cubicBezTo>
                  <a:lnTo>
                    <a:pt x="839470" y="2673350"/>
                  </a:lnTo>
                  <a:cubicBezTo>
                    <a:pt x="858520" y="2682240"/>
                    <a:pt x="878840" y="2689860"/>
                    <a:pt x="897890" y="2697480"/>
                  </a:cubicBezTo>
                  <a:lnTo>
                    <a:pt x="2696210" y="899160"/>
                  </a:lnTo>
                  <a:close/>
                  <a:moveTo>
                    <a:pt x="2449830" y="483870"/>
                  </a:moveTo>
                  <a:cubicBezTo>
                    <a:pt x="2437130" y="468630"/>
                    <a:pt x="2424430" y="454660"/>
                    <a:pt x="2410460" y="440690"/>
                  </a:cubicBezTo>
                  <a:lnTo>
                    <a:pt x="440690" y="2410460"/>
                  </a:lnTo>
                  <a:cubicBezTo>
                    <a:pt x="454660" y="2424430"/>
                    <a:pt x="469900" y="2437130"/>
                    <a:pt x="483870" y="2449830"/>
                  </a:cubicBezTo>
                  <a:lnTo>
                    <a:pt x="2449830" y="483870"/>
                  </a:lnTo>
                  <a:close/>
                  <a:moveTo>
                    <a:pt x="2588260" y="675640"/>
                  </a:moveTo>
                  <a:cubicBezTo>
                    <a:pt x="2578100" y="659130"/>
                    <a:pt x="2567940" y="641350"/>
                    <a:pt x="2556510" y="624840"/>
                  </a:cubicBezTo>
                  <a:lnTo>
                    <a:pt x="624840" y="2556510"/>
                  </a:lnTo>
                  <a:cubicBezTo>
                    <a:pt x="641350" y="2567940"/>
                    <a:pt x="657860" y="2578100"/>
                    <a:pt x="675640" y="2588260"/>
                  </a:cubicBezTo>
                  <a:lnTo>
                    <a:pt x="2588260" y="675640"/>
                  </a:lnTo>
                  <a:close/>
                  <a:moveTo>
                    <a:pt x="2646680" y="783590"/>
                  </a:moveTo>
                  <a:cubicBezTo>
                    <a:pt x="2637790" y="765810"/>
                    <a:pt x="2628900" y="746760"/>
                    <a:pt x="2618740" y="728980"/>
                  </a:cubicBezTo>
                  <a:lnTo>
                    <a:pt x="728980" y="2618740"/>
                  </a:lnTo>
                  <a:cubicBezTo>
                    <a:pt x="746760" y="2628900"/>
                    <a:pt x="764540" y="2637790"/>
                    <a:pt x="783590" y="2646680"/>
                  </a:cubicBezTo>
                  <a:lnTo>
                    <a:pt x="2646680" y="783590"/>
                  </a:lnTo>
                  <a:close/>
                </a:path>
              </a:pathLst>
            </a:custGeom>
            <a:grpFill/>
          </p:spPr>
        </p:sp>
      </p:grpSp>
      <p:grpSp>
        <p:nvGrpSpPr>
          <p:cNvPr id="17" name="Group 22">
            <a:extLst>
              <a:ext uri="{FF2B5EF4-FFF2-40B4-BE49-F238E27FC236}">
                <a16:creationId xmlns:a16="http://schemas.microsoft.com/office/drawing/2014/main" id="{C7BF884C-1522-4B9A-9C96-4EE785D97CEC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3471240" y="1420009"/>
            <a:ext cx="2671963" cy="2671963"/>
            <a:chOff x="-2540" y="-2540"/>
            <a:chExt cx="6355080" cy="6355080"/>
          </a:xfrm>
          <a:solidFill>
            <a:srgbClr val="00727A"/>
          </a:solidFill>
        </p:grpSpPr>
        <p:sp>
          <p:nvSpPr>
            <p:cNvPr id="18" name="Freeform 23">
              <a:extLst>
                <a:ext uri="{FF2B5EF4-FFF2-40B4-BE49-F238E27FC236}">
                  <a16:creationId xmlns:a16="http://schemas.microsoft.com/office/drawing/2014/main" id="{2759B49A-3189-427C-B3BF-CC81D5FC39C2}"/>
                </a:ext>
              </a:extLst>
            </p:cNvPr>
            <p:cNvSpPr/>
            <p:nvPr/>
          </p:nvSpPr>
          <p:spPr>
            <a:xfrm>
              <a:off x="-2540" y="-2540"/>
              <a:ext cx="6355080" cy="6355080"/>
            </a:xfrm>
            <a:custGeom>
              <a:avLst/>
              <a:gdLst/>
              <a:ahLst/>
              <a:cxnLst/>
              <a:rect l="l" t="t" r="r" b="b"/>
              <a:pathLst>
                <a:path w="6355080" h="6355080">
                  <a:moveTo>
                    <a:pt x="3177540" y="6355080"/>
                  </a:moveTo>
                  <a:cubicBezTo>
                    <a:pt x="2329180" y="6355080"/>
                    <a:pt x="1530350" y="6024880"/>
                    <a:pt x="930910" y="5424170"/>
                  </a:cubicBezTo>
                  <a:cubicBezTo>
                    <a:pt x="330200" y="4824730"/>
                    <a:pt x="0" y="4025900"/>
                    <a:pt x="0" y="3177540"/>
                  </a:cubicBezTo>
                  <a:cubicBezTo>
                    <a:pt x="0" y="2329180"/>
                    <a:pt x="330200" y="1530350"/>
                    <a:pt x="930910" y="930910"/>
                  </a:cubicBezTo>
                  <a:cubicBezTo>
                    <a:pt x="1530350" y="330200"/>
                    <a:pt x="2329180" y="0"/>
                    <a:pt x="3177540" y="0"/>
                  </a:cubicBezTo>
                  <a:cubicBezTo>
                    <a:pt x="4025900" y="0"/>
                    <a:pt x="4824730" y="330200"/>
                    <a:pt x="5424170" y="930910"/>
                  </a:cubicBezTo>
                  <a:cubicBezTo>
                    <a:pt x="6024880" y="1531620"/>
                    <a:pt x="6355080" y="2329180"/>
                    <a:pt x="6355080" y="3177540"/>
                  </a:cubicBezTo>
                  <a:cubicBezTo>
                    <a:pt x="6355080" y="4025900"/>
                    <a:pt x="6024880" y="4824730"/>
                    <a:pt x="5424170" y="5424170"/>
                  </a:cubicBezTo>
                  <a:cubicBezTo>
                    <a:pt x="4824730" y="6024880"/>
                    <a:pt x="4025900" y="6355080"/>
                    <a:pt x="3177540" y="6355080"/>
                  </a:cubicBezTo>
                  <a:close/>
                  <a:moveTo>
                    <a:pt x="3177540" y="190500"/>
                  </a:moveTo>
                  <a:cubicBezTo>
                    <a:pt x="2379980" y="190500"/>
                    <a:pt x="1629410" y="501650"/>
                    <a:pt x="1065530" y="1065530"/>
                  </a:cubicBezTo>
                  <a:cubicBezTo>
                    <a:pt x="501650" y="1629410"/>
                    <a:pt x="190500" y="2379980"/>
                    <a:pt x="190500" y="3177540"/>
                  </a:cubicBezTo>
                  <a:cubicBezTo>
                    <a:pt x="190500" y="3975100"/>
                    <a:pt x="501650" y="4725670"/>
                    <a:pt x="1065530" y="5289550"/>
                  </a:cubicBezTo>
                  <a:cubicBezTo>
                    <a:pt x="1629410" y="5853430"/>
                    <a:pt x="2379980" y="6164580"/>
                    <a:pt x="3177540" y="6164580"/>
                  </a:cubicBezTo>
                  <a:cubicBezTo>
                    <a:pt x="3975100" y="6164580"/>
                    <a:pt x="4725670" y="5853430"/>
                    <a:pt x="5289550" y="5289550"/>
                  </a:cubicBezTo>
                  <a:cubicBezTo>
                    <a:pt x="5853430" y="4725670"/>
                    <a:pt x="6164580" y="3975100"/>
                    <a:pt x="6164580" y="3177540"/>
                  </a:cubicBezTo>
                  <a:cubicBezTo>
                    <a:pt x="6164580" y="2379980"/>
                    <a:pt x="5853430" y="1629410"/>
                    <a:pt x="5289550" y="1065530"/>
                  </a:cubicBezTo>
                  <a:cubicBezTo>
                    <a:pt x="4725670" y="501650"/>
                    <a:pt x="3975100" y="190500"/>
                    <a:pt x="3177540" y="190500"/>
                  </a:cubicBezTo>
                  <a:close/>
                </a:path>
              </a:pathLst>
            </a:custGeom>
            <a:grpFill/>
          </p:spPr>
        </p:sp>
      </p:grpSp>
      <p:sp>
        <p:nvSpPr>
          <p:cNvPr id="20" name="Titre 19">
            <a:extLst>
              <a:ext uri="{FF2B5EF4-FFF2-40B4-BE49-F238E27FC236}">
                <a16:creationId xmlns:a16="http://schemas.microsoft.com/office/drawing/2014/main" id="{8F0D2075-71A9-4988-900C-7ECFE4090A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>
            <a:normAutofit/>
          </a:bodyPr>
          <a:lstStyle>
            <a:lvl1pPr algn="ctr">
              <a:defRPr sz="4950" b="1">
                <a:solidFill>
                  <a:schemeClr val="bg1"/>
                </a:solidFill>
                <a:latin typeface="Source Sans Pro" panose="020B0503030403020204" pitchFamily="34" charset="0"/>
              </a:defRPr>
            </a:lvl1pPr>
          </a:lstStyle>
          <a:p>
            <a:r>
              <a:rPr lang="fr-FR"/>
              <a:t>PRÉSENTATEURS</a:t>
            </a:r>
          </a:p>
        </p:txBody>
      </p:sp>
    </p:spTree>
    <p:extLst>
      <p:ext uri="{BB962C8B-B14F-4D97-AF65-F5344CB8AC3E}">
        <p14:creationId xmlns:p14="http://schemas.microsoft.com/office/powerpoint/2010/main" val="3969601477"/>
      </p:ext>
    </p:extLst>
  </p:cSld>
  <p:clrMapOvr>
    <a:masterClrMapping/>
  </p:clrMapOvr>
</p:sldLayout>
</file>

<file path=ppt/slideLayouts/slideLayout5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>
            <a:extLst>
              <a:ext uri="{FF2B5EF4-FFF2-40B4-BE49-F238E27FC236}">
                <a16:creationId xmlns:a16="http://schemas.microsoft.com/office/drawing/2014/main" id="{63BECC50-3855-4193-8B9B-F96A8FFAF13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37571" y="4724401"/>
            <a:ext cx="331946" cy="331946"/>
          </a:xfrm>
          <a:prstGeom prst="rect">
            <a:avLst/>
          </a:prstGeom>
        </p:spPr>
      </p:pic>
      <p:sp>
        <p:nvSpPr>
          <p:cNvPr id="6" name="AutoShape 11">
            <a:extLst>
              <a:ext uri="{FF2B5EF4-FFF2-40B4-BE49-F238E27FC236}">
                <a16:creationId xmlns:a16="http://schemas.microsoft.com/office/drawing/2014/main" id="{BAD7EE75-9DF6-491D-B00A-E779396ED724}"/>
              </a:ext>
            </a:extLst>
          </p:cNvPr>
          <p:cNvSpPr/>
          <p:nvPr userDrawn="1"/>
        </p:nvSpPr>
        <p:spPr>
          <a:xfrm>
            <a:off x="-95250" y="-95250"/>
            <a:ext cx="9334500" cy="2257425"/>
          </a:xfrm>
          <a:prstGeom prst="rect">
            <a:avLst/>
          </a:prstGeom>
          <a:solidFill>
            <a:srgbClr val="F57A30"/>
          </a:solidFill>
        </p:spPr>
      </p:sp>
      <p:grpSp>
        <p:nvGrpSpPr>
          <p:cNvPr id="7" name="Group 12">
            <a:extLst>
              <a:ext uri="{FF2B5EF4-FFF2-40B4-BE49-F238E27FC236}">
                <a16:creationId xmlns:a16="http://schemas.microsoft.com/office/drawing/2014/main" id="{8118CFC4-F2FE-429D-AEDF-58DFE237795C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55898" y="1369596"/>
            <a:ext cx="2212606" cy="2212606"/>
            <a:chOff x="0" y="0"/>
            <a:chExt cx="2787650" cy="2787650"/>
          </a:xfrm>
          <a:solidFill>
            <a:srgbClr val="FFC8AF"/>
          </a:solidFill>
        </p:grpSpPr>
        <p:sp>
          <p:nvSpPr>
            <p:cNvPr id="8" name="Freeform 13">
              <a:extLst>
                <a:ext uri="{FF2B5EF4-FFF2-40B4-BE49-F238E27FC236}">
                  <a16:creationId xmlns:a16="http://schemas.microsoft.com/office/drawing/2014/main" id="{E1D8B17D-F267-4EE8-A47B-B8411CCDAE54}"/>
                </a:ext>
              </a:extLst>
            </p:cNvPr>
            <p:cNvSpPr/>
            <p:nvPr/>
          </p:nvSpPr>
          <p:spPr>
            <a:xfrm>
              <a:off x="0" y="0"/>
              <a:ext cx="2787650" cy="2787650"/>
            </a:xfrm>
            <a:custGeom>
              <a:avLst/>
              <a:gdLst/>
              <a:ahLst/>
              <a:cxnLst/>
              <a:rect l="l" t="t" r="r" b="b"/>
              <a:pathLst>
                <a:path w="2787650" h="2787650">
                  <a:moveTo>
                    <a:pt x="81280" y="1861820"/>
                  </a:moveTo>
                  <a:cubicBezTo>
                    <a:pt x="73660" y="1841500"/>
                    <a:pt x="67310" y="1819910"/>
                    <a:pt x="60960" y="1799590"/>
                  </a:cubicBezTo>
                  <a:lnTo>
                    <a:pt x="1800860" y="59690"/>
                  </a:lnTo>
                  <a:cubicBezTo>
                    <a:pt x="1821180" y="66040"/>
                    <a:pt x="1842770" y="72390"/>
                    <a:pt x="1863090" y="80010"/>
                  </a:cubicBezTo>
                  <a:lnTo>
                    <a:pt x="81280" y="1861820"/>
                  </a:lnTo>
                  <a:close/>
                  <a:moveTo>
                    <a:pt x="1597660" y="15240"/>
                  </a:moveTo>
                  <a:cubicBezTo>
                    <a:pt x="1573530" y="11430"/>
                    <a:pt x="1548130" y="8890"/>
                    <a:pt x="1524000" y="6350"/>
                  </a:cubicBezTo>
                  <a:lnTo>
                    <a:pt x="6350" y="1524000"/>
                  </a:lnTo>
                  <a:cubicBezTo>
                    <a:pt x="8890" y="1548130"/>
                    <a:pt x="11430" y="1573530"/>
                    <a:pt x="15240" y="1597660"/>
                  </a:cubicBezTo>
                  <a:lnTo>
                    <a:pt x="1597660" y="15240"/>
                  </a:lnTo>
                  <a:close/>
                  <a:moveTo>
                    <a:pt x="2189480" y="248920"/>
                  </a:moveTo>
                  <a:cubicBezTo>
                    <a:pt x="2172970" y="237490"/>
                    <a:pt x="2156460" y="226060"/>
                    <a:pt x="2139950" y="215900"/>
                  </a:cubicBezTo>
                  <a:lnTo>
                    <a:pt x="215900" y="2139950"/>
                  </a:lnTo>
                  <a:cubicBezTo>
                    <a:pt x="226060" y="2156460"/>
                    <a:pt x="237490" y="2172970"/>
                    <a:pt x="248920" y="2189480"/>
                  </a:cubicBezTo>
                  <a:lnTo>
                    <a:pt x="2189480" y="248920"/>
                  </a:lnTo>
                  <a:close/>
                  <a:moveTo>
                    <a:pt x="1979930" y="128270"/>
                  </a:moveTo>
                  <a:cubicBezTo>
                    <a:pt x="1960880" y="119380"/>
                    <a:pt x="1941830" y="110490"/>
                    <a:pt x="1922780" y="102870"/>
                  </a:cubicBezTo>
                  <a:lnTo>
                    <a:pt x="104140" y="1921510"/>
                  </a:lnTo>
                  <a:cubicBezTo>
                    <a:pt x="111760" y="1940560"/>
                    <a:pt x="120650" y="1959610"/>
                    <a:pt x="129540" y="1978660"/>
                  </a:cubicBezTo>
                  <a:lnTo>
                    <a:pt x="1979930" y="128270"/>
                  </a:lnTo>
                  <a:close/>
                  <a:moveTo>
                    <a:pt x="2087880" y="185420"/>
                  </a:moveTo>
                  <a:cubicBezTo>
                    <a:pt x="2070100" y="175260"/>
                    <a:pt x="2052320" y="165100"/>
                    <a:pt x="2034540" y="156210"/>
                  </a:cubicBezTo>
                  <a:lnTo>
                    <a:pt x="154940" y="2035810"/>
                  </a:lnTo>
                  <a:cubicBezTo>
                    <a:pt x="163830" y="2053590"/>
                    <a:pt x="173990" y="2071370"/>
                    <a:pt x="184150" y="2089150"/>
                  </a:cubicBezTo>
                  <a:lnTo>
                    <a:pt x="2087880" y="185420"/>
                  </a:lnTo>
                  <a:close/>
                  <a:moveTo>
                    <a:pt x="834390" y="116840"/>
                  </a:moveTo>
                  <a:cubicBezTo>
                    <a:pt x="774700" y="143510"/>
                    <a:pt x="716280" y="173990"/>
                    <a:pt x="660400" y="208280"/>
                  </a:cubicBezTo>
                  <a:lnTo>
                    <a:pt x="208280" y="660400"/>
                  </a:lnTo>
                  <a:cubicBezTo>
                    <a:pt x="172720" y="716280"/>
                    <a:pt x="142240" y="774700"/>
                    <a:pt x="116840" y="834390"/>
                  </a:cubicBezTo>
                  <a:lnTo>
                    <a:pt x="834390" y="116840"/>
                  </a:lnTo>
                  <a:close/>
                  <a:moveTo>
                    <a:pt x="1363980" y="0"/>
                  </a:moveTo>
                  <a:lnTo>
                    <a:pt x="0" y="1363980"/>
                  </a:lnTo>
                  <a:cubicBezTo>
                    <a:pt x="0" y="1391920"/>
                    <a:pt x="0" y="1418590"/>
                    <a:pt x="1270" y="1446530"/>
                  </a:cubicBezTo>
                  <a:lnTo>
                    <a:pt x="1445260" y="1270"/>
                  </a:lnTo>
                  <a:cubicBezTo>
                    <a:pt x="1418590" y="0"/>
                    <a:pt x="1390650" y="0"/>
                    <a:pt x="1363980" y="0"/>
                  </a:cubicBezTo>
                  <a:close/>
                  <a:moveTo>
                    <a:pt x="2787650" y="1386840"/>
                  </a:moveTo>
                  <a:lnTo>
                    <a:pt x="1386840" y="2787650"/>
                  </a:lnTo>
                  <a:cubicBezTo>
                    <a:pt x="1414780" y="2787650"/>
                    <a:pt x="1443990" y="2787650"/>
                    <a:pt x="1471930" y="2785110"/>
                  </a:cubicBezTo>
                  <a:lnTo>
                    <a:pt x="2785110" y="1471930"/>
                  </a:lnTo>
                  <a:cubicBezTo>
                    <a:pt x="2786380" y="1443990"/>
                    <a:pt x="2787650" y="1414780"/>
                    <a:pt x="2787650" y="1386840"/>
                  </a:cubicBezTo>
                  <a:close/>
                  <a:moveTo>
                    <a:pt x="2283460" y="321310"/>
                  </a:moveTo>
                  <a:cubicBezTo>
                    <a:pt x="2268220" y="308610"/>
                    <a:pt x="2252980" y="295910"/>
                    <a:pt x="2237740" y="284480"/>
                  </a:cubicBezTo>
                  <a:lnTo>
                    <a:pt x="284480" y="2237740"/>
                  </a:lnTo>
                  <a:cubicBezTo>
                    <a:pt x="295910" y="2252980"/>
                    <a:pt x="308610" y="2268220"/>
                    <a:pt x="321310" y="2283460"/>
                  </a:cubicBezTo>
                  <a:lnTo>
                    <a:pt x="2283460" y="321310"/>
                  </a:lnTo>
                  <a:close/>
                  <a:moveTo>
                    <a:pt x="1276350" y="5080"/>
                  </a:moveTo>
                  <a:cubicBezTo>
                    <a:pt x="1244600" y="7620"/>
                    <a:pt x="1214120" y="11430"/>
                    <a:pt x="1182370" y="16510"/>
                  </a:cubicBezTo>
                  <a:lnTo>
                    <a:pt x="16510" y="1182370"/>
                  </a:lnTo>
                  <a:cubicBezTo>
                    <a:pt x="11430" y="1214120"/>
                    <a:pt x="7620" y="1244600"/>
                    <a:pt x="5080" y="1276350"/>
                  </a:cubicBezTo>
                  <a:lnTo>
                    <a:pt x="1276350" y="5080"/>
                  </a:lnTo>
                  <a:close/>
                  <a:moveTo>
                    <a:pt x="1080770" y="35560"/>
                  </a:moveTo>
                  <a:cubicBezTo>
                    <a:pt x="1042670" y="44450"/>
                    <a:pt x="1004570" y="54610"/>
                    <a:pt x="966470" y="67310"/>
                  </a:cubicBezTo>
                  <a:lnTo>
                    <a:pt x="66040" y="966470"/>
                  </a:lnTo>
                  <a:cubicBezTo>
                    <a:pt x="54610" y="1004570"/>
                    <a:pt x="43180" y="1041400"/>
                    <a:pt x="34290" y="1080770"/>
                  </a:cubicBezTo>
                  <a:lnTo>
                    <a:pt x="1080770" y="35560"/>
                  </a:lnTo>
                  <a:close/>
                  <a:moveTo>
                    <a:pt x="1734820" y="41910"/>
                  </a:moveTo>
                  <a:cubicBezTo>
                    <a:pt x="1711960" y="36830"/>
                    <a:pt x="1690370" y="31750"/>
                    <a:pt x="1667510" y="26670"/>
                  </a:cubicBezTo>
                  <a:lnTo>
                    <a:pt x="26670" y="1667510"/>
                  </a:lnTo>
                  <a:cubicBezTo>
                    <a:pt x="31750" y="1690370"/>
                    <a:pt x="36830" y="1711960"/>
                    <a:pt x="41910" y="1734820"/>
                  </a:cubicBezTo>
                  <a:lnTo>
                    <a:pt x="1734820" y="41910"/>
                  </a:lnTo>
                  <a:close/>
                  <a:moveTo>
                    <a:pt x="2762250" y="1659890"/>
                  </a:moveTo>
                  <a:cubicBezTo>
                    <a:pt x="2768600" y="1626870"/>
                    <a:pt x="2773680" y="1595120"/>
                    <a:pt x="2777490" y="1562100"/>
                  </a:cubicBezTo>
                  <a:lnTo>
                    <a:pt x="1562100" y="2777490"/>
                  </a:lnTo>
                  <a:cubicBezTo>
                    <a:pt x="1595120" y="2773680"/>
                    <a:pt x="1628140" y="2768600"/>
                    <a:pt x="1659890" y="2762250"/>
                  </a:cubicBezTo>
                  <a:lnTo>
                    <a:pt x="2762250" y="1659890"/>
                  </a:lnTo>
                  <a:close/>
                  <a:moveTo>
                    <a:pt x="2785110" y="1306830"/>
                  </a:moveTo>
                  <a:cubicBezTo>
                    <a:pt x="2783840" y="1281430"/>
                    <a:pt x="2781300" y="1256030"/>
                    <a:pt x="2778760" y="1230630"/>
                  </a:cubicBezTo>
                  <a:lnTo>
                    <a:pt x="1230630" y="2777490"/>
                  </a:lnTo>
                  <a:cubicBezTo>
                    <a:pt x="1256030" y="2780030"/>
                    <a:pt x="1281430" y="2782570"/>
                    <a:pt x="1306830" y="2783840"/>
                  </a:cubicBezTo>
                  <a:lnTo>
                    <a:pt x="2785110" y="1306830"/>
                  </a:lnTo>
                  <a:close/>
                  <a:moveTo>
                    <a:pt x="2767330" y="1158240"/>
                  </a:moveTo>
                  <a:cubicBezTo>
                    <a:pt x="2763520" y="1135380"/>
                    <a:pt x="2758440" y="1112520"/>
                    <a:pt x="2753360" y="1089660"/>
                  </a:cubicBezTo>
                  <a:lnTo>
                    <a:pt x="1088390" y="2753360"/>
                  </a:lnTo>
                  <a:cubicBezTo>
                    <a:pt x="1111250" y="2758440"/>
                    <a:pt x="1134110" y="2763520"/>
                    <a:pt x="1156970" y="2767330"/>
                  </a:cubicBezTo>
                  <a:lnTo>
                    <a:pt x="2767330" y="1158240"/>
                  </a:lnTo>
                  <a:close/>
                  <a:moveTo>
                    <a:pt x="2369820" y="398780"/>
                  </a:moveTo>
                  <a:cubicBezTo>
                    <a:pt x="2355850" y="384810"/>
                    <a:pt x="2341880" y="372110"/>
                    <a:pt x="2327910" y="358140"/>
                  </a:cubicBezTo>
                  <a:lnTo>
                    <a:pt x="359410" y="2326640"/>
                  </a:lnTo>
                  <a:cubicBezTo>
                    <a:pt x="372110" y="2340610"/>
                    <a:pt x="386080" y="2354580"/>
                    <a:pt x="400050" y="2368550"/>
                  </a:cubicBezTo>
                  <a:lnTo>
                    <a:pt x="2369820" y="398780"/>
                  </a:lnTo>
                  <a:close/>
                  <a:moveTo>
                    <a:pt x="2451100" y="2301240"/>
                  </a:moveTo>
                  <a:cubicBezTo>
                    <a:pt x="2520950" y="2219960"/>
                    <a:pt x="2579370" y="2133600"/>
                    <a:pt x="2627630" y="2042160"/>
                  </a:cubicBezTo>
                  <a:lnTo>
                    <a:pt x="2042160" y="2627630"/>
                  </a:lnTo>
                  <a:cubicBezTo>
                    <a:pt x="2133600" y="2579370"/>
                    <a:pt x="2219960" y="2520950"/>
                    <a:pt x="2301240" y="2451100"/>
                  </a:cubicBezTo>
                  <a:lnTo>
                    <a:pt x="2451100" y="2301240"/>
                  </a:lnTo>
                  <a:close/>
                  <a:moveTo>
                    <a:pt x="2736850" y="1023620"/>
                  </a:moveTo>
                  <a:cubicBezTo>
                    <a:pt x="2730500" y="1002030"/>
                    <a:pt x="2724150" y="981710"/>
                    <a:pt x="2717800" y="960120"/>
                  </a:cubicBezTo>
                  <a:lnTo>
                    <a:pt x="960120" y="2717800"/>
                  </a:lnTo>
                  <a:cubicBezTo>
                    <a:pt x="981710" y="2724150"/>
                    <a:pt x="1002030" y="2730500"/>
                    <a:pt x="1023620" y="2736850"/>
                  </a:cubicBezTo>
                  <a:lnTo>
                    <a:pt x="2736850" y="1023620"/>
                  </a:lnTo>
                  <a:close/>
                  <a:moveTo>
                    <a:pt x="2696210" y="1892300"/>
                  </a:moveTo>
                  <a:cubicBezTo>
                    <a:pt x="2711450" y="1851660"/>
                    <a:pt x="2725420" y="1811020"/>
                    <a:pt x="2736850" y="1769110"/>
                  </a:cubicBezTo>
                  <a:lnTo>
                    <a:pt x="1769110" y="2736850"/>
                  </a:lnTo>
                  <a:cubicBezTo>
                    <a:pt x="1811020" y="2725420"/>
                    <a:pt x="1851660" y="2711450"/>
                    <a:pt x="1892300" y="2696210"/>
                  </a:cubicBezTo>
                  <a:lnTo>
                    <a:pt x="2696210" y="1892300"/>
                  </a:lnTo>
                  <a:close/>
                  <a:moveTo>
                    <a:pt x="2523490" y="576580"/>
                  </a:moveTo>
                  <a:cubicBezTo>
                    <a:pt x="2512060" y="561340"/>
                    <a:pt x="2500630" y="544830"/>
                    <a:pt x="2487930" y="529590"/>
                  </a:cubicBezTo>
                  <a:lnTo>
                    <a:pt x="529590" y="2486660"/>
                  </a:lnTo>
                  <a:cubicBezTo>
                    <a:pt x="544830" y="2499360"/>
                    <a:pt x="561340" y="2510790"/>
                    <a:pt x="576580" y="2522220"/>
                  </a:cubicBezTo>
                  <a:lnTo>
                    <a:pt x="2523490" y="576580"/>
                  </a:lnTo>
                  <a:close/>
                  <a:moveTo>
                    <a:pt x="2696210" y="899160"/>
                  </a:moveTo>
                  <a:cubicBezTo>
                    <a:pt x="2688590" y="878840"/>
                    <a:pt x="2680970" y="859790"/>
                    <a:pt x="2672080" y="840740"/>
                  </a:cubicBezTo>
                  <a:lnTo>
                    <a:pt x="839470" y="2673350"/>
                  </a:lnTo>
                  <a:cubicBezTo>
                    <a:pt x="858520" y="2682240"/>
                    <a:pt x="878840" y="2689860"/>
                    <a:pt x="897890" y="2697480"/>
                  </a:cubicBezTo>
                  <a:lnTo>
                    <a:pt x="2696210" y="899160"/>
                  </a:lnTo>
                  <a:close/>
                  <a:moveTo>
                    <a:pt x="2449830" y="483870"/>
                  </a:moveTo>
                  <a:cubicBezTo>
                    <a:pt x="2437130" y="468630"/>
                    <a:pt x="2424430" y="454660"/>
                    <a:pt x="2410460" y="440690"/>
                  </a:cubicBezTo>
                  <a:lnTo>
                    <a:pt x="440690" y="2410460"/>
                  </a:lnTo>
                  <a:cubicBezTo>
                    <a:pt x="454660" y="2424430"/>
                    <a:pt x="469900" y="2437130"/>
                    <a:pt x="483870" y="2449830"/>
                  </a:cubicBezTo>
                  <a:lnTo>
                    <a:pt x="2449830" y="483870"/>
                  </a:lnTo>
                  <a:close/>
                  <a:moveTo>
                    <a:pt x="2588260" y="675640"/>
                  </a:moveTo>
                  <a:cubicBezTo>
                    <a:pt x="2578100" y="659130"/>
                    <a:pt x="2567940" y="641350"/>
                    <a:pt x="2556510" y="624840"/>
                  </a:cubicBezTo>
                  <a:lnTo>
                    <a:pt x="624840" y="2556510"/>
                  </a:lnTo>
                  <a:cubicBezTo>
                    <a:pt x="641350" y="2567940"/>
                    <a:pt x="657860" y="2578100"/>
                    <a:pt x="675640" y="2588260"/>
                  </a:cubicBezTo>
                  <a:lnTo>
                    <a:pt x="2588260" y="675640"/>
                  </a:lnTo>
                  <a:close/>
                  <a:moveTo>
                    <a:pt x="2646680" y="783590"/>
                  </a:moveTo>
                  <a:cubicBezTo>
                    <a:pt x="2637790" y="765810"/>
                    <a:pt x="2628900" y="746760"/>
                    <a:pt x="2618740" y="728980"/>
                  </a:cubicBezTo>
                  <a:lnTo>
                    <a:pt x="728980" y="2618740"/>
                  </a:lnTo>
                  <a:cubicBezTo>
                    <a:pt x="746760" y="2628900"/>
                    <a:pt x="764540" y="2637790"/>
                    <a:pt x="783590" y="2646680"/>
                  </a:cubicBezTo>
                  <a:lnTo>
                    <a:pt x="2646680" y="783590"/>
                  </a:lnTo>
                  <a:close/>
                </a:path>
              </a:pathLst>
            </a:custGeom>
            <a:grpFill/>
          </p:spPr>
        </p:sp>
      </p:grpSp>
      <p:grpSp>
        <p:nvGrpSpPr>
          <p:cNvPr id="9" name="Group 14">
            <a:extLst>
              <a:ext uri="{FF2B5EF4-FFF2-40B4-BE49-F238E27FC236}">
                <a16:creationId xmlns:a16="http://schemas.microsoft.com/office/drawing/2014/main" id="{28CEFC40-143F-4A87-8DA4-9FCBA3CF0735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360648" y="1655346"/>
            <a:ext cx="2212606" cy="2212606"/>
            <a:chOff x="-2540" y="-2540"/>
            <a:chExt cx="6355080" cy="6355080"/>
          </a:xfrm>
          <a:solidFill>
            <a:srgbClr val="00727A"/>
          </a:solidFill>
        </p:grpSpPr>
        <p:sp>
          <p:nvSpPr>
            <p:cNvPr id="10" name="Freeform 15">
              <a:extLst>
                <a:ext uri="{FF2B5EF4-FFF2-40B4-BE49-F238E27FC236}">
                  <a16:creationId xmlns:a16="http://schemas.microsoft.com/office/drawing/2014/main" id="{0DB46C69-9216-416B-B46A-1BC7FE4E8D97}"/>
                </a:ext>
              </a:extLst>
            </p:cNvPr>
            <p:cNvSpPr/>
            <p:nvPr/>
          </p:nvSpPr>
          <p:spPr>
            <a:xfrm>
              <a:off x="-2540" y="-2540"/>
              <a:ext cx="6355080" cy="6355080"/>
            </a:xfrm>
            <a:custGeom>
              <a:avLst/>
              <a:gdLst/>
              <a:ahLst/>
              <a:cxnLst/>
              <a:rect l="l" t="t" r="r" b="b"/>
              <a:pathLst>
                <a:path w="6355080" h="6355080">
                  <a:moveTo>
                    <a:pt x="3177540" y="6355080"/>
                  </a:moveTo>
                  <a:cubicBezTo>
                    <a:pt x="2329180" y="6355080"/>
                    <a:pt x="1530350" y="6024880"/>
                    <a:pt x="930910" y="5424170"/>
                  </a:cubicBezTo>
                  <a:cubicBezTo>
                    <a:pt x="330200" y="4824730"/>
                    <a:pt x="0" y="4025900"/>
                    <a:pt x="0" y="3177540"/>
                  </a:cubicBezTo>
                  <a:cubicBezTo>
                    <a:pt x="0" y="2329180"/>
                    <a:pt x="330200" y="1530350"/>
                    <a:pt x="930910" y="930910"/>
                  </a:cubicBezTo>
                  <a:cubicBezTo>
                    <a:pt x="1530350" y="330200"/>
                    <a:pt x="2329180" y="0"/>
                    <a:pt x="3177540" y="0"/>
                  </a:cubicBezTo>
                  <a:cubicBezTo>
                    <a:pt x="4025900" y="0"/>
                    <a:pt x="4824730" y="330200"/>
                    <a:pt x="5424170" y="930910"/>
                  </a:cubicBezTo>
                  <a:cubicBezTo>
                    <a:pt x="6024880" y="1531620"/>
                    <a:pt x="6355080" y="2329180"/>
                    <a:pt x="6355080" y="3177540"/>
                  </a:cubicBezTo>
                  <a:cubicBezTo>
                    <a:pt x="6355080" y="4025900"/>
                    <a:pt x="6024880" y="4824730"/>
                    <a:pt x="5424170" y="5424170"/>
                  </a:cubicBezTo>
                  <a:cubicBezTo>
                    <a:pt x="4824730" y="6024880"/>
                    <a:pt x="4025900" y="6355080"/>
                    <a:pt x="3177540" y="6355080"/>
                  </a:cubicBezTo>
                  <a:close/>
                  <a:moveTo>
                    <a:pt x="3177540" y="190500"/>
                  </a:moveTo>
                  <a:cubicBezTo>
                    <a:pt x="2379980" y="190500"/>
                    <a:pt x="1629410" y="501650"/>
                    <a:pt x="1065530" y="1065530"/>
                  </a:cubicBezTo>
                  <a:cubicBezTo>
                    <a:pt x="501650" y="1629410"/>
                    <a:pt x="190500" y="2379980"/>
                    <a:pt x="190500" y="3177540"/>
                  </a:cubicBezTo>
                  <a:cubicBezTo>
                    <a:pt x="190500" y="3975100"/>
                    <a:pt x="501650" y="4725670"/>
                    <a:pt x="1065530" y="5289550"/>
                  </a:cubicBezTo>
                  <a:cubicBezTo>
                    <a:pt x="1629410" y="5853430"/>
                    <a:pt x="2379980" y="6164580"/>
                    <a:pt x="3177540" y="6164580"/>
                  </a:cubicBezTo>
                  <a:cubicBezTo>
                    <a:pt x="3975100" y="6164580"/>
                    <a:pt x="4725670" y="5853430"/>
                    <a:pt x="5289550" y="5289550"/>
                  </a:cubicBezTo>
                  <a:cubicBezTo>
                    <a:pt x="5853430" y="4725670"/>
                    <a:pt x="6164580" y="3975100"/>
                    <a:pt x="6164580" y="3177540"/>
                  </a:cubicBezTo>
                  <a:cubicBezTo>
                    <a:pt x="6164580" y="2379980"/>
                    <a:pt x="5853430" y="1629410"/>
                    <a:pt x="5289550" y="1065530"/>
                  </a:cubicBezTo>
                  <a:cubicBezTo>
                    <a:pt x="4725670" y="501650"/>
                    <a:pt x="3975100" y="190500"/>
                    <a:pt x="3177540" y="190500"/>
                  </a:cubicBezTo>
                  <a:close/>
                </a:path>
              </a:pathLst>
            </a:custGeom>
            <a:grpFill/>
          </p:spPr>
        </p:sp>
      </p:grpSp>
      <p:grpSp>
        <p:nvGrpSpPr>
          <p:cNvPr id="11" name="Group 16">
            <a:extLst>
              <a:ext uri="{FF2B5EF4-FFF2-40B4-BE49-F238E27FC236}">
                <a16:creationId xmlns:a16="http://schemas.microsoft.com/office/drawing/2014/main" id="{B65D3F8D-87DE-468B-99D7-52F2B0D895FB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6475497" y="1379469"/>
            <a:ext cx="2212606" cy="2212606"/>
            <a:chOff x="0" y="0"/>
            <a:chExt cx="2787650" cy="2787650"/>
          </a:xfrm>
          <a:solidFill>
            <a:srgbClr val="FFC8AF"/>
          </a:solidFill>
        </p:grpSpPr>
        <p:sp>
          <p:nvSpPr>
            <p:cNvPr id="12" name="Freeform 17">
              <a:extLst>
                <a:ext uri="{FF2B5EF4-FFF2-40B4-BE49-F238E27FC236}">
                  <a16:creationId xmlns:a16="http://schemas.microsoft.com/office/drawing/2014/main" id="{5BCCC000-DED3-40E8-9C43-583F0B35B9DF}"/>
                </a:ext>
              </a:extLst>
            </p:cNvPr>
            <p:cNvSpPr/>
            <p:nvPr/>
          </p:nvSpPr>
          <p:spPr>
            <a:xfrm>
              <a:off x="0" y="0"/>
              <a:ext cx="2787650" cy="2787650"/>
            </a:xfrm>
            <a:custGeom>
              <a:avLst/>
              <a:gdLst/>
              <a:ahLst/>
              <a:cxnLst/>
              <a:rect l="l" t="t" r="r" b="b"/>
              <a:pathLst>
                <a:path w="2787650" h="2787650">
                  <a:moveTo>
                    <a:pt x="81280" y="1861820"/>
                  </a:moveTo>
                  <a:cubicBezTo>
                    <a:pt x="73660" y="1841500"/>
                    <a:pt x="67310" y="1819910"/>
                    <a:pt x="60960" y="1799590"/>
                  </a:cubicBezTo>
                  <a:lnTo>
                    <a:pt x="1800860" y="59690"/>
                  </a:lnTo>
                  <a:cubicBezTo>
                    <a:pt x="1821180" y="66040"/>
                    <a:pt x="1842770" y="72390"/>
                    <a:pt x="1863090" y="80010"/>
                  </a:cubicBezTo>
                  <a:lnTo>
                    <a:pt x="81280" y="1861820"/>
                  </a:lnTo>
                  <a:close/>
                  <a:moveTo>
                    <a:pt x="1597660" y="15240"/>
                  </a:moveTo>
                  <a:cubicBezTo>
                    <a:pt x="1573530" y="11430"/>
                    <a:pt x="1548130" y="8890"/>
                    <a:pt x="1524000" y="6350"/>
                  </a:cubicBezTo>
                  <a:lnTo>
                    <a:pt x="6350" y="1524000"/>
                  </a:lnTo>
                  <a:cubicBezTo>
                    <a:pt x="8890" y="1548130"/>
                    <a:pt x="11430" y="1573530"/>
                    <a:pt x="15240" y="1597660"/>
                  </a:cubicBezTo>
                  <a:lnTo>
                    <a:pt x="1597660" y="15240"/>
                  </a:lnTo>
                  <a:close/>
                  <a:moveTo>
                    <a:pt x="2189480" y="248920"/>
                  </a:moveTo>
                  <a:cubicBezTo>
                    <a:pt x="2172970" y="237490"/>
                    <a:pt x="2156460" y="226060"/>
                    <a:pt x="2139950" y="215900"/>
                  </a:cubicBezTo>
                  <a:lnTo>
                    <a:pt x="215900" y="2139950"/>
                  </a:lnTo>
                  <a:cubicBezTo>
                    <a:pt x="226060" y="2156460"/>
                    <a:pt x="237490" y="2172970"/>
                    <a:pt x="248920" y="2189480"/>
                  </a:cubicBezTo>
                  <a:lnTo>
                    <a:pt x="2189480" y="248920"/>
                  </a:lnTo>
                  <a:close/>
                  <a:moveTo>
                    <a:pt x="1979930" y="128270"/>
                  </a:moveTo>
                  <a:cubicBezTo>
                    <a:pt x="1960880" y="119380"/>
                    <a:pt x="1941830" y="110490"/>
                    <a:pt x="1922780" y="102870"/>
                  </a:cubicBezTo>
                  <a:lnTo>
                    <a:pt x="104140" y="1921510"/>
                  </a:lnTo>
                  <a:cubicBezTo>
                    <a:pt x="111760" y="1940560"/>
                    <a:pt x="120650" y="1959610"/>
                    <a:pt x="129540" y="1978660"/>
                  </a:cubicBezTo>
                  <a:lnTo>
                    <a:pt x="1979930" y="128270"/>
                  </a:lnTo>
                  <a:close/>
                  <a:moveTo>
                    <a:pt x="2087880" y="185420"/>
                  </a:moveTo>
                  <a:cubicBezTo>
                    <a:pt x="2070100" y="175260"/>
                    <a:pt x="2052320" y="165100"/>
                    <a:pt x="2034540" y="156210"/>
                  </a:cubicBezTo>
                  <a:lnTo>
                    <a:pt x="154940" y="2035810"/>
                  </a:lnTo>
                  <a:cubicBezTo>
                    <a:pt x="163830" y="2053590"/>
                    <a:pt x="173990" y="2071370"/>
                    <a:pt x="184150" y="2089150"/>
                  </a:cubicBezTo>
                  <a:lnTo>
                    <a:pt x="2087880" y="185420"/>
                  </a:lnTo>
                  <a:close/>
                  <a:moveTo>
                    <a:pt x="834390" y="116840"/>
                  </a:moveTo>
                  <a:cubicBezTo>
                    <a:pt x="774700" y="143510"/>
                    <a:pt x="716280" y="173990"/>
                    <a:pt x="660400" y="208280"/>
                  </a:cubicBezTo>
                  <a:lnTo>
                    <a:pt x="208280" y="660400"/>
                  </a:lnTo>
                  <a:cubicBezTo>
                    <a:pt x="172720" y="716280"/>
                    <a:pt x="142240" y="774700"/>
                    <a:pt x="116840" y="834390"/>
                  </a:cubicBezTo>
                  <a:lnTo>
                    <a:pt x="834390" y="116840"/>
                  </a:lnTo>
                  <a:close/>
                  <a:moveTo>
                    <a:pt x="1363980" y="0"/>
                  </a:moveTo>
                  <a:lnTo>
                    <a:pt x="0" y="1363980"/>
                  </a:lnTo>
                  <a:cubicBezTo>
                    <a:pt x="0" y="1391920"/>
                    <a:pt x="0" y="1418590"/>
                    <a:pt x="1270" y="1446530"/>
                  </a:cubicBezTo>
                  <a:lnTo>
                    <a:pt x="1445260" y="1270"/>
                  </a:lnTo>
                  <a:cubicBezTo>
                    <a:pt x="1418590" y="0"/>
                    <a:pt x="1390650" y="0"/>
                    <a:pt x="1363980" y="0"/>
                  </a:cubicBezTo>
                  <a:close/>
                  <a:moveTo>
                    <a:pt x="2787650" y="1386840"/>
                  </a:moveTo>
                  <a:lnTo>
                    <a:pt x="1386840" y="2787650"/>
                  </a:lnTo>
                  <a:cubicBezTo>
                    <a:pt x="1414780" y="2787650"/>
                    <a:pt x="1443990" y="2787650"/>
                    <a:pt x="1471930" y="2785110"/>
                  </a:cubicBezTo>
                  <a:lnTo>
                    <a:pt x="2785110" y="1471930"/>
                  </a:lnTo>
                  <a:cubicBezTo>
                    <a:pt x="2786380" y="1443990"/>
                    <a:pt x="2787650" y="1414780"/>
                    <a:pt x="2787650" y="1386840"/>
                  </a:cubicBezTo>
                  <a:close/>
                  <a:moveTo>
                    <a:pt x="2283460" y="321310"/>
                  </a:moveTo>
                  <a:cubicBezTo>
                    <a:pt x="2268220" y="308610"/>
                    <a:pt x="2252980" y="295910"/>
                    <a:pt x="2237740" y="284480"/>
                  </a:cubicBezTo>
                  <a:lnTo>
                    <a:pt x="284480" y="2237740"/>
                  </a:lnTo>
                  <a:cubicBezTo>
                    <a:pt x="295910" y="2252980"/>
                    <a:pt x="308610" y="2268220"/>
                    <a:pt x="321310" y="2283460"/>
                  </a:cubicBezTo>
                  <a:lnTo>
                    <a:pt x="2283460" y="321310"/>
                  </a:lnTo>
                  <a:close/>
                  <a:moveTo>
                    <a:pt x="1276350" y="5080"/>
                  </a:moveTo>
                  <a:cubicBezTo>
                    <a:pt x="1244600" y="7620"/>
                    <a:pt x="1214120" y="11430"/>
                    <a:pt x="1182370" y="16510"/>
                  </a:cubicBezTo>
                  <a:lnTo>
                    <a:pt x="16510" y="1182370"/>
                  </a:lnTo>
                  <a:cubicBezTo>
                    <a:pt x="11430" y="1214120"/>
                    <a:pt x="7620" y="1244600"/>
                    <a:pt x="5080" y="1276350"/>
                  </a:cubicBezTo>
                  <a:lnTo>
                    <a:pt x="1276350" y="5080"/>
                  </a:lnTo>
                  <a:close/>
                  <a:moveTo>
                    <a:pt x="1080770" y="35560"/>
                  </a:moveTo>
                  <a:cubicBezTo>
                    <a:pt x="1042670" y="44450"/>
                    <a:pt x="1004570" y="54610"/>
                    <a:pt x="966470" y="67310"/>
                  </a:cubicBezTo>
                  <a:lnTo>
                    <a:pt x="66040" y="966470"/>
                  </a:lnTo>
                  <a:cubicBezTo>
                    <a:pt x="54610" y="1004570"/>
                    <a:pt x="43180" y="1041400"/>
                    <a:pt x="34290" y="1080770"/>
                  </a:cubicBezTo>
                  <a:lnTo>
                    <a:pt x="1080770" y="35560"/>
                  </a:lnTo>
                  <a:close/>
                  <a:moveTo>
                    <a:pt x="1734820" y="41910"/>
                  </a:moveTo>
                  <a:cubicBezTo>
                    <a:pt x="1711960" y="36830"/>
                    <a:pt x="1690370" y="31750"/>
                    <a:pt x="1667510" y="26670"/>
                  </a:cubicBezTo>
                  <a:lnTo>
                    <a:pt x="26670" y="1667510"/>
                  </a:lnTo>
                  <a:cubicBezTo>
                    <a:pt x="31750" y="1690370"/>
                    <a:pt x="36830" y="1711960"/>
                    <a:pt x="41910" y="1734820"/>
                  </a:cubicBezTo>
                  <a:lnTo>
                    <a:pt x="1734820" y="41910"/>
                  </a:lnTo>
                  <a:close/>
                  <a:moveTo>
                    <a:pt x="2762250" y="1659890"/>
                  </a:moveTo>
                  <a:cubicBezTo>
                    <a:pt x="2768600" y="1626870"/>
                    <a:pt x="2773680" y="1595120"/>
                    <a:pt x="2777490" y="1562100"/>
                  </a:cubicBezTo>
                  <a:lnTo>
                    <a:pt x="1562100" y="2777490"/>
                  </a:lnTo>
                  <a:cubicBezTo>
                    <a:pt x="1595120" y="2773680"/>
                    <a:pt x="1628140" y="2768600"/>
                    <a:pt x="1659890" y="2762250"/>
                  </a:cubicBezTo>
                  <a:lnTo>
                    <a:pt x="2762250" y="1659890"/>
                  </a:lnTo>
                  <a:close/>
                  <a:moveTo>
                    <a:pt x="2785110" y="1306830"/>
                  </a:moveTo>
                  <a:cubicBezTo>
                    <a:pt x="2783840" y="1281430"/>
                    <a:pt x="2781300" y="1256030"/>
                    <a:pt x="2778760" y="1230630"/>
                  </a:cubicBezTo>
                  <a:lnTo>
                    <a:pt x="1230630" y="2777490"/>
                  </a:lnTo>
                  <a:cubicBezTo>
                    <a:pt x="1256030" y="2780030"/>
                    <a:pt x="1281430" y="2782570"/>
                    <a:pt x="1306830" y="2783840"/>
                  </a:cubicBezTo>
                  <a:lnTo>
                    <a:pt x="2785110" y="1306830"/>
                  </a:lnTo>
                  <a:close/>
                  <a:moveTo>
                    <a:pt x="2767330" y="1158240"/>
                  </a:moveTo>
                  <a:cubicBezTo>
                    <a:pt x="2763520" y="1135380"/>
                    <a:pt x="2758440" y="1112520"/>
                    <a:pt x="2753360" y="1089660"/>
                  </a:cubicBezTo>
                  <a:lnTo>
                    <a:pt x="1088390" y="2753360"/>
                  </a:lnTo>
                  <a:cubicBezTo>
                    <a:pt x="1111250" y="2758440"/>
                    <a:pt x="1134110" y="2763520"/>
                    <a:pt x="1156970" y="2767330"/>
                  </a:cubicBezTo>
                  <a:lnTo>
                    <a:pt x="2767330" y="1158240"/>
                  </a:lnTo>
                  <a:close/>
                  <a:moveTo>
                    <a:pt x="2369820" y="398780"/>
                  </a:moveTo>
                  <a:cubicBezTo>
                    <a:pt x="2355850" y="384810"/>
                    <a:pt x="2341880" y="372110"/>
                    <a:pt x="2327910" y="358140"/>
                  </a:cubicBezTo>
                  <a:lnTo>
                    <a:pt x="359410" y="2326640"/>
                  </a:lnTo>
                  <a:cubicBezTo>
                    <a:pt x="372110" y="2340610"/>
                    <a:pt x="386080" y="2354580"/>
                    <a:pt x="400050" y="2368550"/>
                  </a:cubicBezTo>
                  <a:lnTo>
                    <a:pt x="2369820" y="398780"/>
                  </a:lnTo>
                  <a:close/>
                  <a:moveTo>
                    <a:pt x="2451100" y="2301240"/>
                  </a:moveTo>
                  <a:cubicBezTo>
                    <a:pt x="2520950" y="2219960"/>
                    <a:pt x="2579370" y="2133600"/>
                    <a:pt x="2627630" y="2042160"/>
                  </a:cubicBezTo>
                  <a:lnTo>
                    <a:pt x="2042160" y="2627630"/>
                  </a:lnTo>
                  <a:cubicBezTo>
                    <a:pt x="2133600" y="2579370"/>
                    <a:pt x="2219960" y="2520950"/>
                    <a:pt x="2301240" y="2451100"/>
                  </a:cubicBezTo>
                  <a:lnTo>
                    <a:pt x="2451100" y="2301240"/>
                  </a:lnTo>
                  <a:close/>
                  <a:moveTo>
                    <a:pt x="2736850" y="1023620"/>
                  </a:moveTo>
                  <a:cubicBezTo>
                    <a:pt x="2730500" y="1002030"/>
                    <a:pt x="2724150" y="981710"/>
                    <a:pt x="2717800" y="960120"/>
                  </a:cubicBezTo>
                  <a:lnTo>
                    <a:pt x="960120" y="2717800"/>
                  </a:lnTo>
                  <a:cubicBezTo>
                    <a:pt x="981710" y="2724150"/>
                    <a:pt x="1002030" y="2730500"/>
                    <a:pt x="1023620" y="2736850"/>
                  </a:cubicBezTo>
                  <a:lnTo>
                    <a:pt x="2736850" y="1023620"/>
                  </a:lnTo>
                  <a:close/>
                  <a:moveTo>
                    <a:pt x="2696210" y="1892300"/>
                  </a:moveTo>
                  <a:cubicBezTo>
                    <a:pt x="2711450" y="1851660"/>
                    <a:pt x="2725420" y="1811020"/>
                    <a:pt x="2736850" y="1769110"/>
                  </a:cubicBezTo>
                  <a:lnTo>
                    <a:pt x="1769110" y="2736850"/>
                  </a:lnTo>
                  <a:cubicBezTo>
                    <a:pt x="1811020" y="2725420"/>
                    <a:pt x="1851660" y="2711450"/>
                    <a:pt x="1892300" y="2696210"/>
                  </a:cubicBezTo>
                  <a:lnTo>
                    <a:pt x="2696210" y="1892300"/>
                  </a:lnTo>
                  <a:close/>
                  <a:moveTo>
                    <a:pt x="2523490" y="576580"/>
                  </a:moveTo>
                  <a:cubicBezTo>
                    <a:pt x="2512060" y="561340"/>
                    <a:pt x="2500630" y="544830"/>
                    <a:pt x="2487930" y="529590"/>
                  </a:cubicBezTo>
                  <a:lnTo>
                    <a:pt x="529590" y="2486660"/>
                  </a:lnTo>
                  <a:cubicBezTo>
                    <a:pt x="544830" y="2499360"/>
                    <a:pt x="561340" y="2510790"/>
                    <a:pt x="576580" y="2522220"/>
                  </a:cubicBezTo>
                  <a:lnTo>
                    <a:pt x="2523490" y="576580"/>
                  </a:lnTo>
                  <a:close/>
                  <a:moveTo>
                    <a:pt x="2696210" y="899160"/>
                  </a:moveTo>
                  <a:cubicBezTo>
                    <a:pt x="2688590" y="878840"/>
                    <a:pt x="2680970" y="859790"/>
                    <a:pt x="2672080" y="840740"/>
                  </a:cubicBezTo>
                  <a:lnTo>
                    <a:pt x="839470" y="2673350"/>
                  </a:lnTo>
                  <a:cubicBezTo>
                    <a:pt x="858520" y="2682240"/>
                    <a:pt x="878840" y="2689860"/>
                    <a:pt x="897890" y="2697480"/>
                  </a:cubicBezTo>
                  <a:lnTo>
                    <a:pt x="2696210" y="899160"/>
                  </a:lnTo>
                  <a:close/>
                  <a:moveTo>
                    <a:pt x="2449830" y="483870"/>
                  </a:moveTo>
                  <a:cubicBezTo>
                    <a:pt x="2437130" y="468630"/>
                    <a:pt x="2424430" y="454660"/>
                    <a:pt x="2410460" y="440690"/>
                  </a:cubicBezTo>
                  <a:lnTo>
                    <a:pt x="440690" y="2410460"/>
                  </a:lnTo>
                  <a:cubicBezTo>
                    <a:pt x="454660" y="2424430"/>
                    <a:pt x="469900" y="2437130"/>
                    <a:pt x="483870" y="2449830"/>
                  </a:cubicBezTo>
                  <a:lnTo>
                    <a:pt x="2449830" y="483870"/>
                  </a:lnTo>
                  <a:close/>
                  <a:moveTo>
                    <a:pt x="2588260" y="675640"/>
                  </a:moveTo>
                  <a:cubicBezTo>
                    <a:pt x="2578100" y="659130"/>
                    <a:pt x="2567940" y="641350"/>
                    <a:pt x="2556510" y="624840"/>
                  </a:cubicBezTo>
                  <a:lnTo>
                    <a:pt x="624840" y="2556510"/>
                  </a:lnTo>
                  <a:cubicBezTo>
                    <a:pt x="641350" y="2567940"/>
                    <a:pt x="657860" y="2578100"/>
                    <a:pt x="675640" y="2588260"/>
                  </a:cubicBezTo>
                  <a:lnTo>
                    <a:pt x="2588260" y="675640"/>
                  </a:lnTo>
                  <a:close/>
                  <a:moveTo>
                    <a:pt x="2646680" y="783590"/>
                  </a:moveTo>
                  <a:cubicBezTo>
                    <a:pt x="2637790" y="765810"/>
                    <a:pt x="2628900" y="746760"/>
                    <a:pt x="2618740" y="728980"/>
                  </a:cubicBezTo>
                  <a:lnTo>
                    <a:pt x="728980" y="2618740"/>
                  </a:lnTo>
                  <a:cubicBezTo>
                    <a:pt x="746760" y="2628900"/>
                    <a:pt x="764540" y="2637790"/>
                    <a:pt x="783590" y="2646680"/>
                  </a:cubicBezTo>
                  <a:lnTo>
                    <a:pt x="2646680" y="783590"/>
                  </a:lnTo>
                  <a:close/>
                </a:path>
              </a:pathLst>
            </a:custGeom>
            <a:grpFill/>
          </p:spPr>
        </p:sp>
      </p:grpSp>
      <p:grpSp>
        <p:nvGrpSpPr>
          <p:cNvPr id="13" name="Group 18">
            <a:extLst>
              <a:ext uri="{FF2B5EF4-FFF2-40B4-BE49-F238E27FC236}">
                <a16:creationId xmlns:a16="http://schemas.microsoft.com/office/drawing/2014/main" id="{561A602B-14FF-4E46-A5E9-521DF2839A20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6665997" y="1569969"/>
            <a:ext cx="2212606" cy="2212606"/>
            <a:chOff x="-2540" y="-2540"/>
            <a:chExt cx="6355080" cy="6355080"/>
          </a:xfrm>
          <a:solidFill>
            <a:srgbClr val="00727A"/>
          </a:solidFill>
        </p:grpSpPr>
        <p:sp>
          <p:nvSpPr>
            <p:cNvPr id="14" name="Freeform 19">
              <a:extLst>
                <a:ext uri="{FF2B5EF4-FFF2-40B4-BE49-F238E27FC236}">
                  <a16:creationId xmlns:a16="http://schemas.microsoft.com/office/drawing/2014/main" id="{BF75DE21-C909-4ACE-BAC3-804C316A901C}"/>
                </a:ext>
              </a:extLst>
            </p:cNvPr>
            <p:cNvSpPr/>
            <p:nvPr/>
          </p:nvSpPr>
          <p:spPr>
            <a:xfrm>
              <a:off x="-2540" y="-2540"/>
              <a:ext cx="6355080" cy="6355080"/>
            </a:xfrm>
            <a:custGeom>
              <a:avLst/>
              <a:gdLst/>
              <a:ahLst/>
              <a:cxnLst/>
              <a:rect l="l" t="t" r="r" b="b"/>
              <a:pathLst>
                <a:path w="6355080" h="6355080">
                  <a:moveTo>
                    <a:pt x="3177540" y="6355080"/>
                  </a:moveTo>
                  <a:cubicBezTo>
                    <a:pt x="2329180" y="6355080"/>
                    <a:pt x="1530350" y="6024880"/>
                    <a:pt x="930910" y="5424170"/>
                  </a:cubicBezTo>
                  <a:cubicBezTo>
                    <a:pt x="330200" y="4824730"/>
                    <a:pt x="0" y="4025900"/>
                    <a:pt x="0" y="3177540"/>
                  </a:cubicBezTo>
                  <a:cubicBezTo>
                    <a:pt x="0" y="2329180"/>
                    <a:pt x="330200" y="1530350"/>
                    <a:pt x="930910" y="930910"/>
                  </a:cubicBezTo>
                  <a:cubicBezTo>
                    <a:pt x="1530350" y="330200"/>
                    <a:pt x="2329180" y="0"/>
                    <a:pt x="3177540" y="0"/>
                  </a:cubicBezTo>
                  <a:cubicBezTo>
                    <a:pt x="4025900" y="0"/>
                    <a:pt x="4824730" y="330200"/>
                    <a:pt x="5424170" y="930910"/>
                  </a:cubicBezTo>
                  <a:cubicBezTo>
                    <a:pt x="6024880" y="1531620"/>
                    <a:pt x="6355080" y="2329180"/>
                    <a:pt x="6355080" y="3177540"/>
                  </a:cubicBezTo>
                  <a:cubicBezTo>
                    <a:pt x="6355080" y="4025900"/>
                    <a:pt x="6024880" y="4824730"/>
                    <a:pt x="5424170" y="5424170"/>
                  </a:cubicBezTo>
                  <a:cubicBezTo>
                    <a:pt x="4824730" y="6024880"/>
                    <a:pt x="4025900" y="6355080"/>
                    <a:pt x="3177540" y="6355080"/>
                  </a:cubicBezTo>
                  <a:close/>
                  <a:moveTo>
                    <a:pt x="3177540" y="190500"/>
                  </a:moveTo>
                  <a:cubicBezTo>
                    <a:pt x="2379980" y="190500"/>
                    <a:pt x="1629410" y="501650"/>
                    <a:pt x="1065530" y="1065530"/>
                  </a:cubicBezTo>
                  <a:cubicBezTo>
                    <a:pt x="501650" y="1629410"/>
                    <a:pt x="190500" y="2379980"/>
                    <a:pt x="190500" y="3177540"/>
                  </a:cubicBezTo>
                  <a:cubicBezTo>
                    <a:pt x="190500" y="3975100"/>
                    <a:pt x="501650" y="4725670"/>
                    <a:pt x="1065530" y="5289550"/>
                  </a:cubicBezTo>
                  <a:cubicBezTo>
                    <a:pt x="1629410" y="5853430"/>
                    <a:pt x="2379980" y="6164580"/>
                    <a:pt x="3177540" y="6164580"/>
                  </a:cubicBezTo>
                  <a:cubicBezTo>
                    <a:pt x="3975100" y="6164580"/>
                    <a:pt x="4725670" y="5853430"/>
                    <a:pt x="5289550" y="5289550"/>
                  </a:cubicBezTo>
                  <a:cubicBezTo>
                    <a:pt x="5853430" y="4725670"/>
                    <a:pt x="6164580" y="3975100"/>
                    <a:pt x="6164580" y="3177540"/>
                  </a:cubicBezTo>
                  <a:cubicBezTo>
                    <a:pt x="6164580" y="2379980"/>
                    <a:pt x="5853430" y="1629410"/>
                    <a:pt x="5289550" y="1065530"/>
                  </a:cubicBezTo>
                  <a:cubicBezTo>
                    <a:pt x="4725670" y="501650"/>
                    <a:pt x="3975100" y="190500"/>
                    <a:pt x="3177540" y="190500"/>
                  </a:cubicBezTo>
                  <a:close/>
                </a:path>
              </a:pathLst>
            </a:custGeom>
            <a:grpFill/>
          </p:spPr>
        </p:sp>
      </p:grpSp>
      <p:grpSp>
        <p:nvGrpSpPr>
          <p:cNvPr id="15" name="Group 20">
            <a:extLst>
              <a:ext uri="{FF2B5EF4-FFF2-40B4-BE49-F238E27FC236}">
                <a16:creationId xmlns:a16="http://schemas.microsoft.com/office/drawing/2014/main" id="{022923EA-EC00-40FA-BED2-E7DC8D2C4925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3105930" y="1420009"/>
            <a:ext cx="2671963" cy="2671963"/>
            <a:chOff x="0" y="0"/>
            <a:chExt cx="2787650" cy="2787650"/>
          </a:xfrm>
          <a:solidFill>
            <a:srgbClr val="FFC8AF"/>
          </a:solidFill>
        </p:grpSpPr>
        <p:sp>
          <p:nvSpPr>
            <p:cNvPr id="16" name="Freeform 21">
              <a:extLst>
                <a:ext uri="{FF2B5EF4-FFF2-40B4-BE49-F238E27FC236}">
                  <a16:creationId xmlns:a16="http://schemas.microsoft.com/office/drawing/2014/main" id="{CCB56146-1B2C-4F11-A9C0-BAD6EC32C427}"/>
                </a:ext>
              </a:extLst>
            </p:cNvPr>
            <p:cNvSpPr/>
            <p:nvPr/>
          </p:nvSpPr>
          <p:spPr>
            <a:xfrm>
              <a:off x="0" y="0"/>
              <a:ext cx="2787650" cy="2787650"/>
            </a:xfrm>
            <a:custGeom>
              <a:avLst/>
              <a:gdLst/>
              <a:ahLst/>
              <a:cxnLst/>
              <a:rect l="l" t="t" r="r" b="b"/>
              <a:pathLst>
                <a:path w="2787650" h="2787650">
                  <a:moveTo>
                    <a:pt x="81280" y="1861820"/>
                  </a:moveTo>
                  <a:cubicBezTo>
                    <a:pt x="73660" y="1841500"/>
                    <a:pt x="67310" y="1819910"/>
                    <a:pt x="60960" y="1799590"/>
                  </a:cubicBezTo>
                  <a:lnTo>
                    <a:pt x="1800860" y="59690"/>
                  </a:lnTo>
                  <a:cubicBezTo>
                    <a:pt x="1821180" y="66040"/>
                    <a:pt x="1842770" y="72390"/>
                    <a:pt x="1863090" y="80010"/>
                  </a:cubicBezTo>
                  <a:lnTo>
                    <a:pt x="81280" y="1861820"/>
                  </a:lnTo>
                  <a:close/>
                  <a:moveTo>
                    <a:pt x="1597660" y="15240"/>
                  </a:moveTo>
                  <a:cubicBezTo>
                    <a:pt x="1573530" y="11430"/>
                    <a:pt x="1548130" y="8890"/>
                    <a:pt x="1524000" y="6350"/>
                  </a:cubicBezTo>
                  <a:lnTo>
                    <a:pt x="6350" y="1524000"/>
                  </a:lnTo>
                  <a:cubicBezTo>
                    <a:pt x="8890" y="1548130"/>
                    <a:pt x="11430" y="1573530"/>
                    <a:pt x="15240" y="1597660"/>
                  </a:cubicBezTo>
                  <a:lnTo>
                    <a:pt x="1597660" y="15240"/>
                  </a:lnTo>
                  <a:close/>
                  <a:moveTo>
                    <a:pt x="2189480" y="248920"/>
                  </a:moveTo>
                  <a:cubicBezTo>
                    <a:pt x="2172970" y="237490"/>
                    <a:pt x="2156460" y="226060"/>
                    <a:pt x="2139950" y="215900"/>
                  </a:cubicBezTo>
                  <a:lnTo>
                    <a:pt x="215900" y="2139950"/>
                  </a:lnTo>
                  <a:cubicBezTo>
                    <a:pt x="226060" y="2156460"/>
                    <a:pt x="237490" y="2172970"/>
                    <a:pt x="248920" y="2189480"/>
                  </a:cubicBezTo>
                  <a:lnTo>
                    <a:pt x="2189480" y="248920"/>
                  </a:lnTo>
                  <a:close/>
                  <a:moveTo>
                    <a:pt x="1979930" y="128270"/>
                  </a:moveTo>
                  <a:cubicBezTo>
                    <a:pt x="1960880" y="119380"/>
                    <a:pt x="1941830" y="110490"/>
                    <a:pt x="1922780" y="102870"/>
                  </a:cubicBezTo>
                  <a:lnTo>
                    <a:pt x="104140" y="1921510"/>
                  </a:lnTo>
                  <a:cubicBezTo>
                    <a:pt x="111760" y="1940560"/>
                    <a:pt x="120650" y="1959610"/>
                    <a:pt x="129540" y="1978660"/>
                  </a:cubicBezTo>
                  <a:lnTo>
                    <a:pt x="1979930" y="128270"/>
                  </a:lnTo>
                  <a:close/>
                  <a:moveTo>
                    <a:pt x="2087880" y="185420"/>
                  </a:moveTo>
                  <a:cubicBezTo>
                    <a:pt x="2070100" y="175260"/>
                    <a:pt x="2052320" y="165100"/>
                    <a:pt x="2034540" y="156210"/>
                  </a:cubicBezTo>
                  <a:lnTo>
                    <a:pt x="154940" y="2035810"/>
                  </a:lnTo>
                  <a:cubicBezTo>
                    <a:pt x="163830" y="2053590"/>
                    <a:pt x="173990" y="2071370"/>
                    <a:pt x="184150" y="2089150"/>
                  </a:cubicBezTo>
                  <a:lnTo>
                    <a:pt x="2087880" y="185420"/>
                  </a:lnTo>
                  <a:close/>
                  <a:moveTo>
                    <a:pt x="834390" y="116840"/>
                  </a:moveTo>
                  <a:cubicBezTo>
                    <a:pt x="774700" y="143510"/>
                    <a:pt x="716280" y="173990"/>
                    <a:pt x="660400" y="208280"/>
                  </a:cubicBezTo>
                  <a:lnTo>
                    <a:pt x="208280" y="660400"/>
                  </a:lnTo>
                  <a:cubicBezTo>
                    <a:pt x="172720" y="716280"/>
                    <a:pt x="142240" y="774700"/>
                    <a:pt x="116840" y="834390"/>
                  </a:cubicBezTo>
                  <a:lnTo>
                    <a:pt x="834390" y="116840"/>
                  </a:lnTo>
                  <a:close/>
                  <a:moveTo>
                    <a:pt x="1363980" y="0"/>
                  </a:moveTo>
                  <a:lnTo>
                    <a:pt x="0" y="1363980"/>
                  </a:lnTo>
                  <a:cubicBezTo>
                    <a:pt x="0" y="1391920"/>
                    <a:pt x="0" y="1418590"/>
                    <a:pt x="1270" y="1446530"/>
                  </a:cubicBezTo>
                  <a:lnTo>
                    <a:pt x="1445260" y="1270"/>
                  </a:lnTo>
                  <a:cubicBezTo>
                    <a:pt x="1418590" y="0"/>
                    <a:pt x="1390650" y="0"/>
                    <a:pt x="1363980" y="0"/>
                  </a:cubicBezTo>
                  <a:close/>
                  <a:moveTo>
                    <a:pt x="2787650" y="1386840"/>
                  </a:moveTo>
                  <a:lnTo>
                    <a:pt x="1386840" y="2787650"/>
                  </a:lnTo>
                  <a:cubicBezTo>
                    <a:pt x="1414780" y="2787650"/>
                    <a:pt x="1443990" y="2787650"/>
                    <a:pt x="1471930" y="2785110"/>
                  </a:cubicBezTo>
                  <a:lnTo>
                    <a:pt x="2785110" y="1471930"/>
                  </a:lnTo>
                  <a:cubicBezTo>
                    <a:pt x="2786380" y="1443990"/>
                    <a:pt x="2787650" y="1414780"/>
                    <a:pt x="2787650" y="1386840"/>
                  </a:cubicBezTo>
                  <a:close/>
                  <a:moveTo>
                    <a:pt x="2283460" y="321310"/>
                  </a:moveTo>
                  <a:cubicBezTo>
                    <a:pt x="2268220" y="308610"/>
                    <a:pt x="2252980" y="295910"/>
                    <a:pt x="2237740" y="284480"/>
                  </a:cubicBezTo>
                  <a:lnTo>
                    <a:pt x="284480" y="2237740"/>
                  </a:lnTo>
                  <a:cubicBezTo>
                    <a:pt x="295910" y="2252980"/>
                    <a:pt x="308610" y="2268220"/>
                    <a:pt x="321310" y="2283460"/>
                  </a:cubicBezTo>
                  <a:lnTo>
                    <a:pt x="2283460" y="321310"/>
                  </a:lnTo>
                  <a:close/>
                  <a:moveTo>
                    <a:pt x="1276350" y="5080"/>
                  </a:moveTo>
                  <a:cubicBezTo>
                    <a:pt x="1244600" y="7620"/>
                    <a:pt x="1214120" y="11430"/>
                    <a:pt x="1182370" y="16510"/>
                  </a:cubicBezTo>
                  <a:lnTo>
                    <a:pt x="16510" y="1182370"/>
                  </a:lnTo>
                  <a:cubicBezTo>
                    <a:pt x="11430" y="1214120"/>
                    <a:pt x="7620" y="1244600"/>
                    <a:pt x="5080" y="1276350"/>
                  </a:cubicBezTo>
                  <a:lnTo>
                    <a:pt x="1276350" y="5080"/>
                  </a:lnTo>
                  <a:close/>
                  <a:moveTo>
                    <a:pt x="1080770" y="35560"/>
                  </a:moveTo>
                  <a:cubicBezTo>
                    <a:pt x="1042670" y="44450"/>
                    <a:pt x="1004570" y="54610"/>
                    <a:pt x="966470" y="67310"/>
                  </a:cubicBezTo>
                  <a:lnTo>
                    <a:pt x="66040" y="966470"/>
                  </a:lnTo>
                  <a:cubicBezTo>
                    <a:pt x="54610" y="1004570"/>
                    <a:pt x="43180" y="1041400"/>
                    <a:pt x="34290" y="1080770"/>
                  </a:cubicBezTo>
                  <a:lnTo>
                    <a:pt x="1080770" y="35560"/>
                  </a:lnTo>
                  <a:close/>
                  <a:moveTo>
                    <a:pt x="1734820" y="41910"/>
                  </a:moveTo>
                  <a:cubicBezTo>
                    <a:pt x="1711960" y="36830"/>
                    <a:pt x="1690370" y="31750"/>
                    <a:pt x="1667510" y="26670"/>
                  </a:cubicBezTo>
                  <a:lnTo>
                    <a:pt x="26670" y="1667510"/>
                  </a:lnTo>
                  <a:cubicBezTo>
                    <a:pt x="31750" y="1690370"/>
                    <a:pt x="36830" y="1711960"/>
                    <a:pt x="41910" y="1734820"/>
                  </a:cubicBezTo>
                  <a:lnTo>
                    <a:pt x="1734820" y="41910"/>
                  </a:lnTo>
                  <a:close/>
                  <a:moveTo>
                    <a:pt x="2762250" y="1659890"/>
                  </a:moveTo>
                  <a:cubicBezTo>
                    <a:pt x="2768600" y="1626870"/>
                    <a:pt x="2773680" y="1595120"/>
                    <a:pt x="2777490" y="1562100"/>
                  </a:cubicBezTo>
                  <a:lnTo>
                    <a:pt x="1562100" y="2777490"/>
                  </a:lnTo>
                  <a:cubicBezTo>
                    <a:pt x="1595120" y="2773680"/>
                    <a:pt x="1628140" y="2768600"/>
                    <a:pt x="1659890" y="2762250"/>
                  </a:cubicBezTo>
                  <a:lnTo>
                    <a:pt x="2762250" y="1659890"/>
                  </a:lnTo>
                  <a:close/>
                  <a:moveTo>
                    <a:pt x="2785110" y="1306830"/>
                  </a:moveTo>
                  <a:cubicBezTo>
                    <a:pt x="2783840" y="1281430"/>
                    <a:pt x="2781300" y="1256030"/>
                    <a:pt x="2778760" y="1230630"/>
                  </a:cubicBezTo>
                  <a:lnTo>
                    <a:pt x="1230630" y="2777490"/>
                  </a:lnTo>
                  <a:cubicBezTo>
                    <a:pt x="1256030" y="2780030"/>
                    <a:pt x="1281430" y="2782570"/>
                    <a:pt x="1306830" y="2783840"/>
                  </a:cubicBezTo>
                  <a:lnTo>
                    <a:pt x="2785110" y="1306830"/>
                  </a:lnTo>
                  <a:close/>
                  <a:moveTo>
                    <a:pt x="2767330" y="1158240"/>
                  </a:moveTo>
                  <a:cubicBezTo>
                    <a:pt x="2763520" y="1135380"/>
                    <a:pt x="2758440" y="1112520"/>
                    <a:pt x="2753360" y="1089660"/>
                  </a:cubicBezTo>
                  <a:lnTo>
                    <a:pt x="1088390" y="2753360"/>
                  </a:lnTo>
                  <a:cubicBezTo>
                    <a:pt x="1111250" y="2758440"/>
                    <a:pt x="1134110" y="2763520"/>
                    <a:pt x="1156970" y="2767330"/>
                  </a:cubicBezTo>
                  <a:lnTo>
                    <a:pt x="2767330" y="1158240"/>
                  </a:lnTo>
                  <a:close/>
                  <a:moveTo>
                    <a:pt x="2369820" y="398780"/>
                  </a:moveTo>
                  <a:cubicBezTo>
                    <a:pt x="2355850" y="384810"/>
                    <a:pt x="2341880" y="372110"/>
                    <a:pt x="2327910" y="358140"/>
                  </a:cubicBezTo>
                  <a:lnTo>
                    <a:pt x="359410" y="2326640"/>
                  </a:lnTo>
                  <a:cubicBezTo>
                    <a:pt x="372110" y="2340610"/>
                    <a:pt x="386080" y="2354580"/>
                    <a:pt x="400050" y="2368550"/>
                  </a:cubicBezTo>
                  <a:lnTo>
                    <a:pt x="2369820" y="398780"/>
                  </a:lnTo>
                  <a:close/>
                  <a:moveTo>
                    <a:pt x="2451100" y="2301240"/>
                  </a:moveTo>
                  <a:cubicBezTo>
                    <a:pt x="2520950" y="2219960"/>
                    <a:pt x="2579370" y="2133600"/>
                    <a:pt x="2627630" y="2042160"/>
                  </a:cubicBezTo>
                  <a:lnTo>
                    <a:pt x="2042160" y="2627630"/>
                  </a:lnTo>
                  <a:cubicBezTo>
                    <a:pt x="2133600" y="2579370"/>
                    <a:pt x="2219960" y="2520950"/>
                    <a:pt x="2301240" y="2451100"/>
                  </a:cubicBezTo>
                  <a:lnTo>
                    <a:pt x="2451100" y="2301240"/>
                  </a:lnTo>
                  <a:close/>
                  <a:moveTo>
                    <a:pt x="2736850" y="1023620"/>
                  </a:moveTo>
                  <a:cubicBezTo>
                    <a:pt x="2730500" y="1002030"/>
                    <a:pt x="2724150" y="981710"/>
                    <a:pt x="2717800" y="960120"/>
                  </a:cubicBezTo>
                  <a:lnTo>
                    <a:pt x="960120" y="2717800"/>
                  </a:lnTo>
                  <a:cubicBezTo>
                    <a:pt x="981710" y="2724150"/>
                    <a:pt x="1002030" y="2730500"/>
                    <a:pt x="1023620" y="2736850"/>
                  </a:cubicBezTo>
                  <a:lnTo>
                    <a:pt x="2736850" y="1023620"/>
                  </a:lnTo>
                  <a:close/>
                  <a:moveTo>
                    <a:pt x="2696210" y="1892300"/>
                  </a:moveTo>
                  <a:cubicBezTo>
                    <a:pt x="2711450" y="1851660"/>
                    <a:pt x="2725420" y="1811020"/>
                    <a:pt x="2736850" y="1769110"/>
                  </a:cubicBezTo>
                  <a:lnTo>
                    <a:pt x="1769110" y="2736850"/>
                  </a:lnTo>
                  <a:cubicBezTo>
                    <a:pt x="1811020" y="2725420"/>
                    <a:pt x="1851660" y="2711450"/>
                    <a:pt x="1892300" y="2696210"/>
                  </a:cubicBezTo>
                  <a:lnTo>
                    <a:pt x="2696210" y="1892300"/>
                  </a:lnTo>
                  <a:close/>
                  <a:moveTo>
                    <a:pt x="2523490" y="576580"/>
                  </a:moveTo>
                  <a:cubicBezTo>
                    <a:pt x="2512060" y="561340"/>
                    <a:pt x="2500630" y="544830"/>
                    <a:pt x="2487930" y="529590"/>
                  </a:cubicBezTo>
                  <a:lnTo>
                    <a:pt x="529590" y="2486660"/>
                  </a:lnTo>
                  <a:cubicBezTo>
                    <a:pt x="544830" y="2499360"/>
                    <a:pt x="561340" y="2510790"/>
                    <a:pt x="576580" y="2522220"/>
                  </a:cubicBezTo>
                  <a:lnTo>
                    <a:pt x="2523490" y="576580"/>
                  </a:lnTo>
                  <a:close/>
                  <a:moveTo>
                    <a:pt x="2696210" y="899160"/>
                  </a:moveTo>
                  <a:cubicBezTo>
                    <a:pt x="2688590" y="878840"/>
                    <a:pt x="2680970" y="859790"/>
                    <a:pt x="2672080" y="840740"/>
                  </a:cubicBezTo>
                  <a:lnTo>
                    <a:pt x="839470" y="2673350"/>
                  </a:lnTo>
                  <a:cubicBezTo>
                    <a:pt x="858520" y="2682240"/>
                    <a:pt x="878840" y="2689860"/>
                    <a:pt x="897890" y="2697480"/>
                  </a:cubicBezTo>
                  <a:lnTo>
                    <a:pt x="2696210" y="899160"/>
                  </a:lnTo>
                  <a:close/>
                  <a:moveTo>
                    <a:pt x="2449830" y="483870"/>
                  </a:moveTo>
                  <a:cubicBezTo>
                    <a:pt x="2437130" y="468630"/>
                    <a:pt x="2424430" y="454660"/>
                    <a:pt x="2410460" y="440690"/>
                  </a:cubicBezTo>
                  <a:lnTo>
                    <a:pt x="440690" y="2410460"/>
                  </a:lnTo>
                  <a:cubicBezTo>
                    <a:pt x="454660" y="2424430"/>
                    <a:pt x="469900" y="2437130"/>
                    <a:pt x="483870" y="2449830"/>
                  </a:cubicBezTo>
                  <a:lnTo>
                    <a:pt x="2449830" y="483870"/>
                  </a:lnTo>
                  <a:close/>
                  <a:moveTo>
                    <a:pt x="2588260" y="675640"/>
                  </a:moveTo>
                  <a:cubicBezTo>
                    <a:pt x="2578100" y="659130"/>
                    <a:pt x="2567940" y="641350"/>
                    <a:pt x="2556510" y="624840"/>
                  </a:cubicBezTo>
                  <a:lnTo>
                    <a:pt x="624840" y="2556510"/>
                  </a:lnTo>
                  <a:cubicBezTo>
                    <a:pt x="641350" y="2567940"/>
                    <a:pt x="657860" y="2578100"/>
                    <a:pt x="675640" y="2588260"/>
                  </a:cubicBezTo>
                  <a:lnTo>
                    <a:pt x="2588260" y="675640"/>
                  </a:lnTo>
                  <a:close/>
                  <a:moveTo>
                    <a:pt x="2646680" y="783590"/>
                  </a:moveTo>
                  <a:cubicBezTo>
                    <a:pt x="2637790" y="765810"/>
                    <a:pt x="2628900" y="746760"/>
                    <a:pt x="2618740" y="728980"/>
                  </a:cubicBezTo>
                  <a:lnTo>
                    <a:pt x="728980" y="2618740"/>
                  </a:lnTo>
                  <a:cubicBezTo>
                    <a:pt x="746760" y="2628900"/>
                    <a:pt x="764540" y="2637790"/>
                    <a:pt x="783590" y="2646680"/>
                  </a:cubicBezTo>
                  <a:lnTo>
                    <a:pt x="2646680" y="783590"/>
                  </a:lnTo>
                  <a:close/>
                </a:path>
              </a:pathLst>
            </a:custGeom>
            <a:grpFill/>
          </p:spPr>
        </p:sp>
      </p:grpSp>
      <p:grpSp>
        <p:nvGrpSpPr>
          <p:cNvPr id="17" name="Group 22">
            <a:extLst>
              <a:ext uri="{FF2B5EF4-FFF2-40B4-BE49-F238E27FC236}">
                <a16:creationId xmlns:a16="http://schemas.microsoft.com/office/drawing/2014/main" id="{C7BF884C-1522-4B9A-9C96-4EE785D97CEC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3471240" y="1420009"/>
            <a:ext cx="2671963" cy="2671963"/>
            <a:chOff x="-2540" y="-2540"/>
            <a:chExt cx="6355080" cy="6355080"/>
          </a:xfrm>
          <a:solidFill>
            <a:srgbClr val="00727A"/>
          </a:solidFill>
        </p:grpSpPr>
        <p:sp>
          <p:nvSpPr>
            <p:cNvPr id="18" name="Freeform 23">
              <a:extLst>
                <a:ext uri="{FF2B5EF4-FFF2-40B4-BE49-F238E27FC236}">
                  <a16:creationId xmlns:a16="http://schemas.microsoft.com/office/drawing/2014/main" id="{2759B49A-3189-427C-B3BF-CC81D5FC39C2}"/>
                </a:ext>
              </a:extLst>
            </p:cNvPr>
            <p:cNvSpPr/>
            <p:nvPr/>
          </p:nvSpPr>
          <p:spPr>
            <a:xfrm>
              <a:off x="-2540" y="-2540"/>
              <a:ext cx="6355080" cy="6355080"/>
            </a:xfrm>
            <a:custGeom>
              <a:avLst/>
              <a:gdLst/>
              <a:ahLst/>
              <a:cxnLst/>
              <a:rect l="l" t="t" r="r" b="b"/>
              <a:pathLst>
                <a:path w="6355080" h="6355080">
                  <a:moveTo>
                    <a:pt x="3177540" y="6355080"/>
                  </a:moveTo>
                  <a:cubicBezTo>
                    <a:pt x="2329180" y="6355080"/>
                    <a:pt x="1530350" y="6024880"/>
                    <a:pt x="930910" y="5424170"/>
                  </a:cubicBezTo>
                  <a:cubicBezTo>
                    <a:pt x="330200" y="4824730"/>
                    <a:pt x="0" y="4025900"/>
                    <a:pt x="0" y="3177540"/>
                  </a:cubicBezTo>
                  <a:cubicBezTo>
                    <a:pt x="0" y="2329180"/>
                    <a:pt x="330200" y="1530350"/>
                    <a:pt x="930910" y="930910"/>
                  </a:cubicBezTo>
                  <a:cubicBezTo>
                    <a:pt x="1530350" y="330200"/>
                    <a:pt x="2329180" y="0"/>
                    <a:pt x="3177540" y="0"/>
                  </a:cubicBezTo>
                  <a:cubicBezTo>
                    <a:pt x="4025900" y="0"/>
                    <a:pt x="4824730" y="330200"/>
                    <a:pt x="5424170" y="930910"/>
                  </a:cubicBezTo>
                  <a:cubicBezTo>
                    <a:pt x="6024880" y="1531620"/>
                    <a:pt x="6355080" y="2329180"/>
                    <a:pt x="6355080" y="3177540"/>
                  </a:cubicBezTo>
                  <a:cubicBezTo>
                    <a:pt x="6355080" y="4025900"/>
                    <a:pt x="6024880" y="4824730"/>
                    <a:pt x="5424170" y="5424170"/>
                  </a:cubicBezTo>
                  <a:cubicBezTo>
                    <a:pt x="4824730" y="6024880"/>
                    <a:pt x="4025900" y="6355080"/>
                    <a:pt x="3177540" y="6355080"/>
                  </a:cubicBezTo>
                  <a:close/>
                  <a:moveTo>
                    <a:pt x="3177540" y="190500"/>
                  </a:moveTo>
                  <a:cubicBezTo>
                    <a:pt x="2379980" y="190500"/>
                    <a:pt x="1629410" y="501650"/>
                    <a:pt x="1065530" y="1065530"/>
                  </a:cubicBezTo>
                  <a:cubicBezTo>
                    <a:pt x="501650" y="1629410"/>
                    <a:pt x="190500" y="2379980"/>
                    <a:pt x="190500" y="3177540"/>
                  </a:cubicBezTo>
                  <a:cubicBezTo>
                    <a:pt x="190500" y="3975100"/>
                    <a:pt x="501650" y="4725670"/>
                    <a:pt x="1065530" y="5289550"/>
                  </a:cubicBezTo>
                  <a:cubicBezTo>
                    <a:pt x="1629410" y="5853430"/>
                    <a:pt x="2379980" y="6164580"/>
                    <a:pt x="3177540" y="6164580"/>
                  </a:cubicBezTo>
                  <a:cubicBezTo>
                    <a:pt x="3975100" y="6164580"/>
                    <a:pt x="4725670" y="5853430"/>
                    <a:pt x="5289550" y="5289550"/>
                  </a:cubicBezTo>
                  <a:cubicBezTo>
                    <a:pt x="5853430" y="4725670"/>
                    <a:pt x="6164580" y="3975100"/>
                    <a:pt x="6164580" y="3177540"/>
                  </a:cubicBezTo>
                  <a:cubicBezTo>
                    <a:pt x="6164580" y="2379980"/>
                    <a:pt x="5853430" y="1629410"/>
                    <a:pt x="5289550" y="1065530"/>
                  </a:cubicBezTo>
                  <a:cubicBezTo>
                    <a:pt x="4725670" y="501650"/>
                    <a:pt x="3975100" y="190500"/>
                    <a:pt x="3177540" y="190500"/>
                  </a:cubicBezTo>
                  <a:close/>
                </a:path>
              </a:pathLst>
            </a:custGeom>
            <a:grpFill/>
          </p:spPr>
        </p:sp>
      </p:grpSp>
      <p:sp>
        <p:nvSpPr>
          <p:cNvPr id="20" name="Titre 19">
            <a:extLst>
              <a:ext uri="{FF2B5EF4-FFF2-40B4-BE49-F238E27FC236}">
                <a16:creationId xmlns:a16="http://schemas.microsoft.com/office/drawing/2014/main" id="{8F0D2075-71A9-4988-900C-7ECFE4090A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>
            <a:normAutofit/>
          </a:bodyPr>
          <a:lstStyle>
            <a:lvl1pPr algn="ctr">
              <a:defRPr sz="4950" b="1">
                <a:solidFill>
                  <a:schemeClr val="bg1"/>
                </a:solidFill>
                <a:latin typeface="Source Sans Pro" panose="020B0503030403020204" pitchFamily="34" charset="0"/>
              </a:defRPr>
            </a:lvl1pPr>
          </a:lstStyle>
          <a:p>
            <a:r>
              <a:rPr lang="fr-FR"/>
              <a:t>PRÉSENTATEURS</a:t>
            </a:r>
          </a:p>
        </p:txBody>
      </p:sp>
    </p:spTree>
    <p:extLst>
      <p:ext uri="{BB962C8B-B14F-4D97-AF65-F5344CB8AC3E}">
        <p14:creationId xmlns:p14="http://schemas.microsoft.com/office/powerpoint/2010/main" val="3969601477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A9149D30-1A59-4CD8-83CA-D6F163B0D15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87391" y="740569"/>
            <a:ext cx="4629150" cy="3655219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A0142A4D-527B-4B40-8075-EF62345E77D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9841" y="154305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7600148E-C006-4B5D-9E13-AB43CEDE691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771742AC-4C47-48E3-A75A-4BFC267FDC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CEF8214D-4DC0-4466-A26F-FB193528EE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48F244-30DD-438A-ADD2-DF4984FBCA8F}" type="slidenum">
              <a:rPr lang="fr-FR" smtClean="0"/>
              <a:t>‹#›</a:t>
            </a:fld>
            <a:endParaRPr lang="fr-FR"/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E15CD162-BFDD-45F3-8C6F-C04C41D119C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37571" y="4724401"/>
            <a:ext cx="331946" cy="331946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716CAEB6-3E80-4CC3-8B58-7E8329FE2338}"/>
              </a:ext>
            </a:extLst>
          </p:cNvPr>
          <p:cNvSpPr/>
          <p:nvPr userDrawn="1"/>
        </p:nvSpPr>
        <p:spPr>
          <a:xfrm>
            <a:off x="0" y="-2792"/>
            <a:ext cx="9144000" cy="5143500"/>
          </a:xfrm>
          <a:prstGeom prst="rect">
            <a:avLst/>
          </a:prstGeom>
          <a:solidFill>
            <a:srgbClr val="FFC8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20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41B285D7-A7D2-4444-85AC-11E9C8896590}"/>
              </a:ext>
            </a:extLst>
          </p:cNvPr>
          <p:cNvSpPr/>
          <p:nvPr userDrawn="1"/>
        </p:nvSpPr>
        <p:spPr>
          <a:xfrm>
            <a:off x="4267200" y="0"/>
            <a:ext cx="5046492" cy="5227320"/>
          </a:xfrm>
          <a:prstGeom prst="rect">
            <a:avLst/>
          </a:prstGeom>
          <a:solidFill>
            <a:srgbClr val="F57A3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200"/>
          </a:p>
        </p:txBody>
      </p:sp>
      <p:sp>
        <p:nvSpPr>
          <p:cNvPr id="15" name="Rectangle : coins arrondis 14">
            <a:extLst>
              <a:ext uri="{FF2B5EF4-FFF2-40B4-BE49-F238E27FC236}">
                <a16:creationId xmlns:a16="http://schemas.microsoft.com/office/drawing/2014/main" id="{4EDA716E-4725-4A0D-932F-F4C2F59B90E8}"/>
              </a:ext>
            </a:extLst>
          </p:cNvPr>
          <p:cNvSpPr/>
          <p:nvPr userDrawn="1"/>
        </p:nvSpPr>
        <p:spPr>
          <a:xfrm>
            <a:off x="4736856" y="460207"/>
            <a:ext cx="4107181" cy="4223084"/>
          </a:xfrm>
          <a:prstGeom prst="roundRect">
            <a:avLst/>
          </a:prstGeom>
          <a:solidFill>
            <a:srgbClr val="FFC8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200"/>
          </a:p>
        </p:txBody>
      </p:sp>
      <p:sp>
        <p:nvSpPr>
          <p:cNvPr id="17" name="Titre 24">
            <a:extLst>
              <a:ext uri="{FF2B5EF4-FFF2-40B4-BE49-F238E27FC236}">
                <a16:creationId xmlns:a16="http://schemas.microsoft.com/office/drawing/2014/main" id="{896A651A-1C05-46A7-8E42-10EB804534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5460" y="313723"/>
            <a:ext cx="4070509" cy="539891"/>
          </a:xfrm>
        </p:spPr>
        <p:txBody>
          <a:bodyPr>
            <a:normAutofit/>
          </a:bodyPr>
          <a:lstStyle>
            <a:lvl1pPr>
              <a:defRPr sz="2100"/>
            </a:lvl1pPr>
          </a:lstStyle>
          <a:p>
            <a:r>
              <a:rPr lang="fr-FR" sz="2400">
                <a:solidFill>
                  <a:srgbClr val="F57A30"/>
                </a:solidFill>
                <a:latin typeface="Source Sans Pro Black" panose="020B0803030403020204" pitchFamily="34" charset="0"/>
              </a:rPr>
              <a:t>Titre</a:t>
            </a:r>
          </a:p>
        </p:txBody>
      </p:sp>
      <p:sp>
        <p:nvSpPr>
          <p:cNvPr id="19" name="Espace réservé du contenu 18">
            <a:extLst>
              <a:ext uri="{FF2B5EF4-FFF2-40B4-BE49-F238E27FC236}">
                <a16:creationId xmlns:a16="http://schemas.microsoft.com/office/drawing/2014/main" id="{F1CB5829-388F-46A1-BAEF-812FE549A478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399477" y="3442007"/>
            <a:ext cx="3203899" cy="1478352"/>
          </a:xfrm>
        </p:spPr>
        <p:txBody>
          <a:bodyPr>
            <a:normAutofit/>
          </a:bodyPr>
          <a:lstStyle>
            <a:lvl1pPr marL="0" indent="0">
              <a:buNone/>
              <a:defRPr sz="12450">
                <a:solidFill>
                  <a:srgbClr val="F57A30"/>
                </a:solidFill>
              </a:defRPr>
            </a:lvl1pPr>
          </a:lstStyle>
          <a:p>
            <a:pPr lvl="0"/>
            <a:r>
              <a:rPr lang="fr-FR"/>
              <a:t>78%</a:t>
            </a:r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6B4149DE-79FD-4519-AC21-487390AA67D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08373" y="1077516"/>
            <a:ext cx="3788569" cy="2057400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86C5709B-85D5-47B4-813D-4800D0FE7C6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160169" y="1259681"/>
            <a:ext cx="2950369" cy="2519363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544815050"/>
      </p:ext>
    </p:extLst>
  </p:cSld>
  <p:clrMapOvr>
    <a:masterClrMapping/>
  </p:clrMapOvr>
</p:sldLayout>
</file>

<file path=ppt/slideLayouts/slideLayout5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A9149D30-1A59-4CD8-83CA-D6F163B0D15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87391" y="740569"/>
            <a:ext cx="4629150" cy="3655219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A0142A4D-527B-4B40-8075-EF62345E77D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9841" y="154305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7600148E-C006-4B5D-9E13-AB43CEDE691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771742AC-4C47-48E3-A75A-4BFC267FDC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CEF8214D-4DC0-4466-A26F-FB193528EE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48F244-30DD-438A-ADD2-DF4984FBCA8F}" type="slidenum">
              <a:rPr lang="fr-FR" smtClean="0"/>
              <a:t>‹#›</a:t>
            </a:fld>
            <a:endParaRPr lang="fr-FR"/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E15CD162-BFDD-45F3-8C6F-C04C41D119C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37571" y="4724401"/>
            <a:ext cx="331946" cy="331946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716CAEB6-3E80-4CC3-8B58-7E8329FE2338}"/>
              </a:ext>
            </a:extLst>
          </p:cNvPr>
          <p:cNvSpPr/>
          <p:nvPr userDrawn="1"/>
        </p:nvSpPr>
        <p:spPr>
          <a:xfrm>
            <a:off x="0" y="-2792"/>
            <a:ext cx="9144000" cy="5143500"/>
          </a:xfrm>
          <a:prstGeom prst="rect">
            <a:avLst/>
          </a:prstGeom>
          <a:solidFill>
            <a:srgbClr val="FFC8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20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41B285D7-A7D2-4444-85AC-11E9C8896590}"/>
              </a:ext>
            </a:extLst>
          </p:cNvPr>
          <p:cNvSpPr/>
          <p:nvPr userDrawn="1"/>
        </p:nvSpPr>
        <p:spPr>
          <a:xfrm>
            <a:off x="4267200" y="0"/>
            <a:ext cx="5046492" cy="5227320"/>
          </a:xfrm>
          <a:prstGeom prst="rect">
            <a:avLst/>
          </a:prstGeom>
          <a:solidFill>
            <a:srgbClr val="F57A3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200"/>
          </a:p>
        </p:txBody>
      </p:sp>
      <p:sp>
        <p:nvSpPr>
          <p:cNvPr id="15" name="Rectangle : coins arrondis 14">
            <a:extLst>
              <a:ext uri="{FF2B5EF4-FFF2-40B4-BE49-F238E27FC236}">
                <a16:creationId xmlns:a16="http://schemas.microsoft.com/office/drawing/2014/main" id="{4EDA716E-4725-4A0D-932F-F4C2F59B90E8}"/>
              </a:ext>
            </a:extLst>
          </p:cNvPr>
          <p:cNvSpPr/>
          <p:nvPr userDrawn="1"/>
        </p:nvSpPr>
        <p:spPr>
          <a:xfrm>
            <a:off x="4736856" y="460207"/>
            <a:ext cx="4107181" cy="4223084"/>
          </a:xfrm>
          <a:prstGeom prst="roundRect">
            <a:avLst/>
          </a:prstGeom>
          <a:solidFill>
            <a:srgbClr val="FFC8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200"/>
          </a:p>
        </p:txBody>
      </p:sp>
      <p:sp>
        <p:nvSpPr>
          <p:cNvPr id="17" name="Titre 24">
            <a:extLst>
              <a:ext uri="{FF2B5EF4-FFF2-40B4-BE49-F238E27FC236}">
                <a16:creationId xmlns:a16="http://schemas.microsoft.com/office/drawing/2014/main" id="{896A651A-1C05-46A7-8E42-10EB804534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5460" y="313723"/>
            <a:ext cx="4070509" cy="539891"/>
          </a:xfrm>
        </p:spPr>
        <p:txBody>
          <a:bodyPr>
            <a:normAutofit/>
          </a:bodyPr>
          <a:lstStyle>
            <a:lvl1pPr>
              <a:defRPr sz="2100"/>
            </a:lvl1pPr>
          </a:lstStyle>
          <a:p>
            <a:r>
              <a:rPr lang="fr-FR" sz="2400">
                <a:solidFill>
                  <a:srgbClr val="F57A30"/>
                </a:solidFill>
                <a:latin typeface="Source Sans Pro Black" panose="020B0803030403020204" pitchFamily="34" charset="0"/>
              </a:rPr>
              <a:t>Titre</a:t>
            </a:r>
          </a:p>
        </p:txBody>
      </p:sp>
      <p:sp>
        <p:nvSpPr>
          <p:cNvPr id="19" name="Espace réservé du contenu 18">
            <a:extLst>
              <a:ext uri="{FF2B5EF4-FFF2-40B4-BE49-F238E27FC236}">
                <a16:creationId xmlns:a16="http://schemas.microsoft.com/office/drawing/2014/main" id="{F1CB5829-388F-46A1-BAEF-812FE549A478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399477" y="3442007"/>
            <a:ext cx="3203899" cy="1478352"/>
          </a:xfrm>
        </p:spPr>
        <p:txBody>
          <a:bodyPr>
            <a:normAutofit/>
          </a:bodyPr>
          <a:lstStyle>
            <a:lvl1pPr marL="0" indent="0">
              <a:buNone/>
              <a:defRPr sz="12450">
                <a:solidFill>
                  <a:srgbClr val="F57A30"/>
                </a:solidFill>
              </a:defRPr>
            </a:lvl1pPr>
          </a:lstStyle>
          <a:p>
            <a:pPr lvl="0"/>
            <a:r>
              <a:rPr lang="fr-FR"/>
              <a:t>78%</a:t>
            </a:r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6B4149DE-79FD-4519-AC21-487390AA67D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08373" y="1077516"/>
            <a:ext cx="3788569" cy="2057400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86C5709B-85D5-47B4-813D-4800D0FE7C6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160169" y="1259681"/>
            <a:ext cx="2950369" cy="2519363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544815050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A9149D30-1A59-4CD8-83CA-D6F163B0D15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87391" y="740569"/>
            <a:ext cx="4629150" cy="3655219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A0142A4D-527B-4B40-8075-EF62345E77D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9841" y="154305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7600148E-C006-4B5D-9E13-AB43CEDE691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771742AC-4C47-48E3-A75A-4BFC267FDC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CEF8214D-4DC0-4466-A26F-FB193528EE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48F244-30DD-438A-ADD2-DF4984FBCA8F}" type="slidenum">
              <a:rPr lang="fr-FR" smtClean="0"/>
              <a:t>‹#›</a:t>
            </a:fld>
            <a:endParaRPr lang="fr-FR"/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E15CD162-BFDD-45F3-8C6F-C04C41D119C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37571" y="4724401"/>
            <a:ext cx="331946" cy="331946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716CAEB6-3E80-4CC3-8B58-7E8329FE2338}"/>
              </a:ext>
            </a:extLst>
          </p:cNvPr>
          <p:cNvSpPr/>
          <p:nvPr userDrawn="1"/>
        </p:nvSpPr>
        <p:spPr>
          <a:xfrm>
            <a:off x="0" y="-2792"/>
            <a:ext cx="9144000" cy="5143500"/>
          </a:xfrm>
          <a:prstGeom prst="rect">
            <a:avLst/>
          </a:prstGeom>
          <a:solidFill>
            <a:srgbClr val="FFC8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200"/>
          </a:p>
        </p:txBody>
      </p:sp>
      <p:sp>
        <p:nvSpPr>
          <p:cNvPr id="17" name="Titre 24">
            <a:extLst>
              <a:ext uri="{FF2B5EF4-FFF2-40B4-BE49-F238E27FC236}">
                <a16:creationId xmlns:a16="http://schemas.microsoft.com/office/drawing/2014/main" id="{896A651A-1C05-46A7-8E42-10EB804534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5460" y="313723"/>
            <a:ext cx="4070509" cy="539891"/>
          </a:xfrm>
        </p:spPr>
        <p:txBody>
          <a:bodyPr>
            <a:normAutofit/>
          </a:bodyPr>
          <a:lstStyle>
            <a:lvl1pPr>
              <a:defRPr sz="2100"/>
            </a:lvl1pPr>
          </a:lstStyle>
          <a:p>
            <a:r>
              <a:rPr lang="fr-FR" sz="2400">
                <a:solidFill>
                  <a:srgbClr val="F57A30"/>
                </a:solidFill>
                <a:latin typeface="Source Sans Pro Black" panose="020B0803030403020204" pitchFamily="34" charset="0"/>
              </a:rPr>
              <a:t>Titre</a:t>
            </a:r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6B4149DE-79FD-4519-AC21-487390AA67D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08373" y="1077516"/>
            <a:ext cx="3788569" cy="2057400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2579696187"/>
      </p:ext>
    </p:extLst>
  </p:cSld>
  <p:clrMapOvr>
    <a:masterClrMapping/>
  </p:clrMapOvr>
</p:sldLayout>
</file>

<file path=ppt/slideLayouts/slideLayout5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A9149D30-1A59-4CD8-83CA-D6F163B0D15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87391" y="740569"/>
            <a:ext cx="4629150" cy="3655219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A0142A4D-527B-4B40-8075-EF62345E77D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9841" y="154305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7600148E-C006-4B5D-9E13-AB43CEDE691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771742AC-4C47-48E3-A75A-4BFC267FDC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CEF8214D-4DC0-4466-A26F-FB193528EE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48F244-30DD-438A-ADD2-DF4984FBCA8F}" type="slidenum">
              <a:rPr lang="fr-FR" smtClean="0"/>
              <a:t>‹#›</a:t>
            </a:fld>
            <a:endParaRPr lang="fr-FR"/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E15CD162-BFDD-45F3-8C6F-C04C41D119C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37571" y="4724401"/>
            <a:ext cx="331946" cy="331946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716CAEB6-3E80-4CC3-8B58-7E8329FE2338}"/>
              </a:ext>
            </a:extLst>
          </p:cNvPr>
          <p:cNvSpPr/>
          <p:nvPr userDrawn="1"/>
        </p:nvSpPr>
        <p:spPr>
          <a:xfrm>
            <a:off x="0" y="-2792"/>
            <a:ext cx="9144000" cy="5143500"/>
          </a:xfrm>
          <a:prstGeom prst="rect">
            <a:avLst/>
          </a:prstGeom>
          <a:solidFill>
            <a:srgbClr val="FFC8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200"/>
          </a:p>
        </p:txBody>
      </p:sp>
      <p:sp>
        <p:nvSpPr>
          <p:cNvPr id="17" name="Titre 24">
            <a:extLst>
              <a:ext uri="{FF2B5EF4-FFF2-40B4-BE49-F238E27FC236}">
                <a16:creationId xmlns:a16="http://schemas.microsoft.com/office/drawing/2014/main" id="{896A651A-1C05-46A7-8E42-10EB804534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5460" y="313723"/>
            <a:ext cx="4070509" cy="539891"/>
          </a:xfrm>
        </p:spPr>
        <p:txBody>
          <a:bodyPr>
            <a:normAutofit/>
          </a:bodyPr>
          <a:lstStyle>
            <a:lvl1pPr>
              <a:defRPr sz="2100"/>
            </a:lvl1pPr>
          </a:lstStyle>
          <a:p>
            <a:r>
              <a:rPr lang="fr-FR" sz="2400">
                <a:solidFill>
                  <a:srgbClr val="F57A30"/>
                </a:solidFill>
                <a:latin typeface="Source Sans Pro Black" panose="020B0803030403020204" pitchFamily="34" charset="0"/>
              </a:rPr>
              <a:t>Titre</a:t>
            </a:r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6B4149DE-79FD-4519-AC21-487390AA67D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08373" y="1077516"/>
            <a:ext cx="3788569" cy="2057400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2579696187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A9149D30-1A59-4CD8-83CA-D6F163B0D15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87391" y="740569"/>
            <a:ext cx="4629150" cy="3655219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A0142A4D-527B-4B40-8075-EF62345E77D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9841" y="154305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7600148E-C006-4B5D-9E13-AB43CEDE691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771742AC-4C47-48E3-A75A-4BFC267FDC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CEF8214D-4DC0-4466-A26F-FB193528EE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48F244-30DD-438A-ADD2-DF4984FBCA8F}" type="slidenum">
              <a:rPr lang="fr-FR" smtClean="0"/>
              <a:t>‹#›</a:t>
            </a:fld>
            <a:endParaRPr lang="fr-FR"/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E15CD162-BFDD-45F3-8C6F-C04C41D119C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37571" y="4724401"/>
            <a:ext cx="331946" cy="331946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716CAEB6-3E80-4CC3-8B58-7E8329FE2338}"/>
              </a:ext>
            </a:extLst>
          </p:cNvPr>
          <p:cNvSpPr/>
          <p:nvPr userDrawn="1"/>
        </p:nvSpPr>
        <p:spPr>
          <a:xfrm>
            <a:off x="0" y="-2792"/>
            <a:ext cx="9144000" cy="5143500"/>
          </a:xfrm>
          <a:prstGeom prst="rect">
            <a:avLst/>
          </a:prstGeom>
          <a:solidFill>
            <a:srgbClr val="FFC8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20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41B285D7-A7D2-4444-85AC-11E9C8896590}"/>
              </a:ext>
            </a:extLst>
          </p:cNvPr>
          <p:cNvSpPr/>
          <p:nvPr userDrawn="1"/>
        </p:nvSpPr>
        <p:spPr>
          <a:xfrm>
            <a:off x="4267200" y="0"/>
            <a:ext cx="5046492" cy="5227320"/>
          </a:xfrm>
          <a:prstGeom prst="rect">
            <a:avLst/>
          </a:prstGeom>
          <a:solidFill>
            <a:srgbClr val="F57A3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200"/>
          </a:p>
        </p:txBody>
      </p:sp>
      <p:sp>
        <p:nvSpPr>
          <p:cNvPr id="15" name="Rectangle : coins arrondis 14">
            <a:extLst>
              <a:ext uri="{FF2B5EF4-FFF2-40B4-BE49-F238E27FC236}">
                <a16:creationId xmlns:a16="http://schemas.microsoft.com/office/drawing/2014/main" id="{4EDA716E-4725-4A0D-932F-F4C2F59B90E8}"/>
              </a:ext>
            </a:extLst>
          </p:cNvPr>
          <p:cNvSpPr/>
          <p:nvPr userDrawn="1"/>
        </p:nvSpPr>
        <p:spPr>
          <a:xfrm>
            <a:off x="4736856" y="460207"/>
            <a:ext cx="4107181" cy="4223084"/>
          </a:xfrm>
          <a:prstGeom prst="roundRect">
            <a:avLst/>
          </a:prstGeom>
          <a:solidFill>
            <a:srgbClr val="FFC8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200"/>
          </a:p>
        </p:txBody>
      </p:sp>
      <p:sp>
        <p:nvSpPr>
          <p:cNvPr id="17" name="Titre 24">
            <a:extLst>
              <a:ext uri="{FF2B5EF4-FFF2-40B4-BE49-F238E27FC236}">
                <a16:creationId xmlns:a16="http://schemas.microsoft.com/office/drawing/2014/main" id="{896A651A-1C05-46A7-8E42-10EB804534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5460" y="313723"/>
            <a:ext cx="4070509" cy="539891"/>
          </a:xfrm>
        </p:spPr>
        <p:txBody>
          <a:bodyPr>
            <a:normAutofit/>
          </a:bodyPr>
          <a:lstStyle>
            <a:lvl1pPr>
              <a:defRPr sz="2100"/>
            </a:lvl1pPr>
          </a:lstStyle>
          <a:p>
            <a:r>
              <a:rPr lang="fr-FR" sz="2400">
                <a:solidFill>
                  <a:srgbClr val="F57A30"/>
                </a:solidFill>
                <a:latin typeface="Source Sans Pro Black" panose="020B0803030403020204" pitchFamily="34" charset="0"/>
              </a:rPr>
              <a:t>Titre</a:t>
            </a:r>
          </a:p>
        </p:txBody>
      </p:sp>
      <p:sp>
        <p:nvSpPr>
          <p:cNvPr id="19" name="Espace réservé du contenu 18">
            <a:extLst>
              <a:ext uri="{FF2B5EF4-FFF2-40B4-BE49-F238E27FC236}">
                <a16:creationId xmlns:a16="http://schemas.microsoft.com/office/drawing/2014/main" id="{F1CB5829-388F-46A1-BAEF-812FE549A478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399477" y="3442007"/>
            <a:ext cx="3203899" cy="1478352"/>
          </a:xfrm>
        </p:spPr>
        <p:txBody>
          <a:bodyPr>
            <a:normAutofit/>
          </a:bodyPr>
          <a:lstStyle>
            <a:lvl1pPr marL="0" indent="0">
              <a:buNone/>
              <a:defRPr sz="12450">
                <a:solidFill>
                  <a:srgbClr val="F57A30"/>
                </a:solidFill>
              </a:defRPr>
            </a:lvl1pPr>
          </a:lstStyle>
          <a:p>
            <a:pPr lvl="0"/>
            <a:r>
              <a:rPr lang="fr-FR"/>
              <a:t>78%</a:t>
            </a:r>
          </a:p>
        </p:txBody>
      </p:sp>
    </p:spTree>
    <p:extLst>
      <p:ext uri="{BB962C8B-B14F-4D97-AF65-F5344CB8AC3E}">
        <p14:creationId xmlns:p14="http://schemas.microsoft.com/office/powerpoint/2010/main" val="3236290174"/>
      </p:ext>
    </p:extLst>
  </p:cSld>
  <p:clrMapOvr>
    <a:masterClrMapping/>
  </p:clrMapOvr>
</p:sldLayout>
</file>

<file path=ppt/slideLayouts/slideLayout5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A9149D30-1A59-4CD8-83CA-D6F163B0D15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87391" y="740569"/>
            <a:ext cx="4629150" cy="3655219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A0142A4D-527B-4B40-8075-EF62345E77D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9841" y="154305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7600148E-C006-4B5D-9E13-AB43CEDE691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771742AC-4C47-48E3-A75A-4BFC267FDC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CEF8214D-4DC0-4466-A26F-FB193528EE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48F244-30DD-438A-ADD2-DF4984FBCA8F}" type="slidenum">
              <a:rPr lang="fr-FR" smtClean="0"/>
              <a:t>‹#›</a:t>
            </a:fld>
            <a:endParaRPr lang="fr-FR"/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E15CD162-BFDD-45F3-8C6F-C04C41D119C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37571" y="4724401"/>
            <a:ext cx="331946" cy="331946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716CAEB6-3E80-4CC3-8B58-7E8329FE2338}"/>
              </a:ext>
            </a:extLst>
          </p:cNvPr>
          <p:cNvSpPr/>
          <p:nvPr userDrawn="1"/>
        </p:nvSpPr>
        <p:spPr>
          <a:xfrm>
            <a:off x="0" y="-2792"/>
            <a:ext cx="9144000" cy="5143500"/>
          </a:xfrm>
          <a:prstGeom prst="rect">
            <a:avLst/>
          </a:prstGeom>
          <a:solidFill>
            <a:srgbClr val="FFC8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20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41B285D7-A7D2-4444-85AC-11E9C8896590}"/>
              </a:ext>
            </a:extLst>
          </p:cNvPr>
          <p:cNvSpPr/>
          <p:nvPr userDrawn="1"/>
        </p:nvSpPr>
        <p:spPr>
          <a:xfrm>
            <a:off x="4267200" y="0"/>
            <a:ext cx="5046492" cy="5227320"/>
          </a:xfrm>
          <a:prstGeom prst="rect">
            <a:avLst/>
          </a:prstGeom>
          <a:solidFill>
            <a:srgbClr val="F57A3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200"/>
          </a:p>
        </p:txBody>
      </p:sp>
      <p:sp>
        <p:nvSpPr>
          <p:cNvPr id="15" name="Rectangle : coins arrondis 14">
            <a:extLst>
              <a:ext uri="{FF2B5EF4-FFF2-40B4-BE49-F238E27FC236}">
                <a16:creationId xmlns:a16="http://schemas.microsoft.com/office/drawing/2014/main" id="{4EDA716E-4725-4A0D-932F-F4C2F59B90E8}"/>
              </a:ext>
            </a:extLst>
          </p:cNvPr>
          <p:cNvSpPr/>
          <p:nvPr userDrawn="1"/>
        </p:nvSpPr>
        <p:spPr>
          <a:xfrm>
            <a:off x="4736856" y="460207"/>
            <a:ext cx="4107181" cy="4223084"/>
          </a:xfrm>
          <a:prstGeom prst="roundRect">
            <a:avLst/>
          </a:prstGeom>
          <a:solidFill>
            <a:srgbClr val="FFC8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200"/>
          </a:p>
        </p:txBody>
      </p:sp>
      <p:sp>
        <p:nvSpPr>
          <p:cNvPr id="17" name="Titre 24">
            <a:extLst>
              <a:ext uri="{FF2B5EF4-FFF2-40B4-BE49-F238E27FC236}">
                <a16:creationId xmlns:a16="http://schemas.microsoft.com/office/drawing/2014/main" id="{896A651A-1C05-46A7-8E42-10EB804534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5460" y="313723"/>
            <a:ext cx="4070509" cy="539891"/>
          </a:xfrm>
        </p:spPr>
        <p:txBody>
          <a:bodyPr>
            <a:normAutofit/>
          </a:bodyPr>
          <a:lstStyle>
            <a:lvl1pPr>
              <a:defRPr sz="2100"/>
            </a:lvl1pPr>
          </a:lstStyle>
          <a:p>
            <a:r>
              <a:rPr lang="fr-FR" sz="2400">
                <a:solidFill>
                  <a:srgbClr val="F57A30"/>
                </a:solidFill>
                <a:latin typeface="Source Sans Pro Black" panose="020B0803030403020204" pitchFamily="34" charset="0"/>
              </a:rPr>
              <a:t>Titre</a:t>
            </a:r>
          </a:p>
        </p:txBody>
      </p:sp>
      <p:sp>
        <p:nvSpPr>
          <p:cNvPr id="19" name="Espace réservé du contenu 18">
            <a:extLst>
              <a:ext uri="{FF2B5EF4-FFF2-40B4-BE49-F238E27FC236}">
                <a16:creationId xmlns:a16="http://schemas.microsoft.com/office/drawing/2014/main" id="{F1CB5829-388F-46A1-BAEF-812FE549A478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399477" y="3442007"/>
            <a:ext cx="3203899" cy="1478352"/>
          </a:xfrm>
        </p:spPr>
        <p:txBody>
          <a:bodyPr>
            <a:normAutofit/>
          </a:bodyPr>
          <a:lstStyle>
            <a:lvl1pPr marL="0" indent="0">
              <a:buNone/>
              <a:defRPr sz="12450">
                <a:solidFill>
                  <a:srgbClr val="F57A30"/>
                </a:solidFill>
              </a:defRPr>
            </a:lvl1pPr>
          </a:lstStyle>
          <a:p>
            <a:pPr lvl="0"/>
            <a:r>
              <a:rPr lang="fr-FR"/>
              <a:t>78%</a:t>
            </a:r>
          </a:p>
        </p:txBody>
      </p:sp>
    </p:spTree>
    <p:extLst>
      <p:ext uri="{BB962C8B-B14F-4D97-AF65-F5344CB8AC3E}">
        <p14:creationId xmlns:p14="http://schemas.microsoft.com/office/powerpoint/2010/main" val="323629017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spositio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Logo AXA" descr="\\Mac\AllFiles\Volumes\DOSSIERS EN COURS\17_1098 AXA_Creation_gabarits\elements\png\new_logo_axa_rgb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727773" y="4727113"/>
            <a:ext cx="209971" cy="2100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952283563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A9149D30-1A59-4CD8-83CA-D6F163B0D15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87391" y="740569"/>
            <a:ext cx="4629150" cy="3655219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A0142A4D-527B-4B40-8075-EF62345E77D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9841" y="154305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7600148E-C006-4B5D-9E13-AB43CEDE691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771742AC-4C47-48E3-A75A-4BFC267FDC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CEF8214D-4DC0-4466-A26F-FB193528EE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48F244-30DD-438A-ADD2-DF4984FBCA8F}" type="slidenum">
              <a:rPr lang="fr-FR" smtClean="0"/>
              <a:t>‹#›</a:t>
            </a:fld>
            <a:endParaRPr lang="fr-FR"/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E15CD162-BFDD-45F3-8C6F-C04C41D119C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37571" y="4724401"/>
            <a:ext cx="331946" cy="331946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716CAEB6-3E80-4CC3-8B58-7E8329FE2338}"/>
              </a:ext>
            </a:extLst>
          </p:cNvPr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FFC8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200"/>
          </a:p>
        </p:txBody>
      </p:sp>
      <p:sp>
        <p:nvSpPr>
          <p:cNvPr id="17" name="Titre 24">
            <a:extLst>
              <a:ext uri="{FF2B5EF4-FFF2-40B4-BE49-F238E27FC236}">
                <a16:creationId xmlns:a16="http://schemas.microsoft.com/office/drawing/2014/main" id="{896A651A-1C05-46A7-8E42-10EB804534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5460" y="313723"/>
            <a:ext cx="4070509" cy="539891"/>
          </a:xfrm>
        </p:spPr>
        <p:txBody>
          <a:bodyPr>
            <a:normAutofit/>
          </a:bodyPr>
          <a:lstStyle>
            <a:lvl1pPr>
              <a:defRPr sz="2100"/>
            </a:lvl1pPr>
          </a:lstStyle>
          <a:p>
            <a:r>
              <a:rPr lang="fr-FR" sz="2400">
                <a:solidFill>
                  <a:srgbClr val="F57A30"/>
                </a:solidFill>
                <a:latin typeface="Source Sans Pro Black" panose="020B0803030403020204" pitchFamily="34" charset="0"/>
              </a:rPr>
              <a:t>Titre</a:t>
            </a:r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8D8DF110-CD1C-42BC-A642-806996C02B2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71475" y="1028700"/>
            <a:ext cx="5010150" cy="2309813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1875141285"/>
      </p:ext>
    </p:extLst>
  </p:cSld>
  <p:clrMapOvr>
    <a:masterClrMapping/>
  </p:clrMapOvr>
</p:sldLayout>
</file>

<file path=ppt/slideLayouts/slideLayout6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A9149D30-1A59-4CD8-83CA-D6F163B0D15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87391" y="740569"/>
            <a:ext cx="4629150" cy="3655219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A0142A4D-527B-4B40-8075-EF62345E77D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9841" y="154305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7600148E-C006-4B5D-9E13-AB43CEDE691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771742AC-4C47-48E3-A75A-4BFC267FDC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CEF8214D-4DC0-4466-A26F-FB193528EE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48F244-30DD-438A-ADD2-DF4984FBCA8F}" type="slidenum">
              <a:rPr lang="fr-FR" smtClean="0"/>
              <a:t>‹#›</a:t>
            </a:fld>
            <a:endParaRPr lang="fr-FR"/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E15CD162-BFDD-45F3-8C6F-C04C41D119C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37571" y="4724401"/>
            <a:ext cx="331946" cy="331946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716CAEB6-3E80-4CC3-8B58-7E8329FE2338}"/>
              </a:ext>
            </a:extLst>
          </p:cNvPr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FFC8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200"/>
          </a:p>
        </p:txBody>
      </p:sp>
      <p:sp>
        <p:nvSpPr>
          <p:cNvPr id="17" name="Titre 24">
            <a:extLst>
              <a:ext uri="{FF2B5EF4-FFF2-40B4-BE49-F238E27FC236}">
                <a16:creationId xmlns:a16="http://schemas.microsoft.com/office/drawing/2014/main" id="{896A651A-1C05-46A7-8E42-10EB804534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5460" y="313723"/>
            <a:ext cx="4070509" cy="539891"/>
          </a:xfrm>
        </p:spPr>
        <p:txBody>
          <a:bodyPr>
            <a:normAutofit/>
          </a:bodyPr>
          <a:lstStyle>
            <a:lvl1pPr>
              <a:defRPr sz="2100"/>
            </a:lvl1pPr>
          </a:lstStyle>
          <a:p>
            <a:r>
              <a:rPr lang="fr-FR" sz="2400">
                <a:solidFill>
                  <a:srgbClr val="F57A30"/>
                </a:solidFill>
                <a:latin typeface="Source Sans Pro Black" panose="020B0803030403020204" pitchFamily="34" charset="0"/>
              </a:rPr>
              <a:t>Titre</a:t>
            </a:r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8D8DF110-CD1C-42BC-A642-806996C02B2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71475" y="1028700"/>
            <a:ext cx="5010150" cy="2309813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1875141285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979A9473-FA59-411B-A155-5680CB9CA2C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FF070D8E-E67F-4D5A-84A7-922A3FDF1D7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2FB44AF0-0F69-4884-B3BC-26B7F44605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48F244-30DD-438A-ADD2-DF4984FBCA8F}" type="slidenum">
              <a:rPr lang="fr-FR" smtClean="0"/>
              <a:t>‹#›</a:t>
            </a:fld>
            <a:endParaRPr lang="fr-FR"/>
          </a:p>
        </p:txBody>
      </p:sp>
      <p:grpSp>
        <p:nvGrpSpPr>
          <p:cNvPr id="8" name="Groupe 7">
            <a:extLst>
              <a:ext uri="{FF2B5EF4-FFF2-40B4-BE49-F238E27FC236}">
                <a16:creationId xmlns:a16="http://schemas.microsoft.com/office/drawing/2014/main" id="{51DF92A7-093C-4B2B-A580-4746F7094905}"/>
              </a:ext>
            </a:extLst>
          </p:cNvPr>
          <p:cNvGrpSpPr/>
          <p:nvPr userDrawn="1"/>
        </p:nvGrpSpPr>
        <p:grpSpPr>
          <a:xfrm>
            <a:off x="507767" y="1230160"/>
            <a:ext cx="7890241" cy="2905010"/>
            <a:chOff x="933742" y="2929246"/>
            <a:chExt cx="16420516" cy="6045665"/>
          </a:xfrm>
        </p:grpSpPr>
        <p:grpSp>
          <p:nvGrpSpPr>
            <p:cNvPr id="9" name="Group 2">
              <a:extLst>
                <a:ext uri="{FF2B5EF4-FFF2-40B4-BE49-F238E27FC236}">
                  <a16:creationId xmlns:a16="http://schemas.microsoft.com/office/drawing/2014/main" id="{1C11E6DF-63D7-4378-A90B-022F9B334A85}"/>
                </a:ext>
              </a:extLst>
            </p:cNvPr>
            <p:cNvGrpSpPr/>
            <p:nvPr/>
          </p:nvGrpSpPr>
          <p:grpSpPr>
            <a:xfrm>
              <a:off x="7863836" y="2929246"/>
              <a:ext cx="2695590" cy="1000262"/>
              <a:chOff x="0" y="0"/>
              <a:chExt cx="3363293" cy="1248029"/>
            </a:xfrm>
          </p:grpSpPr>
          <p:sp>
            <p:nvSpPr>
              <p:cNvPr id="49" name="Freeform 3">
                <a:extLst>
                  <a:ext uri="{FF2B5EF4-FFF2-40B4-BE49-F238E27FC236}">
                    <a16:creationId xmlns:a16="http://schemas.microsoft.com/office/drawing/2014/main" id="{7716D331-7F65-42CB-9838-88E3B5967012}"/>
                  </a:ext>
                </a:extLst>
              </p:cNvPr>
              <p:cNvSpPr/>
              <p:nvPr/>
            </p:nvSpPr>
            <p:spPr>
              <a:xfrm>
                <a:off x="0" y="0"/>
                <a:ext cx="3364563" cy="1248029"/>
              </a:xfrm>
              <a:custGeom>
                <a:avLst/>
                <a:gdLst/>
                <a:ahLst/>
                <a:cxnLst/>
                <a:rect l="l" t="t" r="r" b="b"/>
                <a:pathLst>
                  <a:path w="3364563" h="1248029">
                    <a:moveTo>
                      <a:pt x="2810843" y="1248029"/>
                    </a:moveTo>
                    <a:lnTo>
                      <a:pt x="553720" y="1248029"/>
                    </a:lnTo>
                    <a:cubicBezTo>
                      <a:pt x="247650" y="1248029"/>
                      <a:pt x="0" y="968640"/>
                      <a:pt x="0" y="624744"/>
                    </a:cubicBezTo>
                    <a:cubicBezTo>
                      <a:pt x="0" y="279415"/>
                      <a:pt x="247650" y="0"/>
                      <a:pt x="553720" y="0"/>
                    </a:cubicBezTo>
                    <a:lnTo>
                      <a:pt x="2810843" y="0"/>
                    </a:lnTo>
                    <a:cubicBezTo>
                      <a:pt x="3116913" y="0"/>
                      <a:pt x="3364563" y="279415"/>
                      <a:pt x="3364563" y="624744"/>
                    </a:cubicBezTo>
                    <a:cubicBezTo>
                      <a:pt x="3363293" y="968640"/>
                      <a:pt x="3115643" y="1248029"/>
                      <a:pt x="2810843" y="1248029"/>
                    </a:cubicBezTo>
                    <a:close/>
                  </a:path>
                </a:pathLst>
              </a:custGeom>
              <a:solidFill>
                <a:srgbClr val="F57A30"/>
              </a:solidFill>
            </p:spPr>
          </p:sp>
        </p:grpSp>
        <p:grpSp>
          <p:nvGrpSpPr>
            <p:cNvPr id="10" name="Group 5">
              <a:extLst>
                <a:ext uri="{FF2B5EF4-FFF2-40B4-BE49-F238E27FC236}">
                  <a16:creationId xmlns:a16="http://schemas.microsoft.com/office/drawing/2014/main" id="{E4A650C1-613E-44FD-98BF-1EEE4D692559}"/>
                </a:ext>
              </a:extLst>
            </p:cNvPr>
            <p:cNvGrpSpPr/>
            <p:nvPr/>
          </p:nvGrpSpPr>
          <p:grpSpPr>
            <a:xfrm>
              <a:off x="933742" y="7974649"/>
              <a:ext cx="2695590" cy="1000262"/>
              <a:chOff x="0" y="0"/>
              <a:chExt cx="3363293" cy="1248029"/>
            </a:xfrm>
          </p:grpSpPr>
          <p:sp>
            <p:nvSpPr>
              <p:cNvPr id="48" name="Freeform 6">
                <a:extLst>
                  <a:ext uri="{FF2B5EF4-FFF2-40B4-BE49-F238E27FC236}">
                    <a16:creationId xmlns:a16="http://schemas.microsoft.com/office/drawing/2014/main" id="{C020F00B-9512-4631-8B72-BDC996A86A79}"/>
                  </a:ext>
                </a:extLst>
              </p:cNvPr>
              <p:cNvSpPr/>
              <p:nvPr/>
            </p:nvSpPr>
            <p:spPr>
              <a:xfrm>
                <a:off x="0" y="0"/>
                <a:ext cx="3364563" cy="1248029"/>
              </a:xfrm>
              <a:custGeom>
                <a:avLst/>
                <a:gdLst/>
                <a:ahLst/>
                <a:cxnLst/>
                <a:rect l="l" t="t" r="r" b="b"/>
                <a:pathLst>
                  <a:path w="3364563" h="1248029">
                    <a:moveTo>
                      <a:pt x="2810843" y="1248029"/>
                    </a:moveTo>
                    <a:lnTo>
                      <a:pt x="553720" y="1248029"/>
                    </a:lnTo>
                    <a:cubicBezTo>
                      <a:pt x="247650" y="1248029"/>
                      <a:pt x="0" y="968640"/>
                      <a:pt x="0" y="624744"/>
                    </a:cubicBezTo>
                    <a:cubicBezTo>
                      <a:pt x="0" y="279415"/>
                      <a:pt x="247650" y="0"/>
                      <a:pt x="553720" y="0"/>
                    </a:cubicBezTo>
                    <a:lnTo>
                      <a:pt x="2810843" y="0"/>
                    </a:lnTo>
                    <a:cubicBezTo>
                      <a:pt x="3116913" y="0"/>
                      <a:pt x="3364563" y="279415"/>
                      <a:pt x="3364563" y="624744"/>
                    </a:cubicBezTo>
                    <a:cubicBezTo>
                      <a:pt x="3363293" y="968640"/>
                      <a:pt x="3115643" y="1248029"/>
                      <a:pt x="2810843" y="1248029"/>
                    </a:cubicBezTo>
                    <a:close/>
                  </a:path>
                </a:pathLst>
              </a:custGeom>
              <a:solidFill>
                <a:srgbClr val="00727A"/>
              </a:solidFill>
            </p:spPr>
          </p:sp>
        </p:grpSp>
        <p:sp>
          <p:nvSpPr>
            <p:cNvPr id="11" name="Freeform 9">
              <a:extLst>
                <a:ext uri="{FF2B5EF4-FFF2-40B4-BE49-F238E27FC236}">
                  <a16:creationId xmlns:a16="http://schemas.microsoft.com/office/drawing/2014/main" id="{6E3A5CDD-7FC4-47D4-8385-487212489E7A}"/>
                </a:ext>
              </a:extLst>
            </p:cNvPr>
            <p:cNvSpPr/>
            <p:nvPr/>
          </p:nvSpPr>
          <p:spPr>
            <a:xfrm>
              <a:off x="3678727" y="7974650"/>
              <a:ext cx="2696608" cy="1000261"/>
            </a:xfrm>
            <a:custGeom>
              <a:avLst/>
              <a:gdLst/>
              <a:ahLst/>
              <a:cxnLst/>
              <a:rect l="l" t="t" r="r" b="b"/>
              <a:pathLst>
                <a:path w="3364563" h="1248029">
                  <a:moveTo>
                    <a:pt x="2810843" y="1248029"/>
                  </a:moveTo>
                  <a:lnTo>
                    <a:pt x="553720" y="1248029"/>
                  </a:lnTo>
                  <a:cubicBezTo>
                    <a:pt x="247650" y="1248029"/>
                    <a:pt x="0" y="968640"/>
                    <a:pt x="0" y="624744"/>
                  </a:cubicBezTo>
                  <a:cubicBezTo>
                    <a:pt x="0" y="279415"/>
                    <a:pt x="247650" y="0"/>
                    <a:pt x="553720" y="0"/>
                  </a:cubicBezTo>
                  <a:lnTo>
                    <a:pt x="2810843" y="0"/>
                  </a:lnTo>
                  <a:cubicBezTo>
                    <a:pt x="3116913" y="0"/>
                    <a:pt x="3364563" y="279415"/>
                    <a:pt x="3364563" y="624744"/>
                  </a:cubicBezTo>
                  <a:cubicBezTo>
                    <a:pt x="3363293" y="968640"/>
                    <a:pt x="3115643" y="1248029"/>
                    <a:pt x="2810843" y="1248029"/>
                  </a:cubicBezTo>
                  <a:close/>
                </a:path>
              </a:pathLst>
            </a:custGeom>
            <a:solidFill>
              <a:srgbClr val="00727A"/>
            </a:solidFill>
          </p:spPr>
        </p:sp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85D650AF-4889-414E-8BF5-8B90502B5579}"/>
                </a:ext>
              </a:extLst>
            </p:cNvPr>
            <p:cNvGrpSpPr/>
            <p:nvPr/>
          </p:nvGrpSpPr>
          <p:grpSpPr>
            <a:xfrm>
              <a:off x="6423712" y="7974649"/>
              <a:ext cx="2695590" cy="1000262"/>
              <a:chOff x="0" y="0"/>
              <a:chExt cx="3363293" cy="1248029"/>
            </a:xfrm>
          </p:grpSpPr>
          <p:sp>
            <p:nvSpPr>
              <p:cNvPr id="47" name="Freeform 12">
                <a:extLst>
                  <a:ext uri="{FF2B5EF4-FFF2-40B4-BE49-F238E27FC236}">
                    <a16:creationId xmlns:a16="http://schemas.microsoft.com/office/drawing/2014/main" id="{764B7B56-0EFB-4F58-A94C-CBCEB4FF839C}"/>
                  </a:ext>
                </a:extLst>
              </p:cNvPr>
              <p:cNvSpPr/>
              <p:nvPr/>
            </p:nvSpPr>
            <p:spPr>
              <a:xfrm>
                <a:off x="0" y="0"/>
                <a:ext cx="3364563" cy="1248029"/>
              </a:xfrm>
              <a:custGeom>
                <a:avLst/>
                <a:gdLst/>
                <a:ahLst/>
                <a:cxnLst/>
                <a:rect l="l" t="t" r="r" b="b"/>
                <a:pathLst>
                  <a:path w="3364563" h="1248029">
                    <a:moveTo>
                      <a:pt x="2810843" y="1248029"/>
                    </a:moveTo>
                    <a:lnTo>
                      <a:pt x="553720" y="1248029"/>
                    </a:lnTo>
                    <a:cubicBezTo>
                      <a:pt x="247650" y="1248029"/>
                      <a:pt x="0" y="968640"/>
                      <a:pt x="0" y="624744"/>
                    </a:cubicBezTo>
                    <a:cubicBezTo>
                      <a:pt x="0" y="279415"/>
                      <a:pt x="247650" y="0"/>
                      <a:pt x="553720" y="0"/>
                    </a:cubicBezTo>
                    <a:lnTo>
                      <a:pt x="2810843" y="0"/>
                    </a:lnTo>
                    <a:cubicBezTo>
                      <a:pt x="3116913" y="0"/>
                      <a:pt x="3364563" y="279415"/>
                      <a:pt x="3364563" y="624744"/>
                    </a:cubicBezTo>
                    <a:cubicBezTo>
                      <a:pt x="3363293" y="968640"/>
                      <a:pt x="3115643" y="1248029"/>
                      <a:pt x="2810843" y="1248029"/>
                    </a:cubicBezTo>
                    <a:close/>
                  </a:path>
                </a:pathLst>
              </a:custGeom>
              <a:solidFill>
                <a:srgbClr val="00727A"/>
              </a:solidFill>
            </p:spPr>
          </p:sp>
        </p:grpSp>
        <p:grpSp>
          <p:nvGrpSpPr>
            <p:cNvPr id="13" name="Group 14">
              <a:extLst>
                <a:ext uri="{FF2B5EF4-FFF2-40B4-BE49-F238E27FC236}">
                  <a16:creationId xmlns:a16="http://schemas.microsoft.com/office/drawing/2014/main" id="{5A1FCF0A-CFD9-476A-9C76-0A78953D5AA6}"/>
                </a:ext>
              </a:extLst>
            </p:cNvPr>
            <p:cNvGrpSpPr/>
            <p:nvPr/>
          </p:nvGrpSpPr>
          <p:grpSpPr>
            <a:xfrm>
              <a:off x="9168698" y="7974649"/>
              <a:ext cx="2695590" cy="1000262"/>
              <a:chOff x="0" y="0"/>
              <a:chExt cx="3363293" cy="1248029"/>
            </a:xfrm>
          </p:grpSpPr>
          <p:sp>
            <p:nvSpPr>
              <p:cNvPr id="46" name="Freeform 15">
                <a:extLst>
                  <a:ext uri="{FF2B5EF4-FFF2-40B4-BE49-F238E27FC236}">
                    <a16:creationId xmlns:a16="http://schemas.microsoft.com/office/drawing/2014/main" id="{ECFFECBD-9A7F-462A-80F0-A82E86720363}"/>
                  </a:ext>
                </a:extLst>
              </p:cNvPr>
              <p:cNvSpPr/>
              <p:nvPr/>
            </p:nvSpPr>
            <p:spPr>
              <a:xfrm>
                <a:off x="0" y="0"/>
                <a:ext cx="3364563" cy="1248029"/>
              </a:xfrm>
              <a:custGeom>
                <a:avLst/>
                <a:gdLst/>
                <a:ahLst/>
                <a:cxnLst/>
                <a:rect l="l" t="t" r="r" b="b"/>
                <a:pathLst>
                  <a:path w="3364563" h="1248029">
                    <a:moveTo>
                      <a:pt x="2810843" y="1248029"/>
                    </a:moveTo>
                    <a:lnTo>
                      <a:pt x="553720" y="1248029"/>
                    </a:lnTo>
                    <a:cubicBezTo>
                      <a:pt x="247650" y="1248029"/>
                      <a:pt x="0" y="968640"/>
                      <a:pt x="0" y="624744"/>
                    </a:cubicBezTo>
                    <a:cubicBezTo>
                      <a:pt x="0" y="279415"/>
                      <a:pt x="247650" y="0"/>
                      <a:pt x="553720" y="0"/>
                    </a:cubicBezTo>
                    <a:lnTo>
                      <a:pt x="2810843" y="0"/>
                    </a:lnTo>
                    <a:cubicBezTo>
                      <a:pt x="3116913" y="0"/>
                      <a:pt x="3364563" y="279415"/>
                      <a:pt x="3364563" y="624744"/>
                    </a:cubicBezTo>
                    <a:cubicBezTo>
                      <a:pt x="3363293" y="968640"/>
                      <a:pt x="3115643" y="1248029"/>
                      <a:pt x="2810843" y="1248029"/>
                    </a:cubicBezTo>
                    <a:close/>
                  </a:path>
                </a:pathLst>
              </a:custGeom>
              <a:solidFill>
                <a:srgbClr val="00727A"/>
              </a:solidFill>
            </p:spPr>
          </p:sp>
        </p:grpSp>
        <p:grpSp>
          <p:nvGrpSpPr>
            <p:cNvPr id="14" name="Group 17">
              <a:extLst>
                <a:ext uri="{FF2B5EF4-FFF2-40B4-BE49-F238E27FC236}">
                  <a16:creationId xmlns:a16="http://schemas.microsoft.com/office/drawing/2014/main" id="{BD67985C-2540-4EFF-A3C3-5FEA1C0B89E3}"/>
                </a:ext>
              </a:extLst>
            </p:cNvPr>
            <p:cNvGrpSpPr/>
            <p:nvPr/>
          </p:nvGrpSpPr>
          <p:grpSpPr>
            <a:xfrm>
              <a:off x="11913683" y="7974649"/>
              <a:ext cx="2695590" cy="1000262"/>
              <a:chOff x="0" y="0"/>
              <a:chExt cx="3363293" cy="1248029"/>
            </a:xfrm>
          </p:grpSpPr>
          <p:sp>
            <p:nvSpPr>
              <p:cNvPr id="45" name="Freeform 18">
                <a:extLst>
                  <a:ext uri="{FF2B5EF4-FFF2-40B4-BE49-F238E27FC236}">
                    <a16:creationId xmlns:a16="http://schemas.microsoft.com/office/drawing/2014/main" id="{7B28E279-D059-4240-9506-D88179EA322F}"/>
                  </a:ext>
                </a:extLst>
              </p:cNvPr>
              <p:cNvSpPr/>
              <p:nvPr/>
            </p:nvSpPr>
            <p:spPr>
              <a:xfrm>
                <a:off x="0" y="0"/>
                <a:ext cx="3364563" cy="1248029"/>
              </a:xfrm>
              <a:custGeom>
                <a:avLst/>
                <a:gdLst/>
                <a:ahLst/>
                <a:cxnLst/>
                <a:rect l="l" t="t" r="r" b="b"/>
                <a:pathLst>
                  <a:path w="3364563" h="1248029">
                    <a:moveTo>
                      <a:pt x="2810843" y="1248029"/>
                    </a:moveTo>
                    <a:lnTo>
                      <a:pt x="553720" y="1248029"/>
                    </a:lnTo>
                    <a:cubicBezTo>
                      <a:pt x="247650" y="1248029"/>
                      <a:pt x="0" y="968640"/>
                      <a:pt x="0" y="624744"/>
                    </a:cubicBezTo>
                    <a:cubicBezTo>
                      <a:pt x="0" y="279415"/>
                      <a:pt x="247650" y="0"/>
                      <a:pt x="553720" y="0"/>
                    </a:cubicBezTo>
                    <a:lnTo>
                      <a:pt x="2810843" y="0"/>
                    </a:lnTo>
                    <a:cubicBezTo>
                      <a:pt x="3116913" y="0"/>
                      <a:pt x="3364563" y="279415"/>
                      <a:pt x="3364563" y="624744"/>
                    </a:cubicBezTo>
                    <a:cubicBezTo>
                      <a:pt x="3363293" y="968640"/>
                      <a:pt x="3115643" y="1248029"/>
                      <a:pt x="2810843" y="1248029"/>
                    </a:cubicBezTo>
                    <a:close/>
                  </a:path>
                </a:pathLst>
              </a:custGeom>
              <a:solidFill>
                <a:srgbClr val="00727A"/>
              </a:solidFill>
            </p:spPr>
          </p:sp>
        </p:grpSp>
        <p:grpSp>
          <p:nvGrpSpPr>
            <p:cNvPr id="15" name="Group 20">
              <a:extLst>
                <a:ext uri="{FF2B5EF4-FFF2-40B4-BE49-F238E27FC236}">
                  <a16:creationId xmlns:a16="http://schemas.microsoft.com/office/drawing/2014/main" id="{F777CB93-E082-40F4-9EE2-7095ACAE41A4}"/>
                </a:ext>
              </a:extLst>
            </p:cNvPr>
            <p:cNvGrpSpPr/>
            <p:nvPr/>
          </p:nvGrpSpPr>
          <p:grpSpPr>
            <a:xfrm>
              <a:off x="14658668" y="7974649"/>
              <a:ext cx="2695590" cy="1000262"/>
              <a:chOff x="0" y="0"/>
              <a:chExt cx="3363293" cy="1248029"/>
            </a:xfrm>
          </p:grpSpPr>
          <p:sp>
            <p:nvSpPr>
              <p:cNvPr id="44" name="Freeform 21">
                <a:extLst>
                  <a:ext uri="{FF2B5EF4-FFF2-40B4-BE49-F238E27FC236}">
                    <a16:creationId xmlns:a16="http://schemas.microsoft.com/office/drawing/2014/main" id="{5C9CD75C-CAA4-4BBF-B0BC-78D5F0C54C5C}"/>
                  </a:ext>
                </a:extLst>
              </p:cNvPr>
              <p:cNvSpPr/>
              <p:nvPr/>
            </p:nvSpPr>
            <p:spPr>
              <a:xfrm>
                <a:off x="0" y="0"/>
                <a:ext cx="3364563" cy="1248029"/>
              </a:xfrm>
              <a:custGeom>
                <a:avLst/>
                <a:gdLst/>
                <a:ahLst/>
                <a:cxnLst/>
                <a:rect l="l" t="t" r="r" b="b"/>
                <a:pathLst>
                  <a:path w="3364563" h="1248029">
                    <a:moveTo>
                      <a:pt x="2810843" y="1248029"/>
                    </a:moveTo>
                    <a:lnTo>
                      <a:pt x="553720" y="1248029"/>
                    </a:lnTo>
                    <a:cubicBezTo>
                      <a:pt x="247650" y="1248029"/>
                      <a:pt x="0" y="968640"/>
                      <a:pt x="0" y="624744"/>
                    </a:cubicBezTo>
                    <a:cubicBezTo>
                      <a:pt x="0" y="279415"/>
                      <a:pt x="247650" y="0"/>
                      <a:pt x="553720" y="0"/>
                    </a:cubicBezTo>
                    <a:lnTo>
                      <a:pt x="2810843" y="0"/>
                    </a:lnTo>
                    <a:cubicBezTo>
                      <a:pt x="3116913" y="0"/>
                      <a:pt x="3364563" y="279415"/>
                      <a:pt x="3364563" y="624744"/>
                    </a:cubicBezTo>
                    <a:cubicBezTo>
                      <a:pt x="3363293" y="968640"/>
                      <a:pt x="3115643" y="1248029"/>
                      <a:pt x="2810843" y="1248029"/>
                    </a:cubicBezTo>
                    <a:close/>
                  </a:path>
                </a:pathLst>
              </a:custGeom>
              <a:solidFill>
                <a:srgbClr val="00727A"/>
              </a:solidFill>
            </p:spPr>
          </p:sp>
        </p:grpSp>
        <p:grpSp>
          <p:nvGrpSpPr>
            <p:cNvPr id="16" name="Group 23">
              <a:extLst>
                <a:ext uri="{FF2B5EF4-FFF2-40B4-BE49-F238E27FC236}">
                  <a16:creationId xmlns:a16="http://schemas.microsoft.com/office/drawing/2014/main" id="{C66A4495-C6C8-45D4-B685-885ED0A3D023}"/>
                </a:ext>
              </a:extLst>
            </p:cNvPr>
            <p:cNvGrpSpPr/>
            <p:nvPr/>
          </p:nvGrpSpPr>
          <p:grpSpPr>
            <a:xfrm>
              <a:off x="3692048" y="6303538"/>
              <a:ext cx="2695590" cy="1000262"/>
              <a:chOff x="0" y="0"/>
              <a:chExt cx="3363293" cy="1248029"/>
            </a:xfrm>
          </p:grpSpPr>
          <p:sp>
            <p:nvSpPr>
              <p:cNvPr id="43" name="Freeform 24">
                <a:extLst>
                  <a:ext uri="{FF2B5EF4-FFF2-40B4-BE49-F238E27FC236}">
                    <a16:creationId xmlns:a16="http://schemas.microsoft.com/office/drawing/2014/main" id="{51A02CB7-7E28-4A31-A29C-3DD9942F1677}"/>
                  </a:ext>
                </a:extLst>
              </p:cNvPr>
              <p:cNvSpPr/>
              <p:nvPr/>
            </p:nvSpPr>
            <p:spPr>
              <a:xfrm>
                <a:off x="0" y="0"/>
                <a:ext cx="3364563" cy="1248029"/>
              </a:xfrm>
              <a:custGeom>
                <a:avLst/>
                <a:gdLst/>
                <a:ahLst/>
                <a:cxnLst/>
                <a:rect l="l" t="t" r="r" b="b"/>
                <a:pathLst>
                  <a:path w="3364563" h="1248029">
                    <a:moveTo>
                      <a:pt x="2810843" y="1248029"/>
                    </a:moveTo>
                    <a:lnTo>
                      <a:pt x="553720" y="1248029"/>
                    </a:lnTo>
                    <a:cubicBezTo>
                      <a:pt x="247650" y="1248029"/>
                      <a:pt x="0" y="968640"/>
                      <a:pt x="0" y="624744"/>
                    </a:cubicBezTo>
                    <a:cubicBezTo>
                      <a:pt x="0" y="279415"/>
                      <a:pt x="247650" y="0"/>
                      <a:pt x="553720" y="0"/>
                    </a:cubicBezTo>
                    <a:lnTo>
                      <a:pt x="2810843" y="0"/>
                    </a:lnTo>
                    <a:cubicBezTo>
                      <a:pt x="3116913" y="0"/>
                      <a:pt x="3364563" y="279415"/>
                      <a:pt x="3364563" y="624744"/>
                    </a:cubicBezTo>
                    <a:cubicBezTo>
                      <a:pt x="3363293" y="968640"/>
                      <a:pt x="3115643" y="1248029"/>
                      <a:pt x="2810843" y="1248029"/>
                    </a:cubicBezTo>
                    <a:close/>
                  </a:path>
                </a:pathLst>
              </a:custGeom>
              <a:solidFill>
                <a:srgbClr val="D6ECE9"/>
              </a:solidFill>
            </p:spPr>
          </p:sp>
        </p:grpSp>
        <p:grpSp>
          <p:nvGrpSpPr>
            <p:cNvPr id="17" name="Group 26">
              <a:extLst>
                <a:ext uri="{FF2B5EF4-FFF2-40B4-BE49-F238E27FC236}">
                  <a16:creationId xmlns:a16="http://schemas.microsoft.com/office/drawing/2014/main" id="{210CF239-74DE-4937-B9A6-6A4AED5405EF}"/>
                </a:ext>
              </a:extLst>
            </p:cNvPr>
            <p:cNvGrpSpPr/>
            <p:nvPr/>
          </p:nvGrpSpPr>
          <p:grpSpPr>
            <a:xfrm>
              <a:off x="6452394" y="6303538"/>
              <a:ext cx="2695590" cy="1000262"/>
              <a:chOff x="0" y="0"/>
              <a:chExt cx="3363293" cy="1248029"/>
            </a:xfrm>
          </p:grpSpPr>
          <p:sp>
            <p:nvSpPr>
              <p:cNvPr id="42" name="Freeform 27">
                <a:extLst>
                  <a:ext uri="{FF2B5EF4-FFF2-40B4-BE49-F238E27FC236}">
                    <a16:creationId xmlns:a16="http://schemas.microsoft.com/office/drawing/2014/main" id="{33A76CE7-3D9B-4163-A381-CE6DB3C221C0}"/>
                  </a:ext>
                </a:extLst>
              </p:cNvPr>
              <p:cNvSpPr/>
              <p:nvPr/>
            </p:nvSpPr>
            <p:spPr>
              <a:xfrm>
                <a:off x="0" y="0"/>
                <a:ext cx="3364563" cy="1248029"/>
              </a:xfrm>
              <a:custGeom>
                <a:avLst/>
                <a:gdLst/>
                <a:ahLst/>
                <a:cxnLst/>
                <a:rect l="l" t="t" r="r" b="b"/>
                <a:pathLst>
                  <a:path w="3364563" h="1248029">
                    <a:moveTo>
                      <a:pt x="2810843" y="1248029"/>
                    </a:moveTo>
                    <a:lnTo>
                      <a:pt x="553720" y="1248029"/>
                    </a:lnTo>
                    <a:cubicBezTo>
                      <a:pt x="247650" y="1248029"/>
                      <a:pt x="0" y="968640"/>
                      <a:pt x="0" y="624744"/>
                    </a:cubicBezTo>
                    <a:cubicBezTo>
                      <a:pt x="0" y="279415"/>
                      <a:pt x="247650" y="0"/>
                      <a:pt x="553720" y="0"/>
                    </a:cubicBezTo>
                    <a:lnTo>
                      <a:pt x="2810843" y="0"/>
                    </a:lnTo>
                    <a:cubicBezTo>
                      <a:pt x="3116913" y="0"/>
                      <a:pt x="3364563" y="279415"/>
                      <a:pt x="3364563" y="624744"/>
                    </a:cubicBezTo>
                    <a:cubicBezTo>
                      <a:pt x="3363293" y="968640"/>
                      <a:pt x="3115643" y="1248029"/>
                      <a:pt x="2810843" y="1248029"/>
                    </a:cubicBezTo>
                    <a:close/>
                  </a:path>
                </a:pathLst>
              </a:custGeom>
              <a:solidFill>
                <a:srgbClr val="D6ECE9"/>
              </a:solidFill>
            </p:spPr>
          </p:sp>
        </p:grpSp>
        <p:grpSp>
          <p:nvGrpSpPr>
            <p:cNvPr id="18" name="Group 29">
              <a:extLst>
                <a:ext uri="{FF2B5EF4-FFF2-40B4-BE49-F238E27FC236}">
                  <a16:creationId xmlns:a16="http://schemas.microsoft.com/office/drawing/2014/main" id="{6B58A245-8E08-498B-BBF9-6464F3CAD8A8}"/>
                </a:ext>
              </a:extLst>
            </p:cNvPr>
            <p:cNvGrpSpPr/>
            <p:nvPr/>
          </p:nvGrpSpPr>
          <p:grpSpPr>
            <a:xfrm>
              <a:off x="9212740" y="6303538"/>
              <a:ext cx="2695590" cy="1000262"/>
              <a:chOff x="0" y="0"/>
              <a:chExt cx="3363293" cy="1248029"/>
            </a:xfrm>
          </p:grpSpPr>
          <p:sp>
            <p:nvSpPr>
              <p:cNvPr id="41" name="Freeform 30">
                <a:extLst>
                  <a:ext uri="{FF2B5EF4-FFF2-40B4-BE49-F238E27FC236}">
                    <a16:creationId xmlns:a16="http://schemas.microsoft.com/office/drawing/2014/main" id="{A8EDCF0A-4344-4429-ACDA-45417D300231}"/>
                  </a:ext>
                </a:extLst>
              </p:cNvPr>
              <p:cNvSpPr/>
              <p:nvPr/>
            </p:nvSpPr>
            <p:spPr>
              <a:xfrm>
                <a:off x="0" y="0"/>
                <a:ext cx="3364563" cy="1248029"/>
              </a:xfrm>
              <a:custGeom>
                <a:avLst/>
                <a:gdLst/>
                <a:ahLst/>
                <a:cxnLst/>
                <a:rect l="l" t="t" r="r" b="b"/>
                <a:pathLst>
                  <a:path w="3364563" h="1248029">
                    <a:moveTo>
                      <a:pt x="2810843" y="1248029"/>
                    </a:moveTo>
                    <a:lnTo>
                      <a:pt x="553720" y="1248029"/>
                    </a:lnTo>
                    <a:cubicBezTo>
                      <a:pt x="247650" y="1248029"/>
                      <a:pt x="0" y="968640"/>
                      <a:pt x="0" y="624744"/>
                    </a:cubicBezTo>
                    <a:cubicBezTo>
                      <a:pt x="0" y="279415"/>
                      <a:pt x="247650" y="0"/>
                      <a:pt x="553720" y="0"/>
                    </a:cubicBezTo>
                    <a:lnTo>
                      <a:pt x="2810843" y="0"/>
                    </a:lnTo>
                    <a:cubicBezTo>
                      <a:pt x="3116913" y="0"/>
                      <a:pt x="3364563" y="279415"/>
                      <a:pt x="3364563" y="624744"/>
                    </a:cubicBezTo>
                    <a:cubicBezTo>
                      <a:pt x="3363293" y="968640"/>
                      <a:pt x="3115643" y="1248029"/>
                      <a:pt x="2810843" y="1248029"/>
                    </a:cubicBezTo>
                    <a:close/>
                  </a:path>
                </a:pathLst>
              </a:custGeom>
              <a:solidFill>
                <a:srgbClr val="D6ECE9"/>
              </a:solidFill>
            </p:spPr>
          </p:sp>
        </p:grpSp>
        <p:grpSp>
          <p:nvGrpSpPr>
            <p:cNvPr id="19" name="Group 32">
              <a:extLst>
                <a:ext uri="{FF2B5EF4-FFF2-40B4-BE49-F238E27FC236}">
                  <a16:creationId xmlns:a16="http://schemas.microsoft.com/office/drawing/2014/main" id="{4E79D46D-A918-47D9-844D-2AAACC200272}"/>
                </a:ext>
              </a:extLst>
            </p:cNvPr>
            <p:cNvGrpSpPr/>
            <p:nvPr/>
          </p:nvGrpSpPr>
          <p:grpSpPr>
            <a:xfrm>
              <a:off x="11973086" y="6303538"/>
              <a:ext cx="2695590" cy="1000262"/>
              <a:chOff x="0" y="0"/>
              <a:chExt cx="3363293" cy="1248029"/>
            </a:xfrm>
          </p:grpSpPr>
          <p:sp>
            <p:nvSpPr>
              <p:cNvPr id="40" name="Freeform 33">
                <a:extLst>
                  <a:ext uri="{FF2B5EF4-FFF2-40B4-BE49-F238E27FC236}">
                    <a16:creationId xmlns:a16="http://schemas.microsoft.com/office/drawing/2014/main" id="{13048F12-3C3E-4344-B493-0C5BA9B77180}"/>
                  </a:ext>
                </a:extLst>
              </p:cNvPr>
              <p:cNvSpPr/>
              <p:nvPr/>
            </p:nvSpPr>
            <p:spPr>
              <a:xfrm>
                <a:off x="0" y="0"/>
                <a:ext cx="3364563" cy="1248029"/>
              </a:xfrm>
              <a:custGeom>
                <a:avLst/>
                <a:gdLst/>
                <a:ahLst/>
                <a:cxnLst/>
                <a:rect l="l" t="t" r="r" b="b"/>
                <a:pathLst>
                  <a:path w="3364563" h="1248029">
                    <a:moveTo>
                      <a:pt x="2810843" y="1248029"/>
                    </a:moveTo>
                    <a:lnTo>
                      <a:pt x="553720" y="1248029"/>
                    </a:lnTo>
                    <a:cubicBezTo>
                      <a:pt x="247650" y="1248029"/>
                      <a:pt x="0" y="968640"/>
                      <a:pt x="0" y="624744"/>
                    </a:cubicBezTo>
                    <a:cubicBezTo>
                      <a:pt x="0" y="279415"/>
                      <a:pt x="247650" y="0"/>
                      <a:pt x="553720" y="0"/>
                    </a:cubicBezTo>
                    <a:lnTo>
                      <a:pt x="2810843" y="0"/>
                    </a:lnTo>
                    <a:cubicBezTo>
                      <a:pt x="3116913" y="0"/>
                      <a:pt x="3364563" y="279415"/>
                      <a:pt x="3364563" y="624744"/>
                    </a:cubicBezTo>
                    <a:cubicBezTo>
                      <a:pt x="3363293" y="968640"/>
                      <a:pt x="3115643" y="1248029"/>
                      <a:pt x="2810843" y="1248029"/>
                    </a:cubicBezTo>
                    <a:close/>
                  </a:path>
                </a:pathLst>
              </a:custGeom>
              <a:solidFill>
                <a:srgbClr val="D6ECE9"/>
              </a:solidFill>
            </p:spPr>
          </p:sp>
        </p:grpSp>
        <p:grpSp>
          <p:nvGrpSpPr>
            <p:cNvPr id="20" name="Group 35">
              <a:extLst>
                <a:ext uri="{FF2B5EF4-FFF2-40B4-BE49-F238E27FC236}">
                  <a16:creationId xmlns:a16="http://schemas.microsoft.com/office/drawing/2014/main" id="{A1E8DF5F-0098-4142-B6F6-E0DC70B15346}"/>
                </a:ext>
              </a:extLst>
            </p:cNvPr>
            <p:cNvGrpSpPr/>
            <p:nvPr/>
          </p:nvGrpSpPr>
          <p:grpSpPr>
            <a:xfrm>
              <a:off x="6425723" y="4662735"/>
              <a:ext cx="2695590" cy="1000262"/>
              <a:chOff x="0" y="0"/>
              <a:chExt cx="3363293" cy="1248029"/>
            </a:xfrm>
          </p:grpSpPr>
          <p:sp>
            <p:nvSpPr>
              <p:cNvPr id="39" name="Freeform 36">
                <a:extLst>
                  <a:ext uri="{FF2B5EF4-FFF2-40B4-BE49-F238E27FC236}">
                    <a16:creationId xmlns:a16="http://schemas.microsoft.com/office/drawing/2014/main" id="{04CCCB08-6F01-48B0-95F7-0523A560CBAE}"/>
                  </a:ext>
                </a:extLst>
              </p:cNvPr>
              <p:cNvSpPr/>
              <p:nvPr/>
            </p:nvSpPr>
            <p:spPr>
              <a:xfrm>
                <a:off x="0" y="0"/>
                <a:ext cx="3364563" cy="1248029"/>
              </a:xfrm>
              <a:custGeom>
                <a:avLst/>
                <a:gdLst/>
                <a:ahLst/>
                <a:cxnLst/>
                <a:rect l="l" t="t" r="r" b="b"/>
                <a:pathLst>
                  <a:path w="3364563" h="1248029">
                    <a:moveTo>
                      <a:pt x="2810843" y="1248029"/>
                    </a:moveTo>
                    <a:lnTo>
                      <a:pt x="553720" y="1248029"/>
                    </a:lnTo>
                    <a:cubicBezTo>
                      <a:pt x="247650" y="1248029"/>
                      <a:pt x="0" y="968640"/>
                      <a:pt x="0" y="624744"/>
                    </a:cubicBezTo>
                    <a:cubicBezTo>
                      <a:pt x="0" y="279415"/>
                      <a:pt x="247650" y="0"/>
                      <a:pt x="553720" y="0"/>
                    </a:cubicBezTo>
                    <a:lnTo>
                      <a:pt x="2810843" y="0"/>
                    </a:lnTo>
                    <a:cubicBezTo>
                      <a:pt x="3116913" y="0"/>
                      <a:pt x="3364563" y="279415"/>
                      <a:pt x="3364563" y="624744"/>
                    </a:cubicBezTo>
                    <a:cubicBezTo>
                      <a:pt x="3363293" y="968640"/>
                      <a:pt x="3115643" y="1248029"/>
                      <a:pt x="2810843" y="1248029"/>
                    </a:cubicBezTo>
                    <a:close/>
                  </a:path>
                </a:pathLst>
              </a:custGeom>
              <a:solidFill>
                <a:srgbClr val="F29400"/>
              </a:solidFill>
            </p:spPr>
          </p:sp>
        </p:grpSp>
        <p:grpSp>
          <p:nvGrpSpPr>
            <p:cNvPr id="21" name="Group 38">
              <a:extLst>
                <a:ext uri="{FF2B5EF4-FFF2-40B4-BE49-F238E27FC236}">
                  <a16:creationId xmlns:a16="http://schemas.microsoft.com/office/drawing/2014/main" id="{DFC08F3A-A355-4D75-9123-7CAB7A399651}"/>
                </a:ext>
              </a:extLst>
            </p:cNvPr>
            <p:cNvGrpSpPr/>
            <p:nvPr/>
          </p:nvGrpSpPr>
          <p:grpSpPr>
            <a:xfrm>
              <a:off x="9211631" y="4662735"/>
              <a:ext cx="2695590" cy="1000262"/>
              <a:chOff x="0" y="0"/>
              <a:chExt cx="3363293" cy="1248029"/>
            </a:xfrm>
          </p:grpSpPr>
          <p:sp>
            <p:nvSpPr>
              <p:cNvPr id="38" name="Freeform 39">
                <a:extLst>
                  <a:ext uri="{FF2B5EF4-FFF2-40B4-BE49-F238E27FC236}">
                    <a16:creationId xmlns:a16="http://schemas.microsoft.com/office/drawing/2014/main" id="{FA84F34E-5F4B-4EBC-ABA8-ECF40E7FECA6}"/>
                  </a:ext>
                </a:extLst>
              </p:cNvPr>
              <p:cNvSpPr/>
              <p:nvPr/>
            </p:nvSpPr>
            <p:spPr>
              <a:xfrm>
                <a:off x="0" y="0"/>
                <a:ext cx="3364563" cy="1248029"/>
              </a:xfrm>
              <a:custGeom>
                <a:avLst/>
                <a:gdLst/>
                <a:ahLst/>
                <a:cxnLst/>
                <a:rect l="l" t="t" r="r" b="b"/>
                <a:pathLst>
                  <a:path w="3364563" h="1248029">
                    <a:moveTo>
                      <a:pt x="2810843" y="1248029"/>
                    </a:moveTo>
                    <a:lnTo>
                      <a:pt x="553720" y="1248029"/>
                    </a:lnTo>
                    <a:cubicBezTo>
                      <a:pt x="247650" y="1248029"/>
                      <a:pt x="0" y="968640"/>
                      <a:pt x="0" y="624744"/>
                    </a:cubicBezTo>
                    <a:cubicBezTo>
                      <a:pt x="0" y="279415"/>
                      <a:pt x="247650" y="0"/>
                      <a:pt x="553720" y="0"/>
                    </a:cubicBezTo>
                    <a:lnTo>
                      <a:pt x="2810843" y="0"/>
                    </a:lnTo>
                    <a:cubicBezTo>
                      <a:pt x="3116913" y="0"/>
                      <a:pt x="3364563" y="279415"/>
                      <a:pt x="3364563" y="624744"/>
                    </a:cubicBezTo>
                    <a:cubicBezTo>
                      <a:pt x="3363293" y="968640"/>
                      <a:pt x="3115643" y="1248029"/>
                      <a:pt x="2810843" y="1248029"/>
                    </a:cubicBezTo>
                    <a:close/>
                  </a:path>
                </a:pathLst>
              </a:custGeom>
              <a:solidFill>
                <a:srgbClr val="F29400"/>
              </a:solidFill>
            </p:spPr>
          </p:sp>
        </p:grpSp>
        <p:sp>
          <p:nvSpPr>
            <p:cNvPr id="22" name="AutoShape 41">
              <a:extLst>
                <a:ext uri="{FF2B5EF4-FFF2-40B4-BE49-F238E27FC236}">
                  <a16:creationId xmlns:a16="http://schemas.microsoft.com/office/drawing/2014/main" id="{B64679BD-FF12-4518-BFC5-4575C736DE0C}"/>
                </a:ext>
              </a:extLst>
            </p:cNvPr>
            <p:cNvSpPr/>
            <p:nvPr/>
          </p:nvSpPr>
          <p:spPr>
            <a:xfrm>
              <a:off x="9174421" y="3951954"/>
              <a:ext cx="11883" cy="385974"/>
            </a:xfrm>
            <a:prstGeom prst="rect">
              <a:avLst/>
            </a:prstGeom>
            <a:solidFill>
              <a:srgbClr val="191919"/>
            </a:solidFill>
          </p:spPr>
        </p:sp>
        <p:sp>
          <p:nvSpPr>
            <p:cNvPr id="23" name="AutoShape 42">
              <a:extLst>
                <a:ext uri="{FF2B5EF4-FFF2-40B4-BE49-F238E27FC236}">
                  <a16:creationId xmlns:a16="http://schemas.microsoft.com/office/drawing/2014/main" id="{F1C6E67B-E646-4191-975B-0C6F2878E344}"/>
                </a:ext>
              </a:extLst>
            </p:cNvPr>
            <p:cNvSpPr/>
            <p:nvPr/>
          </p:nvSpPr>
          <p:spPr>
            <a:xfrm>
              <a:off x="7807177" y="4333166"/>
              <a:ext cx="2746371" cy="9525"/>
            </a:xfrm>
            <a:prstGeom prst="rect">
              <a:avLst/>
            </a:prstGeom>
            <a:solidFill>
              <a:srgbClr val="191919"/>
            </a:solidFill>
          </p:spPr>
        </p:sp>
        <p:sp>
          <p:nvSpPr>
            <p:cNvPr id="24" name="AutoShape 43">
              <a:extLst>
                <a:ext uri="{FF2B5EF4-FFF2-40B4-BE49-F238E27FC236}">
                  <a16:creationId xmlns:a16="http://schemas.microsoft.com/office/drawing/2014/main" id="{0A3E91AC-792F-4A92-90FF-D433A0A8C184}"/>
                </a:ext>
              </a:extLst>
            </p:cNvPr>
            <p:cNvSpPr/>
            <p:nvPr/>
          </p:nvSpPr>
          <p:spPr>
            <a:xfrm>
              <a:off x="10547543" y="4339667"/>
              <a:ext cx="11883" cy="292795"/>
            </a:xfrm>
            <a:prstGeom prst="rect">
              <a:avLst/>
            </a:prstGeom>
            <a:solidFill>
              <a:srgbClr val="191919"/>
            </a:solidFill>
          </p:spPr>
        </p:sp>
        <p:sp>
          <p:nvSpPr>
            <p:cNvPr id="25" name="AutoShape 44">
              <a:extLst>
                <a:ext uri="{FF2B5EF4-FFF2-40B4-BE49-F238E27FC236}">
                  <a16:creationId xmlns:a16="http://schemas.microsoft.com/office/drawing/2014/main" id="{FB95D15B-E2AF-4565-932D-11B50805108B}"/>
                </a:ext>
              </a:extLst>
            </p:cNvPr>
            <p:cNvSpPr/>
            <p:nvPr/>
          </p:nvSpPr>
          <p:spPr>
            <a:xfrm>
              <a:off x="7806882" y="4339667"/>
              <a:ext cx="11883" cy="292795"/>
            </a:xfrm>
            <a:prstGeom prst="rect">
              <a:avLst/>
            </a:prstGeom>
            <a:solidFill>
              <a:srgbClr val="191919"/>
            </a:solidFill>
          </p:spPr>
        </p:sp>
        <p:grpSp>
          <p:nvGrpSpPr>
            <p:cNvPr id="26" name="Group 45">
              <a:extLst>
                <a:ext uri="{FF2B5EF4-FFF2-40B4-BE49-F238E27FC236}">
                  <a16:creationId xmlns:a16="http://schemas.microsoft.com/office/drawing/2014/main" id="{718AEB71-CCE9-4D37-BA0C-768A64563EEA}"/>
                </a:ext>
              </a:extLst>
            </p:cNvPr>
            <p:cNvGrpSpPr/>
            <p:nvPr/>
          </p:nvGrpSpPr>
          <p:grpSpPr>
            <a:xfrm>
              <a:off x="5039843" y="5693270"/>
              <a:ext cx="8281038" cy="595131"/>
              <a:chOff x="0" y="0"/>
              <a:chExt cx="11041384" cy="793509"/>
            </a:xfrm>
          </p:grpSpPr>
          <p:sp>
            <p:nvSpPr>
              <p:cNvPr id="33" name="AutoShape 46">
                <a:extLst>
                  <a:ext uri="{FF2B5EF4-FFF2-40B4-BE49-F238E27FC236}">
                    <a16:creationId xmlns:a16="http://schemas.microsoft.com/office/drawing/2014/main" id="{71011E92-77D1-4A61-8E18-0AF88DADD422}"/>
                  </a:ext>
                </a:extLst>
              </p:cNvPr>
              <p:cNvSpPr/>
              <p:nvPr/>
            </p:nvSpPr>
            <p:spPr>
              <a:xfrm>
                <a:off x="7922" y="390394"/>
                <a:ext cx="11033462" cy="12721"/>
              </a:xfrm>
              <a:prstGeom prst="rect">
                <a:avLst/>
              </a:prstGeom>
              <a:solidFill>
                <a:srgbClr val="191919"/>
              </a:solidFill>
            </p:spPr>
          </p:sp>
          <p:sp>
            <p:nvSpPr>
              <p:cNvPr id="34" name="AutoShape 47">
                <a:extLst>
                  <a:ext uri="{FF2B5EF4-FFF2-40B4-BE49-F238E27FC236}">
                    <a16:creationId xmlns:a16="http://schemas.microsoft.com/office/drawing/2014/main" id="{C16244D8-0AB8-4A7C-A6AC-102722B3A3C8}"/>
                  </a:ext>
                </a:extLst>
              </p:cNvPr>
              <p:cNvSpPr/>
              <p:nvPr/>
            </p:nvSpPr>
            <p:spPr>
              <a:xfrm>
                <a:off x="3677503" y="0"/>
                <a:ext cx="15843" cy="390394"/>
              </a:xfrm>
              <a:prstGeom prst="rect">
                <a:avLst/>
              </a:prstGeom>
              <a:solidFill>
                <a:srgbClr val="191919"/>
              </a:solidFill>
            </p:spPr>
          </p:sp>
          <p:sp>
            <p:nvSpPr>
              <p:cNvPr id="35" name="AutoShape 48">
                <a:extLst>
                  <a:ext uri="{FF2B5EF4-FFF2-40B4-BE49-F238E27FC236}">
                    <a16:creationId xmlns:a16="http://schemas.microsoft.com/office/drawing/2014/main" id="{B6110084-5E0F-4A73-A037-B50B3B86CB5B}"/>
                  </a:ext>
                </a:extLst>
              </p:cNvPr>
              <p:cNvSpPr/>
              <p:nvPr/>
            </p:nvSpPr>
            <p:spPr>
              <a:xfrm>
                <a:off x="7363881" y="12721"/>
                <a:ext cx="15843" cy="390394"/>
              </a:xfrm>
              <a:prstGeom prst="rect">
                <a:avLst/>
              </a:prstGeom>
              <a:solidFill>
                <a:srgbClr val="191919"/>
              </a:solidFill>
            </p:spPr>
          </p:sp>
          <p:sp>
            <p:nvSpPr>
              <p:cNvPr id="36" name="AutoShape 49">
                <a:extLst>
                  <a:ext uri="{FF2B5EF4-FFF2-40B4-BE49-F238E27FC236}">
                    <a16:creationId xmlns:a16="http://schemas.microsoft.com/office/drawing/2014/main" id="{2B433444-3B7B-45CF-AED2-65376A0BC35A}"/>
                  </a:ext>
                </a:extLst>
              </p:cNvPr>
              <p:cNvSpPr/>
              <p:nvPr/>
            </p:nvSpPr>
            <p:spPr>
              <a:xfrm>
                <a:off x="11025541" y="403115"/>
                <a:ext cx="15843" cy="390394"/>
              </a:xfrm>
              <a:prstGeom prst="rect">
                <a:avLst/>
              </a:prstGeom>
              <a:solidFill>
                <a:srgbClr val="191919"/>
              </a:solidFill>
            </p:spPr>
          </p:sp>
          <p:sp>
            <p:nvSpPr>
              <p:cNvPr id="37" name="AutoShape 50">
                <a:extLst>
                  <a:ext uri="{FF2B5EF4-FFF2-40B4-BE49-F238E27FC236}">
                    <a16:creationId xmlns:a16="http://schemas.microsoft.com/office/drawing/2014/main" id="{EA307DF7-8E15-4A16-B1B5-48668528D89D}"/>
                  </a:ext>
                </a:extLst>
              </p:cNvPr>
              <p:cNvSpPr/>
              <p:nvPr/>
            </p:nvSpPr>
            <p:spPr>
              <a:xfrm>
                <a:off x="0" y="403115"/>
                <a:ext cx="15843" cy="390394"/>
              </a:xfrm>
              <a:prstGeom prst="rect">
                <a:avLst/>
              </a:prstGeom>
              <a:solidFill>
                <a:srgbClr val="191919"/>
              </a:solidFill>
            </p:spPr>
          </p:sp>
        </p:grpSp>
        <p:grpSp>
          <p:nvGrpSpPr>
            <p:cNvPr id="27" name="Group 51">
              <a:extLst>
                <a:ext uri="{FF2B5EF4-FFF2-40B4-BE49-F238E27FC236}">
                  <a16:creationId xmlns:a16="http://schemas.microsoft.com/office/drawing/2014/main" id="{532D8D49-2C82-45B3-A168-77D0AC1AEBBB}"/>
                </a:ext>
              </a:extLst>
            </p:cNvPr>
            <p:cNvGrpSpPr/>
            <p:nvPr/>
          </p:nvGrpSpPr>
          <p:grpSpPr>
            <a:xfrm>
              <a:off x="2281537" y="7349210"/>
              <a:ext cx="13803233" cy="595167"/>
              <a:chOff x="0" y="0"/>
              <a:chExt cx="18404311" cy="793555"/>
            </a:xfrm>
          </p:grpSpPr>
          <p:sp>
            <p:nvSpPr>
              <p:cNvPr id="28" name="AutoShape 52">
                <a:extLst>
                  <a:ext uri="{FF2B5EF4-FFF2-40B4-BE49-F238E27FC236}">
                    <a16:creationId xmlns:a16="http://schemas.microsoft.com/office/drawing/2014/main" id="{C9585F3E-BD57-4CC2-9536-15E6530973EE}"/>
                  </a:ext>
                </a:extLst>
              </p:cNvPr>
              <p:cNvSpPr/>
              <p:nvPr/>
            </p:nvSpPr>
            <p:spPr>
              <a:xfrm>
                <a:off x="0" y="390394"/>
                <a:ext cx="18388468" cy="12768"/>
              </a:xfrm>
              <a:prstGeom prst="rect">
                <a:avLst/>
              </a:prstGeom>
              <a:solidFill>
                <a:srgbClr val="191919"/>
              </a:solidFill>
            </p:spPr>
          </p:sp>
          <p:sp>
            <p:nvSpPr>
              <p:cNvPr id="29" name="AutoShape 53">
                <a:extLst>
                  <a:ext uri="{FF2B5EF4-FFF2-40B4-BE49-F238E27FC236}">
                    <a16:creationId xmlns:a16="http://schemas.microsoft.com/office/drawing/2014/main" id="{1B3F0A93-B0B1-4601-9A18-7B19FBBE0BEB}"/>
                  </a:ext>
                </a:extLst>
              </p:cNvPr>
              <p:cNvSpPr/>
              <p:nvPr/>
            </p:nvSpPr>
            <p:spPr>
              <a:xfrm>
                <a:off x="0" y="403162"/>
                <a:ext cx="15843" cy="390394"/>
              </a:xfrm>
              <a:prstGeom prst="rect">
                <a:avLst/>
              </a:prstGeom>
              <a:solidFill>
                <a:srgbClr val="191919"/>
              </a:solidFill>
            </p:spPr>
          </p:sp>
          <p:sp>
            <p:nvSpPr>
              <p:cNvPr id="30" name="AutoShape 54">
                <a:extLst>
                  <a:ext uri="{FF2B5EF4-FFF2-40B4-BE49-F238E27FC236}">
                    <a16:creationId xmlns:a16="http://schemas.microsoft.com/office/drawing/2014/main" id="{D1BBC435-4C3E-4D93-AB1C-2A8FFFF29EBF}"/>
                  </a:ext>
                </a:extLst>
              </p:cNvPr>
              <p:cNvSpPr/>
              <p:nvPr/>
            </p:nvSpPr>
            <p:spPr>
              <a:xfrm>
                <a:off x="18388468" y="403162"/>
                <a:ext cx="15843" cy="390394"/>
              </a:xfrm>
              <a:prstGeom prst="rect">
                <a:avLst/>
              </a:prstGeom>
              <a:solidFill>
                <a:srgbClr val="191919"/>
              </a:solidFill>
            </p:spPr>
          </p:sp>
          <p:sp>
            <p:nvSpPr>
              <p:cNvPr id="31" name="AutoShape 55">
                <a:extLst>
                  <a:ext uri="{FF2B5EF4-FFF2-40B4-BE49-F238E27FC236}">
                    <a16:creationId xmlns:a16="http://schemas.microsoft.com/office/drawing/2014/main" id="{A3D6A62F-9899-48A1-8F1A-FEED48977DC8}"/>
                  </a:ext>
                </a:extLst>
              </p:cNvPr>
              <p:cNvSpPr/>
              <p:nvPr/>
            </p:nvSpPr>
            <p:spPr>
              <a:xfrm>
                <a:off x="3685425" y="0"/>
                <a:ext cx="15843" cy="390394"/>
              </a:xfrm>
              <a:prstGeom prst="rect">
                <a:avLst/>
              </a:prstGeom>
              <a:solidFill>
                <a:srgbClr val="191919"/>
              </a:solidFill>
            </p:spPr>
          </p:sp>
          <p:sp>
            <p:nvSpPr>
              <p:cNvPr id="32" name="AutoShape 56">
                <a:extLst>
                  <a:ext uri="{FF2B5EF4-FFF2-40B4-BE49-F238E27FC236}">
                    <a16:creationId xmlns:a16="http://schemas.microsoft.com/office/drawing/2014/main" id="{D82E54A6-14E5-465E-9A3B-E40E20B8E776}"/>
                  </a:ext>
                </a:extLst>
              </p:cNvPr>
              <p:cNvSpPr/>
              <p:nvPr/>
            </p:nvSpPr>
            <p:spPr>
              <a:xfrm>
                <a:off x="14710965" y="0"/>
                <a:ext cx="15843" cy="390394"/>
              </a:xfrm>
              <a:prstGeom prst="rect">
                <a:avLst/>
              </a:prstGeom>
              <a:solidFill>
                <a:srgbClr val="191919"/>
              </a:solidFill>
            </p:spPr>
          </p:sp>
        </p:grpSp>
      </p:grpSp>
      <p:sp>
        <p:nvSpPr>
          <p:cNvPr id="52" name="Titre 24">
            <a:extLst>
              <a:ext uri="{FF2B5EF4-FFF2-40B4-BE49-F238E27FC236}">
                <a16:creationId xmlns:a16="http://schemas.microsoft.com/office/drawing/2014/main" id="{3F849B01-63E8-43A9-9B27-93C6E626E0D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5460" y="313723"/>
            <a:ext cx="4070509" cy="539891"/>
          </a:xfrm>
        </p:spPr>
        <p:txBody>
          <a:bodyPr>
            <a:normAutofit/>
          </a:bodyPr>
          <a:lstStyle>
            <a:lvl1pPr>
              <a:defRPr sz="2100"/>
            </a:lvl1pPr>
          </a:lstStyle>
          <a:p>
            <a:r>
              <a:rPr lang="fr-FR" sz="2400">
                <a:solidFill>
                  <a:srgbClr val="F57A30"/>
                </a:solidFill>
                <a:latin typeface="Source Sans Pro Black" panose="020B0803030403020204" pitchFamily="34" charset="0"/>
              </a:rPr>
              <a:t>Titre</a:t>
            </a:r>
          </a:p>
        </p:txBody>
      </p:sp>
    </p:spTree>
    <p:extLst>
      <p:ext uri="{BB962C8B-B14F-4D97-AF65-F5344CB8AC3E}">
        <p14:creationId xmlns:p14="http://schemas.microsoft.com/office/powerpoint/2010/main" val="2829300548"/>
      </p:ext>
    </p:extLst>
  </p:cSld>
  <p:clrMapOvr>
    <a:masterClrMapping/>
  </p:clrMapOvr>
</p:sldLayout>
</file>

<file path=ppt/slideLayouts/slideLayout6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spositio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Logo AXA" descr="\\Mac\AllFiles\Volumes\DOSSIERS EN COURS\17_1098 AXA_Creation_gabarits\elements\png\new_logo_axa_rgb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727773" y="4727113"/>
            <a:ext cx="209971" cy="2100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952283563"/>
      </p:ext>
    </p:extLst>
  </p:cSld>
  <p:clrMapOvr>
    <a:masterClrMapping/>
  </p:clrMapOvr>
</p:sldLayout>
</file>

<file path=ppt/slideLayouts/slideLayout6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979A9473-FA59-411B-A155-5680CB9CA2C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FF070D8E-E67F-4D5A-84A7-922A3FDF1D7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2FB44AF0-0F69-4884-B3BC-26B7F44605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48F244-30DD-438A-ADD2-DF4984FBCA8F}" type="slidenum">
              <a:rPr lang="fr-FR" smtClean="0"/>
              <a:t>‹#›</a:t>
            </a:fld>
            <a:endParaRPr lang="fr-FR"/>
          </a:p>
        </p:txBody>
      </p:sp>
      <p:grpSp>
        <p:nvGrpSpPr>
          <p:cNvPr id="8" name="Groupe 7">
            <a:extLst>
              <a:ext uri="{FF2B5EF4-FFF2-40B4-BE49-F238E27FC236}">
                <a16:creationId xmlns:a16="http://schemas.microsoft.com/office/drawing/2014/main" id="{51DF92A7-093C-4B2B-A580-4746F7094905}"/>
              </a:ext>
            </a:extLst>
          </p:cNvPr>
          <p:cNvGrpSpPr/>
          <p:nvPr userDrawn="1"/>
        </p:nvGrpSpPr>
        <p:grpSpPr>
          <a:xfrm>
            <a:off x="507767" y="1230160"/>
            <a:ext cx="7890241" cy="2905010"/>
            <a:chOff x="933742" y="2929246"/>
            <a:chExt cx="16420516" cy="6045665"/>
          </a:xfrm>
        </p:grpSpPr>
        <p:grpSp>
          <p:nvGrpSpPr>
            <p:cNvPr id="9" name="Group 2">
              <a:extLst>
                <a:ext uri="{FF2B5EF4-FFF2-40B4-BE49-F238E27FC236}">
                  <a16:creationId xmlns:a16="http://schemas.microsoft.com/office/drawing/2014/main" id="{1C11E6DF-63D7-4378-A90B-022F9B334A85}"/>
                </a:ext>
              </a:extLst>
            </p:cNvPr>
            <p:cNvGrpSpPr/>
            <p:nvPr/>
          </p:nvGrpSpPr>
          <p:grpSpPr>
            <a:xfrm>
              <a:off x="7863836" y="2929246"/>
              <a:ext cx="2695590" cy="1000262"/>
              <a:chOff x="0" y="0"/>
              <a:chExt cx="3363293" cy="1248029"/>
            </a:xfrm>
          </p:grpSpPr>
          <p:sp>
            <p:nvSpPr>
              <p:cNvPr id="49" name="Freeform 3">
                <a:extLst>
                  <a:ext uri="{FF2B5EF4-FFF2-40B4-BE49-F238E27FC236}">
                    <a16:creationId xmlns:a16="http://schemas.microsoft.com/office/drawing/2014/main" id="{7716D331-7F65-42CB-9838-88E3B5967012}"/>
                  </a:ext>
                </a:extLst>
              </p:cNvPr>
              <p:cNvSpPr/>
              <p:nvPr/>
            </p:nvSpPr>
            <p:spPr>
              <a:xfrm>
                <a:off x="0" y="0"/>
                <a:ext cx="3364563" cy="1248029"/>
              </a:xfrm>
              <a:custGeom>
                <a:avLst/>
                <a:gdLst/>
                <a:ahLst/>
                <a:cxnLst/>
                <a:rect l="l" t="t" r="r" b="b"/>
                <a:pathLst>
                  <a:path w="3364563" h="1248029">
                    <a:moveTo>
                      <a:pt x="2810843" y="1248029"/>
                    </a:moveTo>
                    <a:lnTo>
                      <a:pt x="553720" y="1248029"/>
                    </a:lnTo>
                    <a:cubicBezTo>
                      <a:pt x="247650" y="1248029"/>
                      <a:pt x="0" y="968640"/>
                      <a:pt x="0" y="624744"/>
                    </a:cubicBezTo>
                    <a:cubicBezTo>
                      <a:pt x="0" y="279415"/>
                      <a:pt x="247650" y="0"/>
                      <a:pt x="553720" y="0"/>
                    </a:cubicBezTo>
                    <a:lnTo>
                      <a:pt x="2810843" y="0"/>
                    </a:lnTo>
                    <a:cubicBezTo>
                      <a:pt x="3116913" y="0"/>
                      <a:pt x="3364563" y="279415"/>
                      <a:pt x="3364563" y="624744"/>
                    </a:cubicBezTo>
                    <a:cubicBezTo>
                      <a:pt x="3363293" y="968640"/>
                      <a:pt x="3115643" y="1248029"/>
                      <a:pt x="2810843" y="1248029"/>
                    </a:cubicBezTo>
                    <a:close/>
                  </a:path>
                </a:pathLst>
              </a:custGeom>
              <a:solidFill>
                <a:srgbClr val="F57A30"/>
              </a:solidFill>
            </p:spPr>
          </p:sp>
        </p:grpSp>
        <p:grpSp>
          <p:nvGrpSpPr>
            <p:cNvPr id="10" name="Group 5">
              <a:extLst>
                <a:ext uri="{FF2B5EF4-FFF2-40B4-BE49-F238E27FC236}">
                  <a16:creationId xmlns:a16="http://schemas.microsoft.com/office/drawing/2014/main" id="{E4A650C1-613E-44FD-98BF-1EEE4D692559}"/>
                </a:ext>
              </a:extLst>
            </p:cNvPr>
            <p:cNvGrpSpPr/>
            <p:nvPr/>
          </p:nvGrpSpPr>
          <p:grpSpPr>
            <a:xfrm>
              <a:off x="933742" y="7974649"/>
              <a:ext cx="2695590" cy="1000262"/>
              <a:chOff x="0" y="0"/>
              <a:chExt cx="3363293" cy="1248029"/>
            </a:xfrm>
          </p:grpSpPr>
          <p:sp>
            <p:nvSpPr>
              <p:cNvPr id="48" name="Freeform 6">
                <a:extLst>
                  <a:ext uri="{FF2B5EF4-FFF2-40B4-BE49-F238E27FC236}">
                    <a16:creationId xmlns:a16="http://schemas.microsoft.com/office/drawing/2014/main" id="{C020F00B-9512-4631-8B72-BDC996A86A79}"/>
                  </a:ext>
                </a:extLst>
              </p:cNvPr>
              <p:cNvSpPr/>
              <p:nvPr/>
            </p:nvSpPr>
            <p:spPr>
              <a:xfrm>
                <a:off x="0" y="0"/>
                <a:ext cx="3364563" cy="1248029"/>
              </a:xfrm>
              <a:custGeom>
                <a:avLst/>
                <a:gdLst/>
                <a:ahLst/>
                <a:cxnLst/>
                <a:rect l="l" t="t" r="r" b="b"/>
                <a:pathLst>
                  <a:path w="3364563" h="1248029">
                    <a:moveTo>
                      <a:pt x="2810843" y="1248029"/>
                    </a:moveTo>
                    <a:lnTo>
                      <a:pt x="553720" y="1248029"/>
                    </a:lnTo>
                    <a:cubicBezTo>
                      <a:pt x="247650" y="1248029"/>
                      <a:pt x="0" y="968640"/>
                      <a:pt x="0" y="624744"/>
                    </a:cubicBezTo>
                    <a:cubicBezTo>
                      <a:pt x="0" y="279415"/>
                      <a:pt x="247650" y="0"/>
                      <a:pt x="553720" y="0"/>
                    </a:cubicBezTo>
                    <a:lnTo>
                      <a:pt x="2810843" y="0"/>
                    </a:lnTo>
                    <a:cubicBezTo>
                      <a:pt x="3116913" y="0"/>
                      <a:pt x="3364563" y="279415"/>
                      <a:pt x="3364563" y="624744"/>
                    </a:cubicBezTo>
                    <a:cubicBezTo>
                      <a:pt x="3363293" y="968640"/>
                      <a:pt x="3115643" y="1248029"/>
                      <a:pt x="2810843" y="1248029"/>
                    </a:cubicBezTo>
                    <a:close/>
                  </a:path>
                </a:pathLst>
              </a:custGeom>
              <a:solidFill>
                <a:srgbClr val="00727A"/>
              </a:solidFill>
            </p:spPr>
          </p:sp>
        </p:grpSp>
        <p:sp>
          <p:nvSpPr>
            <p:cNvPr id="11" name="Freeform 9">
              <a:extLst>
                <a:ext uri="{FF2B5EF4-FFF2-40B4-BE49-F238E27FC236}">
                  <a16:creationId xmlns:a16="http://schemas.microsoft.com/office/drawing/2014/main" id="{6E3A5CDD-7FC4-47D4-8385-487212489E7A}"/>
                </a:ext>
              </a:extLst>
            </p:cNvPr>
            <p:cNvSpPr/>
            <p:nvPr/>
          </p:nvSpPr>
          <p:spPr>
            <a:xfrm>
              <a:off x="3678727" y="7974650"/>
              <a:ext cx="2696608" cy="1000261"/>
            </a:xfrm>
            <a:custGeom>
              <a:avLst/>
              <a:gdLst/>
              <a:ahLst/>
              <a:cxnLst/>
              <a:rect l="l" t="t" r="r" b="b"/>
              <a:pathLst>
                <a:path w="3364563" h="1248029">
                  <a:moveTo>
                    <a:pt x="2810843" y="1248029"/>
                  </a:moveTo>
                  <a:lnTo>
                    <a:pt x="553720" y="1248029"/>
                  </a:lnTo>
                  <a:cubicBezTo>
                    <a:pt x="247650" y="1248029"/>
                    <a:pt x="0" y="968640"/>
                    <a:pt x="0" y="624744"/>
                  </a:cubicBezTo>
                  <a:cubicBezTo>
                    <a:pt x="0" y="279415"/>
                    <a:pt x="247650" y="0"/>
                    <a:pt x="553720" y="0"/>
                  </a:cubicBezTo>
                  <a:lnTo>
                    <a:pt x="2810843" y="0"/>
                  </a:lnTo>
                  <a:cubicBezTo>
                    <a:pt x="3116913" y="0"/>
                    <a:pt x="3364563" y="279415"/>
                    <a:pt x="3364563" y="624744"/>
                  </a:cubicBezTo>
                  <a:cubicBezTo>
                    <a:pt x="3363293" y="968640"/>
                    <a:pt x="3115643" y="1248029"/>
                    <a:pt x="2810843" y="1248029"/>
                  </a:cubicBezTo>
                  <a:close/>
                </a:path>
              </a:pathLst>
            </a:custGeom>
            <a:solidFill>
              <a:srgbClr val="00727A"/>
            </a:solidFill>
          </p:spPr>
        </p:sp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85D650AF-4889-414E-8BF5-8B90502B5579}"/>
                </a:ext>
              </a:extLst>
            </p:cNvPr>
            <p:cNvGrpSpPr/>
            <p:nvPr/>
          </p:nvGrpSpPr>
          <p:grpSpPr>
            <a:xfrm>
              <a:off x="6423712" y="7974649"/>
              <a:ext cx="2695590" cy="1000262"/>
              <a:chOff x="0" y="0"/>
              <a:chExt cx="3363293" cy="1248029"/>
            </a:xfrm>
          </p:grpSpPr>
          <p:sp>
            <p:nvSpPr>
              <p:cNvPr id="47" name="Freeform 12">
                <a:extLst>
                  <a:ext uri="{FF2B5EF4-FFF2-40B4-BE49-F238E27FC236}">
                    <a16:creationId xmlns:a16="http://schemas.microsoft.com/office/drawing/2014/main" id="{764B7B56-0EFB-4F58-A94C-CBCEB4FF839C}"/>
                  </a:ext>
                </a:extLst>
              </p:cNvPr>
              <p:cNvSpPr/>
              <p:nvPr/>
            </p:nvSpPr>
            <p:spPr>
              <a:xfrm>
                <a:off x="0" y="0"/>
                <a:ext cx="3364563" cy="1248029"/>
              </a:xfrm>
              <a:custGeom>
                <a:avLst/>
                <a:gdLst/>
                <a:ahLst/>
                <a:cxnLst/>
                <a:rect l="l" t="t" r="r" b="b"/>
                <a:pathLst>
                  <a:path w="3364563" h="1248029">
                    <a:moveTo>
                      <a:pt x="2810843" y="1248029"/>
                    </a:moveTo>
                    <a:lnTo>
                      <a:pt x="553720" y="1248029"/>
                    </a:lnTo>
                    <a:cubicBezTo>
                      <a:pt x="247650" y="1248029"/>
                      <a:pt x="0" y="968640"/>
                      <a:pt x="0" y="624744"/>
                    </a:cubicBezTo>
                    <a:cubicBezTo>
                      <a:pt x="0" y="279415"/>
                      <a:pt x="247650" y="0"/>
                      <a:pt x="553720" y="0"/>
                    </a:cubicBezTo>
                    <a:lnTo>
                      <a:pt x="2810843" y="0"/>
                    </a:lnTo>
                    <a:cubicBezTo>
                      <a:pt x="3116913" y="0"/>
                      <a:pt x="3364563" y="279415"/>
                      <a:pt x="3364563" y="624744"/>
                    </a:cubicBezTo>
                    <a:cubicBezTo>
                      <a:pt x="3363293" y="968640"/>
                      <a:pt x="3115643" y="1248029"/>
                      <a:pt x="2810843" y="1248029"/>
                    </a:cubicBezTo>
                    <a:close/>
                  </a:path>
                </a:pathLst>
              </a:custGeom>
              <a:solidFill>
                <a:srgbClr val="00727A"/>
              </a:solidFill>
            </p:spPr>
          </p:sp>
        </p:grpSp>
        <p:grpSp>
          <p:nvGrpSpPr>
            <p:cNvPr id="13" name="Group 14">
              <a:extLst>
                <a:ext uri="{FF2B5EF4-FFF2-40B4-BE49-F238E27FC236}">
                  <a16:creationId xmlns:a16="http://schemas.microsoft.com/office/drawing/2014/main" id="{5A1FCF0A-CFD9-476A-9C76-0A78953D5AA6}"/>
                </a:ext>
              </a:extLst>
            </p:cNvPr>
            <p:cNvGrpSpPr/>
            <p:nvPr/>
          </p:nvGrpSpPr>
          <p:grpSpPr>
            <a:xfrm>
              <a:off x="9168698" y="7974649"/>
              <a:ext cx="2695590" cy="1000262"/>
              <a:chOff x="0" y="0"/>
              <a:chExt cx="3363293" cy="1248029"/>
            </a:xfrm>
          </p:grpSpPr>
          <p:sp>
            <p:nvSpPr>
              <p:cNvPr id="46" name="Freeform 15">
                <a:extLst>
                  <a:ext uri="{FF2B5EF4-FFF2-40B4-BE49-F238E27FC236}">
                    <a16:creationId xmlns:a16="http://schemas.microsoft.com/office/drawing/2014/main" id="{ECFFECBD-9A7F-462A-80F0-A82E86720363}"/>
                  </a:ext>
                </a:extLst>
              </p:cNvPr>
              <p:cNvSpPr/>
              <p:nvPr/>
            </p:nvSpPr>
            <p:spPr>
              <a:xfrm>
                <a:off x="0" y="0"/>
                <a:ext cx="3364563" cy="1248029"/>
              </a:xfrm>
              <a:custGeom>
                <a:avLst/>
                <a:gdLst/>
                <a:ahLst/>
                <a:cxnLst/>
                <a:rect l="l" t="t" r="r" b="b"/>
                <a:pathLst>
                  <a:path w="3364563" h="1248029">
                    <a:moveTo>
                      <a:pt x="2810843" y="1248029"/>
                    </a:moveTo>
                    <a:lnTo>
                      <a:pt x="553720" y="1248029"/>
                    </a:lnTo>
                    <a:cubicBezTo>
                      <a:pt x="247650" y="1248029"/>
                      <a:pt x="0" y="968640"/>
                      <a:pt x="0" y="624744"/>
                    </a:cubicBezTo>
                    <a:cubicBezTo>
                      <a:pt x="0" y="279415"/>
                      <a:pt x="247650" y="0"/>
                      <a:pt x="553720" y="0"/>
                    </a:cubicBezTo>
                    <a:lnTo>
                      <a:pt x="2810843" y="0"/>
                    </a:lnTo>
                    <a:cubicBezTo>
                      <a:pt x="3116913" y="0"/>
                      <a:pt x="3364563" y="279415"/>
                      <a:pt x="3364563" y="624744"/>
                    </a:cubicBezTo>
                    <a:cubicBezTo>
                      <a:pt x="3363293" y="968640"/>
                      <a:pt x="3115643" y="1248029"/>
                      <a:pt x="2810843" y="1248029"/>
                    </a:cubicBezTo>
                    <a:close/>
                  </a:path>
                </a:pathLst>
              </a:custGeom>
              <a:solidFill>
                <a:srgbClr val="00727A"/>
              </a:solidFill>
            </p:spPr>
          </p:sp>
        </p:grpSp>
        <p:grpSp>
          <p:nvGrpSpPr>
            <p:cNvPr id="14" name="Group 17">
              <a:extLst>
                <a:ext uri="{FF2B5EF4-FFF2-40B4-BE49-F238E27FC236}">
                  <a16:creationId xmlns:a16="http://schemas.microsoft.com/office/drawing/2014/main" id="{BD67985C-2540-4EFF-A3C3-5FEA1C0B89E3}"/>
                </a:ext>
              </a:extLst>
            </p:cNvPr>
            <p:cNvGrpSpPr/>
            <p:nvPr/>
          </p:nvGrpSpPr>
          <p:grpSpPr>
            <a:xfrm>
              <a:off x="11913683" y="7974649"/>
              <a:ext cx="2695590" cy="1000262"/>
              <a:chOff x="0" y="0"/>
              <a:chExt cx="3363293" cy="1248029"/>
            </a:xfrm>
          </p:grpSpPr>
          <p:sp>
            <p:nvSpPr>
              <p:cNvPr id="45" name="Freeform 18">
                <a:extLst>
                  <a:ext uri="{FF2B5EF4-FFF2-40B4-BE49-F238E27FC236}">
                    <a16:creationId xmlns:a16="http://schemas.microsoft.com/office/drawing/2014/main" id="{7B28E279-D059-4240-9506-D88179EA322F}"/>
                  </a:ext>
                </a:extLst>
              </p:cNvPr>
              <p:cNvSpPr/>
              <p:nvPr/>
            </p:nvSpPr>
            <p:spPr>
              <a:xfrm>
                <a:off x="0" y="0"/>
                <a:ext cx="3364563" cy="1248029"/>
              </a:xfrm>
              <a:custGeom>
                <a:avLst/>
                <a:gdLst/>
                <a:ahLst/>
                <a:cxnLst/>
                <a:rect l="l" t="t" r="r" b="b"/>
                <a:pathLst>
                  <a:path w="3364563" h="1248029">
                    <a:moveTo>
                      <a:pt x="2810843" y="1248029"/>
                    </a:moveTo>
                    <a:lnTo>
                      <a:pt x="553720" y="1248029"/>
                    </a:lnTo>
                    <a:cubicBezTo>
                      <a:pt x="247650" y="1248029"/>
                      <a:pt x="0" y="968640"/>
                      <a:pt x="0" y="624744"/>
                    </a:cubicBezTo>
                    <a:cubicBezTo>
                      <a:pt x="0" y="279415"/>
                      <a:pt x="247650" y="0"/>
                      <a:pt x="553720" y="0"/>
                    </a:cubicBezTo>
                    <a:lnTo>
                      <a:pt x="2810843" y="0"/>
                    </a:lnTo>
                    <a:cubicBezTo>
                      <a:pt x="3116913" y="0"/>
                      <a:pt x="3364563" y="279415"/>
                      <a:pt x="3364563" y="624744"/>
                    </a:cubicBezTo>
                    <a:cubicBezTo>
                      <a:pt x="3363293" y="968640"/>
                      <a:pt x="3115643" y="1248029"/>
                      <a:pt x="2810843" y="1248029"/>
                    </a:cubicBezTo>
                    <a:close/>
                  </a:path>
                </a:pathLst>
              </a:custGeom>
              <a:solidFill>
                <a:srgbClr val="00727A"/>
              </a:solidFill>
            </p:spPr>
          </p:sp>
        </p:grpSp>
        <p:grpSp>
          <p:nvGrpSpPr>
            <p:cNvPr id="15" name="Group 20">
              <a:extLst>
                <a:ext uri="{FF2B5EF4-FFF2-40B4-BE49-F238E27FC236}">
                  <a16:creationId xmlns:a16="http://schemas.microsoft.com/office/drawing/2014/main" id="{F777CB93-E082-40F4-9EE2-7095ACAE41A4}"/>
                </a:ext>
              </a:extLst>
            </p:cNvPr>
            <p:cNvGrpSpPr/>
            <p:nvPr/>
          </p:nvGrpSpPr>
          <p:grpSpPr>
            <a:xfrm>
              <a:off x="14658668" y="7974649"/>
              <a:ext cx="2695590" cy="1000262"/>
              <a:chOff x="0" y="0"/>
              <a:chExt cx="3363293" cy="1248029"/>
            </a:xfrm>
          </p:grpSpPr>
          <p:sp>
            <p:nvSpPr>
              <p:cNvPr id="44" name="Freeform 21">
                <a:extLst>
                  <a:ext uri="{FF2B5EF4-FFF2-40B4-BE49-F238E27FC236}">
                    <a16:creationId xmlns:a16="http://schemas.microsoft.com/office/drawing/2014/main" id="{5C9CD75C-CAA4-4BBF-B0BC-78D5F0C54C5C}"/>
                  </a:ext>
                </a:extLst>
              </p:cNvPr>
              <p:cNvSpPr/>
              <p:nvPr/>
            </p:nvSpPr>
            <p:spPr>
              <a:xfrm>
                <a:off x="0" y="0"/>
                <a:ext cx="3364563" cy="1248029"/>
              </a:xfrm>
              <a:custGeom>
                <a:avLst/>
                <a:gdLst/>
                <a:ahLst/>
                <a:cxnLst/>
                <a:rect l="l" t="t" r="r" b="b"/>
                <a:pathLst>
                  <a:path w="3364563" h="1248029">
                    <a:moveTo>
                      <a:pt x="2810843" y="1248029"/>
                    </a:moveTo>
                    <a:lnTo>
                      <a:pt x="553720" y="1248029"/>
                    </a:lnTo>
                    <a:cubicBezTo>
                      <a:pt x="247650" y="1248029"/>
                      <a:pt x="0" y="968640"/>
                      <a:pt x="0" y="624744"/>
                    </a:cubicBezTo>
                    <a:cubicBezTo>
                      <a:pt x="0" y="279415"/>
                      <a:pt x="247650" y="0"/>
                      <a:pt x="553720" y="0"/>
                    </a:cubicBezTo>
                    <a:lnTo>
                      <a:pt x="2810843" y="0"/>
                    </a:lnTo>
                    <a:cubicBezTo>
                      <a:pt x="3116913" y="0"/>
                      <a:pt x="3364563" y="279415"/>
                      <a:pt x="3364563" y="624744"/>
                    </a:cubicBezTo>
                    <a:cubicBezTo>
                      <a:pt x="3363293" y="968640"/>
                      <a:pt x="3115643" y="1248029"/>
                      <a:pt x="2810843" y="1248029"/>
                    </a:cubicBezTo>
                    <a:close/>
                  </a:path>
                </a:pathLst>
              </a:custGeom>
              <a:solidFill>
                <a:srgbClr val="00727A"/>
              </a:solidFill>
            </p:spPr>
          </p:sp>
        </p:grpSp>
        <p:grpSp>
          <p:nvGrpSpPr>
            <p:cNvPr id="16" name="Group 23">
              <a:extLst>
                <a:ext uri="{FF2B5EF4-FFF2-40B4-BE49-F238E27FC236}">
                  <a16:creationId xmlns:a16="http://schemas.microsoft.com/office/drawing/2014/main" id="{C66A4495-C6C8-45D4-B685-885ED0A3D023}"/>
                </a:ext>
              </a:extLst>
            </p:cNvPr>
            <p:cNvGrpSpPr/>
            <p:nvPr/>
          </p:nvGrpSpPr>
          <p:grpSpPr>
            <a:xfrm>
              <a:off x="3692048" y="6303538"/>
              <a:ext cx="2695590" cy="1000262"/>
              <a:chOff x="0" y="0"/>
              <a:chExt cx="3363293" cy="1248029"/>
            </a:xfrm>
          </p:grpSpPr>
          <p:sp>
            <p:nvSpPr>
              <p:cNvPr id="43" name="Freeform 24">
                <a:extLst>
                  <a:ext uri="{FF2B5EF4-FFF2-40B4-BE49-F238E27FC236}">
                    <a16:creationId xmlns:a16="http://schemas.microsoft.com/office/drawing/2014/main" id="{51A02CB7-7E28-4A31-A29C-3DD9942F1677}"/>
                  </a:ext>
                </a:extLst>
              </p:cNvPr>
              <p:cNvSpPr/>
              <p:nvPr/>
            </p:nvSpPr>
            <p:spPr>
              <a:xfrm>
                <a:off x="0" y="0"/>
                <a:ext cx="3364563" cy="1248029"/>
              </a:xfrm>
              <a:custGeom>
                <a:avLst/>
                <a:gdLst/>
                <a:ahLst/>
                <a:cxnLst/>
                <a:rect l="l" t="t" r="r" b="b"/>
                <a:pathLst>
                  <a:path w="3364563" h="1248029">
                    <a:moveTo>
                      <a:pt x="2810843" y="1248029"/>
                    </a:moveTo>
                    <a:lnTo>
                      <a:pt x="553720" y="1248029"/>
                    </a:lnTo>
                    <a:cubicBezTo>
                      <a:pt x="247650" y="1248029"/>
                      <a:pt x="0" y="968640"/>
                      <a:pt x="0" y="624744"/>
                    </a:cubicBezTo>
                    <a:cubicBezTo>
                      <a:pt x="0" y="279415"/>
                      <a:pt x="247650" y="0"/>
                      <a:pt x="553720" y="0"/>
                    </a:cubicBezTo>
                    <a:lnTo>
                      <a:pt x="2810843" y="0"/>
                    </a:lnTo>
                    <a:cubicBezTo>
                      <a:pt x="3116913" y="0"/>
                      <a:pt x="3364563" y="279415"/>
                      <a:pt x="3364563" y="624744"/>
                    </a:cubicBezTo>
                    <a:cubicBezTo>
                      <a:pt x="3363293" y="968640"/>
                      <a:pt x="3115643" y="1248029"/>
                      <a:pt x="2810843" y="1248029"/>
                    </a:cubicBezTo>
                    <a:close/>
                  </a:path>
                </a:pathLst>
              </a:custGeom>
              <a:solidFill>
                <a:srgbClr val="D6ECE9"/>
              </a:solidFill>
            </p:spPr>
          </p:sp>
        </p:grpSp>
        <p:grpSp>
          <p:nvGrpSpPr>
            <p:cNvPr id="17" name="Group 26">
              <a:extLst>
                <a:ext uri="{FF2B5EF4-FFF2-40B4-BE49-F238E27FC236}">
                  <a16:creationId xmlns:a16="http://schemas.microsoft.com/office/drawing/2014/main" id="{210CF239-74DE-4937-B9A6-6A4AED5405EF}"/>
                </a:ext>
              </a:extLst>
            </p:cNvPr>
            <p:cNvGrpSpPr/>
            <p:nvPr/>
          </p:nvGrpSpPr>
          <p:grpSpPr>
            <a:xfrm>
              <a:off x="6452394" y="6303538"/>
              <a:ext cx="2695590" cy="1000262"/>
              <a:chOff x="0" y="0"/>
              <a:chExt cx="3363293" cy="1248029"/>
            </a:xfrm>
          </p:grpSpPr>
          <p:sp>
            <p:nvSpPr>
              <p:cNvPr id="42" name="Freeform 27">
                <a:extLst>
                  <a:ext uri="{FF2B5EF4-FFF2-40B4-BE49-F238E27FC236}">
                    <a16:creationId xmlns:a16="http://schemas.microsoft.com/office/drawing/2014/main" id="{33A76CE7-3D9B-4163-A381-CE6DB3C221C0}"/>
                  </a:ext>
                </a:extLst>
              </p:cNvPr>
              <p:cNvSpPr/>
              <p:nvPr/>
            </p:nvSpPr>
            <p:spPr>
              <a:xfrm>
                <a:off x="0" y="0"/>
                <a:ext cx="3364563" cy="1248029"/>
              </a:xfrm>
              <a:custGeom>
                <a:avLst/>
                <a:gdLst/>
                <a:ahLst/>
                <a:cxnLst/>
                <a:rect l="l" t="t" r="r" b="b"/>
                <a:pathLst>
                  <a:path w="3364563" h="1248029">
                    <a:moveTo>
                      <a:pt x="2810843" y="1248029"/>
                    </a:moveTo>
                    <a:lnTo>
                      <a:pt x="553720" y="1248029"/>
                    </a:lnTo>
                    <a:cubicBezTo>
                      <a:pt x="247650" y="1248029"/>
                      <a:pt x="0" y="968640"/>
                      <a:pt x="0" y="624744"/>
                    </a:cubicBezTo>
                    <a:cubicBezTo>
                      <a:pt x="0" y="279415"/>
                      <a:pt x="247650" y="0"/>
                      <a:pt x="553720" y="0"/>
                    </a:cubicBezTo>
                    <a:lnTo>
                      <a:pt x="2810843" y="0"/>
                    </a:lnTo>
                    <a:cubicBezTo>
                      <a:pt x="3116913" y="0"/>
                      <a:pt x="3364563" y="279415"/>
                      <a:pt x="3364563" y="624744"/>
                    </a:cubicBezTo>
                    <a:cubicBezTo>
                      <a:pt x="3363293" y="968640"/>
                      <a:pt x="3115643" y="1248029"/>
                      <a:pt x="2810843" y="1248029"/>
                    </a:cubicBezTo>
                    <a:close/>
                  </a:path>
                </a:pathLst>
              </a:custGeom>
              <a:solidFill>
                <a:srgbClr val="D6ECE9"/>
              </a:solidFill>
            </p:spPr>
          </p:sp>
        </p:grpSp>
        <p:grpSp>
          <p:nvGrpSpPr>
            <p:cNvPr id="18" name="Group 29">
              <a:extLst>
                <a:ext uri="{FF2B5EF4-FFF2-40B4-BE49-F238E27FC236}">
                  <a16:creationId xmlns:a16="http://schemas.microsoft.com/office/drawing/2014/main" id="{6B58A245-8E08-498B-BBF9-6464F3CAD8A8}"/>
                </a:ext>
              </a:extLst>
            </p:cNvPr>
            <p:cNvGrpSpPr/>
            <p:nvPr/>
          </p:nvGrpSpPr>
          <p:grpSpPr>
            <a:xfrm>
              <a:off x="9212740" y="6303538"/>
              <a:ext cx="2695590" cy="1000262"/>
              <a:chOff x="0" y="0"/>
              <a:chExt cx="3363293" cy="1248029"/>
            </a:xfrm>
          </p:grpSpPr>
          <p:sp>
            <p:nvSpPr>
              <p:cNvPr id="41" name="Freeform 30">
                <a:extLst>
                  <a:ext uri="{FF2B5EF4-FFF2-40B4-BE49-F238E27FC236}">
                    <a16:creationId xmlns:a16="http://schemas.microsoft.com/office/drawing/2014/main" id="{A8EDCF0A-4344-4429-ACDA-45417D300231}"/>
                  </a:ext>
                </a:extLst>
              </p:cNvPr>
              <p:cNvSpPr/>
              <p:nvPr/>
            </p:nvSpPr>
            <p:spPr>
              <a:xfrm>
                <a:off x="0" y="0"/>
                <a:ext cx="3364563" cy="1248029"/>
              </a:xfrm>
              <a:custGeom>
                <a:avLst/>
                <a:gdLst/>
                <a:ahLst/>
                <a:cxnLst/>
                <a:rect l="l" t="t" r="r" b="b"/>
                <a:pathLst>
                  <a:path w="3364563" h="1248029">
                    <a:moveTo>
                      <a:pt x="2810843" y="1248029"/>
                    </a:moveTo>
                    <a:lnTo>
                      <a:pt x="553720" y="1248029"/>
                    </a:lnTo>
                    <a:cubicBezTo>
                      <a:pt x="247650" y="1248029"/>
                      <a:pt x="0" y="968640"/>
                      <a:pt x="0" y="624744"/>
                    </a:cubicBezTo>
                    <a:cubicBezTo>
                      <a:pt x="0" y="279415"/>
                      <a:pt x="247650" y="0"/>
                      <a:pt x="553720" y="0"/>
                    </a:cubicBezTo>
                    <a:lnTo>
                      <a:pt x="2810843" y="0"/>
                    </a:lnTo>
                    <a:cubicBezTo>
                      <a:pt x="3116913" y="0"/>
                      <a:pt x="3364563" y="279415"/>
                      <a:pt x="3364563" y="624744"/>
                    </a:cubicBezTo>
                    <a:cubicBezTo>
                      <a:pt x="3363293" y="968640"/>
                      <a:pt x="3115643" y="1248029"/>
                      <a:pt x="2810843" y="1248029"/>
                    </a:cubicBezTo>
                    <a:close/>
                  </a:path>
                </a:pathLst>
              </a:custGeom>
              <a:solidFill>
                <a:srgbClr val="D6ECE9"/>
              </a:solidFill>
            </p:spPr>
          </p:sp>
        </p:grpSp>
        <p:grpSp>
          <p:nvGrpSpPr>
            <p:cNvPr id="19" name="Group 32">
              <a:extLst>
                <a:ext uri="{FF2B5EF4-FFF2-40B4-BE49-F238E27FC236}">
                  <a16:creationId xmlns:a16="http://schemas.microsoft.com/office/drawing/2014/main" id="{4E79D46D-A918-47D9-844D-2AAACC200272}"/>
                </a:ext>
              </a:extLst>
            </p:cNvPr>
            <p:cNvGrpSpPr/>
            <p:nvPr/>
          </p:nvGrpSpPr>
          <p:grpSpPr>
            <a:xfrm>
              <a:off x="11973086" y="6303538"/>
              <a:ext cx="2695590" cy="1000262"/>
              <a:chOff x="0" y="0"/>
              <a:chExt cx="3363293" cy="1248029"/>
            </a:xfrm>
          </p:grpSpPr>
          <p:sp>
            <p:nvSpPr>
              <p:cNvPr id="40" name="Freeform 33">
                <a:extLst>
                  <a:ext uri="{FF2B5EF4-FFF2-40B4-BE49-F238E27FC236}">
                    <a16:creationId xmlns:a16="http://schemas.microsoft.com/office/drawing/2014/main" id="{13048F12-3C3E-4344-B493-0C5BA9B77180}"/>
                  </a:ext>
                </a:extLst>
              </p:cNvPr>
              <p:cNvSpPr/>
              <p:nvPr/>
            </p:nvSpPr>
            <p:spPr>
              <a:xfrm>
                <a:off x="0" y="0"/>
                <a:ext cx="3364563" cy="1248029"/>
              </a:xfrm>
              <a:custGeom>
                <a:avLst/>
                <a:gdLst/>
                <a:ahLst/>
                <a:cxnLst/>
                <a:rect l="l" t="t" r="r" b="b"/>
                <a:pathLst>
                  <a:path w="3364563" h="1248029">
                    <a:moveTo>
                      <a:pt x="2810843" y="1248029"/>
                    </a:moveTo>
                    <a:lnTo>
                      <a:pt x="553720" y="1248029"/>
                    </a:lnTo>
                    <a:cubicBezTo>
                      <a:pt x="247650" y="1248029"/>
                      <a:pt x="0" y="968640"/>
                      <a:pt x="0" y="624744"/>
                    </a:cubicBezTo>
                    <a:cubicBezTo>
                      <a:pt x="0" y="279415"/>
                      <a:pt x="247650" y="0"/>
                      <a:pt x="553720" y="0"/>
                    </a:cubicBezTo>
                    <a:lnTo>
                      <a:pt x="2810843" y="0"/>
                    </a:lnTo>
                    <a:cubicBezTo>
                      <a:pt x="3116913" y="0"/>
                      <a:pt x="3364563" y="279415"/>
                      <a:pt x="3364563" y="624744"/>
                    </a:cubicBezTo>
                    <a:cubicBezTo>
                      <a:pt x="3363293" y="968640"/>
                      <a:pt x="3115643" y="1248029"/>
                      <a:pt x="2810843" y="1248029"/>
                    </a:cubicBezTo>
                    <a:close/>
                  </a:path>
                </a:pathLst>
              </a:custGeom>
              <a:solidFill>
                <a:srgbClr val="D6ECE9"/>
              </a:solidFill>
            </p:spPr>
          </p:sp>
        </p:grpSp>
        <p:grpSp>
          <p:nvGrpSpPr>
            <p:cNvPr id="20" name="Group 35">
              <a:extLst>
                <a:ext uri="{FF2B5EF4-FFF2-40B4-BE49-F238E27FC236}">
                  <a16:creationId xmlns:a16="http://schemas.microsoft.com/office/drawing/2014/main" id="{A1E8DF5F-0098-4142-B6F6-E0DC70B15346}"/>
                </a:ext>
              </a:extLst>
            </p:cNvPr>
            <p:cNvGrpSpPr/>
            <p:nvPr/>
          </p:nvGrpSpPr>
          <p:grpSpPr>
            <a:xfrm>
              <a:off x="6425723" y="4662735"/>
              <a:ext cx="2695590" cy="1000262"/>
              <a:chOff x="0" y="0"/>
              <a:chExt cx="3363293" cy="1248029"/>
            </a:xfrm>
          </p:grpSpPr>
          <p:sp>
            <p:nvSpPr>
              <p:cNvPr id="39" name="Freeform 36">
                <a:extLst>
                  <a:ext uri="{FF2B5EF4-FFF2-40B4-BE49-F238E27FC236}">
                    <a16:creationId xmlns:a16="http://schemas.microsoft.com/office/drawing/2014/main" id="{04CCCB08-6F01-48B0-95F7-0523A560CBAE}"/>
                  </a:ext>
                </a:extLst>
              </p:cNvPr>
              <p:cNvSpPr/>
              <p:nvPr/>
            </p:nvSpPr>
            <p:spPr>
              <a:xfrm>
                <a:off x="0" y="0"/>
                <a:ext cx="3364563" cy="1248029"/>
              </a:xfrm>
              <a:custGeom>
                <a:avLst/>
                <a:gdLst/>
                <a:ahLst/>
                <a:cxnLst/>
                <a:rect l="l" t="t" r="r" b="b"/>
                <a:pathLst>
                  <a:path w="3364563" h="1248029">
                    <a:moveTo>
                      <a:pt x="2810843" y="1248029"/>
                    </a:moveTo>
                    <a:lnTo>
                      <a:pt x="553720" y="1248029"/>
                    </a:lnTo>
                    <a:cubicBezTo>
                      <a:pt x="247650" y="1248029"/>
                      <a:pt x="0" y="968640"/>
                      <a:pt x="0" y="624744"/>
                    </a:cubicBezTo>
                    <a:cubicBezTo>
                      <a:pt x="0" y="279415"/>
                      <a:pt x="247650" y="0"/>
                      <a:pt x="553720" y="0"/>
                    </a:cubicBezTo>
                    <a:lnTo>
                      <a:pt x="2810843" y="0"/>
                    </a:lnTo>
                    <a:cubicBezTo>
                      <a:pt x="3116913" y="0"/>
                      <a:pt x="3364563" y="279415"/>
                      <a:pt x="3364563" y="624744"/>
                    </a:cubicBezTo>
                    <a:cubicBezTo>
                      <a:pt x="3363293" y="968640"/>
                      <a:pt x="3115643" y="1248029"/>
                      <a:pt x="2810843" y="1248029"/>
                    </a:cubicBezTo>
                    <a:close/>
                  </a:path>
                </a:pathLst>
              </a:custGeom>
              <a:solidFill>
                <a:srgbClr val="F29400"/>
              </a:solidFill>
            </p:spPr>
          </p:sp>
        </p:grpSp>
        <p:grpSp>
          <p:nvGrpSpPr>
            <p:cNvPr id="21" name="Group 38">
              <a:extLst>
                <a:ext uri="{FF2B5EF4-FFF2-40B4-BE49-F238E27FC236}">
                  <a16:creationId xmlns:a16="http://schemas.microsoft.com/office/drawing/2014/main" id="{DFC08F3A-A355-4D75-9123-7CAB7A399651}"/>
                </a:ext>
              </a:extLst>
            </p:cNvPr>
            <p:cNvGrpSpPr/>
            <p:nvPr/>
          </p:nvGrpSpPr>
          <p:grpSpPr>
            <a:xfrm>
              <a:off x="9211631" y="4662735"/>
              <a:ext cx="2695590" cy="1000262"/>
              <a:chOff x="0" y="0"/>
              <a:chExt cx="3363293" cy="1248029"/>
            </a:xfrm>
          </p:grpSpPr>
          <p:sp>
            <p:nvSpPr>
              <p:cNvPr id="38" name="Freeform 39">
                <a:extLst>
                  <a:ext uri="{FF2B5EF4-FFF2-40B4-BE49-F238E27FC236}">
                    <a16:creationId xmlns:a16="http://schemas.microsoft.com/office/drawing/2014/main" id="{FA84F34E-5F4B-4EBC-ABA8-ECF40E7FECA6}"/>
                  </a:ext>
                </a:extLst>
              </p:cNvPr>
              <p:cNvSpPr/>
              <p:nvPr/>
            </p:nvSpPr>
            <p:spPr>
              <a:xfrm>
                <a:off x="0" y="0"/>
                <a:ext cx="3364563" cy="1248029"/>
              </a:xfrm>
              <a:custGeom>
                <a:avLst/>
                <a:gdLst/>
                <a:ahLst/>
                <a:cxnLst/>
                <a:rect l="l" t="t" r="r" b="b"/>
                <a:pathLst>
                  <a:path w="3364563" h="1248029">
                    <a:moveTo>
                      <a:pt x="2810843" y="1248029"/>
                    </a:moveTo>
                    <a:lnTo>
                      <a:pt x="553720" y="1248029"/>
                    </a:lnTo>
                    <a:cubicBezTo>
                      <a:pt x="247650" y="1248029"/>
                      <a:pt x="0" y="968640"/>
                      <a:pt x="0" y="624744"/>
                    </a:cubicBezTo>
                    <a:cubicBezTo>
                      <a:pt x="0" y="279415"/>
                      <a:pt x="247650" y="0"/>
                      <a:pt x="553720" y="0"/>
                    </a:cubicBezTo>
                    <a:lnTo>
                      <a:pt x="2810843" y="0"/>
                    </a:lnTo>
                    <a:cubicBezTo>
                      <a:pt x="3116913" y="0"/>
                      <a:pt x="3364563" y="279415"/>
                      <a:pt x="3364563" y="624744"/>
                    </a:cubicBezTo>
                    <a:cubicBezTo>
                      <a:pt x="3363293" y="968640"/>
                      <a:pt x="3115643" y="1248029"/>
                      <a:pt x="2810843" y="1248029"/>
                    </a:cubicBezTo>
                    <a:close/>
                  </a:path>
                </a:pathLst>
              </a:custGeom>
              <a:solidFill>
                <a:srgbClr val="F29400"/>
              </a:solidFill>
            </p:spPr>
          </p:sp>
        </p:grpSp>
        <p:sp>
          <p:nvSpPr>
            <p:cNvPr id="22" name="AutoShape 41">
              <a:extLst>
                <a:ext uri="{FF2B5EF4-FFF2-40B4-BE49-F238E27FC236}">
                  <a16:creationId xmlns:a16="http://schemas.microsoft.com/office/drawing/2014/main" id="{B64679BD-FF12-4518-BFC5-4575C736DE0C}"/>
                </a:ext>
              </a:extLst>
            </p:cNvPr>
            <p:cNvSpPr/>
            <p:nvPr/>
          </p:nvSpPr>
          <p:spPr>
            <a:xfrm>
              <a:off x="9174421" y="3951954"/>
              <a:ext cx="11883" cy="385974"/>
            </a:xfrm>
            <a:prstGeom prst="rect">
              <a:avLst/>
            </a:prstGeom>
            <a:solidFill>
              <a:srgbClr val="191919"/>
            </a:solidFill>
          </p:spPr>
        </p:sp>
        <p:sp>
          <p:nvSpPr>
            <p:cNvPr id="23" name="AutoShape 42">
              <a:extLst>
                <a:ext uri="{FF2B5EF4-FFF2-40B4-BE49-F238E27FC236}">
                  <a16:creationId xmlns:a16="http://schemas.microsoft.com/office/drawing/2014/main" id="{F1C6E67B-E646-4191-975B-0C6F2878E344}"/>
                </a:ext>
              </a:extLst>
            </p:cNvPr>
            <p:cNvSpPr/>
            <p:nvPr/>
          </p:nvSpPr>
          <p:spPr>
            <a:xfrm>
              <a:off x="7807177" y="4333166"/>
              <a:ext cx="2746371" cy="9525"/>
            </a:xfrm>
            <a:prstGeom prst="rect">
              <a:avLst/>
            </a:prstGeom>
            <a:solidFill>
              <a:srgbClr val="191919"/>
            </a:solidFill>
          </p:spPr>
        </p:sp>
        <p:sp>
          <p:nvSpPr>
            <p:cNvPr id="24" name="AutoShape 43">
              <a:extLst>
                <a:ext uri="{FF2B5EF4-FFF2-40B4-BE49-F238E27FC236}">
                  <a16:creationId xmlns:a16="http://schemas.microsoft.com/office/drawing/2014/main" id="{0A3E91AC-792F-4A92-90FF-D433A0A8C184}"/>
                </a:ext>
              </a:extLst>
            </p:cNvPr>
            <p:cNvSpPr/>
            <p:nvPr/>
          </p:nvSpPr>
          <p:spPr>
            <a:xfrm>
              <a:off x="10547543" y="4339667"/>
              <a:ext cx="11883" cy="292795"/>
            </a:xfrm>
            <a:prstGeom prst="rect">
              <a:avLst/>
            </a:prstGeom>
            <a:solidFill>
              <a:srgbClr val="191919"/>
            </a:solidFill>
          </p:spPr>
        </p:sp>
        <p:sp>
          <p:nvSpPr>
            <p:cNvPr id="25" name="AutoShape 44">
              <a:extLst>
                <a:ext uri="{FF2B5EF4-FFF2-40B4-BE49-F238E27FC236}">
                  <a16:creationId xmlns:a16="http://schemas.microsoft.com/office/drawing/2014/main" id="{FB95D15B-E2AF-4565-932D-11B50805108B}"/>
                </a:ext>
              </a:extLst>
            </p:cNvPr>
            <p:cNvSpPr/>
            <p:nvPr/>
          </p:nvSpPr>
          <p:spPr>
            <a:xfrm>
              <a:off x="7806882" y="4339667"/>
              <a:ext cx="11883" cy="292795"/>
            </a:xfrm>
            <a:prstGeom prst="rect">
              <a:avLst/>
            </a:prstGeom>
            <a:solidFill>
              <a:srgbClr val="191919"/>
            </a:solidFill>
          </p:spPr>
        </p:sp>
        <p:grpSp>
          <p:nvGrpSpPr>
            <p:cNvPr id="26" name="Group 45">
              <a:extLst>
                <a:ext uri="{FF2B5EF4-FFF2-40B4-BE49-F238E27FC236}">
                  <a16:creationId xmlns:a16="http://schemas.microsoft.com/office/drawing/2014/main" id="{718AEB71-CCE9-4D37-BA0C-768A64563EEA}"/>
                </a:ext>
              </a:extLst>
            </p:cNvPr>
            <p:cNvGrpSpPr/>
            <p:nvPr/>
          </p:nvGrpSpPr>
          <p:grpSpPr>
            <a:xfrm>
              <a:off x="5039843" y="5693270"/>
              <a:ext cx="8281038" cy="595131"/>
              <a:chOff x="0" y="0"/>
              <a:chExt cx="11041384" cy="793509"/>
            </a:xfrm>
          </p:grpSpPr>
          <p:sp>
            <p:nvSpPr>
              <p:cNvPr id="33" name="AutoShape 46">
                <a:extLst>
                  <a:ext uri="{FF2B5EF4-FFF2-40B4-BE49-F238E27FC236}">
                    <a16:creationId xmlns:a16="http://schemas.microsoft.com/office/drawing/2014/main" id="{71011E92-77D1-4A61-8E18-0AF88DADD422}"/>
                  </a:ext>
                </a:extLst>
              </p:cNvPr>
              <p:cNvSpPr/>
              <p:nvPr/>
            </p:nvSpPr>
            <p:spPr>
              <a:xfrm>
                <a:off x="7922" y="390394"/>
                <a:ext cx="11033462" cy="12721"/>
              </a:xfrm>
              <a:prstGeom prst="rect">
                <a:avLst/>
              </a:prstGeom>
              <a:solidFill>
                <a:srgbClr val="191919"/>
              </a:solidFill>
            </p:spPr>
          </p:sp>
          <p:sp>
            <p:nvSpPr>
              <p:cNvPr id="34" name="AutoShape 47">
                <a:extLst>
                  <a:ext uri="{FF2B5EF4-FFF2-40B4-BE49-F238E27FC236}">
                    <a16:creationId xmlns:a16="http://schemas.microsoft.com/office/drawing/2014/main" id="{C16244D8-0AB8-4A7C-A6AC-102722B3A3C8}"/>
                  </a:ext>
                </a:extLst>
              </p:cNvPr>
              <p:cNvSpPr/>
              <p:nvPr/>
            </p:nvSpPr>
            <p:spPr>
              <a:xfrm>
                <a:off x="3677503" y="0"/>
                <a:ext cx="15843" cy="390394"/>
              </a:xfrm>
              <a:prstGeom prst="rect">
                <a:avLst/>
              </a:prstGeom>
              <a:solidFill>
                <a:srgbClr val="191919"/>
              </a:solidFill>
            </p:spPr>
          </p:sp>
          <p:sp>
            <p:nvSpPr>
              <p:cNvPr id="35" name="AutoShape 48">
                <a:extLst>
                  <a:ext uri="{FF2B5EF4-FFF2-40B4-BE49-F238E27FC236}">
                    <a16:creationId xmlns:a16="http://schemas.microsoft.com/office/drawing/2014/main" id="{B6110084-5E0F-4A73-A037-B50B3B86CB5B}"/>
                  </a:ext>
                </a:extLst>
              </p:cNvPr>
              <p:cNvSpPr/>
              <p:nvPr/>
            </p:nvSpPr>
            <p:spPr>
              <a:xfrm>
                <a:off x="7363881" y="12721"/>
                <a:ext cx="15843" cy="390394"/>
              </a:xfrm>
              <a:prstGeom prst="rect">
                <a:avLst/>
              </a:prstGeom>
              <a:solidFill>
                <a:srgbClr val="191919"/>
              </a:solidFill>
            </p:spPr>
          </p:sp>
          <p:sp>
            <p:nvSpPr>
              <p:cNvPr id="36" name="AutoShape 49">
                <a:extLst>
                  <a:ext uri="{FF2B5EF4-FFF2-40B4-BE49-F238E27FC236}">
                    <a16:creationId xmlns:a16="http://schemas.microsoft.com/office/drawing/2014/main" id="{2B433444-3B7B-45CF-AED2-65376A0BC35A}"/>
                  </a:ext>
                </a:extLst>
              </p:cNvPr>
              <p:cNvSpPr/>
              <p:nvPr/>
            </p:nvSpPr>
            <p:spPr>
              <a:xfrm>
                <a:off x="11025541" y="403115"/>
                <a:ext cx="15843" cy="390394"/>
              </a:xfrm>
              <a:prstGeom prst="rect">
                <a:avLst/>
              </a:prstGeom>
              <a:solidFill>
                <a:srgbClr val="191919"/>
              </a:solidFill>
            </p:spPr>
          </p:sp>
          <p:sp>
            <p:nvSpPr>
              <p:cNvPr id="37" name="AutoShape 50">
                <a:extLst>
                  <a:ext uri="{FF2B5EF4-FFF2-40B4-BE49-F238E27FC236}">
                    <a16:creationId xmlns:a16="http://schemas.microsoft.com/office/drawing/2014/main" id="{EA307DF7-8E15-4A16-B1B5-48668528D89D}"/>
                  </a:ext>
                </a:extLst>
              </p:cNvPr>
              <p:cNvSpPr/>
              <p:nvPr/>
            </p:nvSpPr>
            <p:spPr>
              <a:xfrm>
                <a:off x="0" y="403115"/>
                <a:ext cx="15843" cy="390394"/>
              </a:xfrm>
              <a:prstGeom prst="rect">
                <a:avLst/>
              </a:prstGeom>
              <a:solidFill>
                <a:srgbClr val="191919"/>
              </a:solidFill>
            </p:spPr>
          </p:sp>
        </p:grpSp>
        <p:grpSp>
          <p:nvGrpSpPr>
            <p:cNvPr id="27" name="Group 51">
              <a:extLst>
                <a:ext uri="{FF2B5EF4-FFF2-40B4-BE49-F238E27FC236}">
                  <a16:creationId xmlns:a16="http://schemas.microsoft.com/office/drawing/2014/main" id="{532D8D49-2C82-45B3-A168-77D0AC1AEBBB}"/>
                </a:ext>
              </a:extLst>
            </p:cNvPr>
            <p:cNvGrpSpPr/>
            <p:nvPr/>
          </p:nvGrpSpPr>
          <p:grpSpPr>
            <a:xfrm>
              <a:off x="2281537" y="7349210"/>
              <a:ext cx="13803233" cy="595167"/>
              <a:chOff x="0" y="0"/>
              <a:chExt cx="18404311" cy="793555"/>
            </a:xfrm>
          </p:grpSpPr>
          <p:sp>
            <p:nvSpPr>
              <p:cNvPr id="28" name="AutoShape 52">
                <a:extLst>
                  <a:ext uri="{FF2B5EF4-FFF2-40B4-BE49-F238E27FC236}">
                    <a16:creationId xmlns:a16="http://schemas.microsoft.com/office/drawing/2014/main" id="{C9585F3E-BD57-4CC2-9536-15E6530973EE}"/>
                  </a:ext>
                </a:extLst>
              </p:cNvPr>
              <p:cNvSpPr/>
              <p:nvPr/>
            </p:nvSpPr>
            <p:spPr>
              <a:xfrm>
                <a:off x="0" y="390394"/>
                <a:ext cx="18388468" cy="12768"/>
              </a:xfrm>
              <a:prstGeom prst="rect">
                <a:avLst/>
              </a:prstGeom>
              <a:solidFill>
                <a:srgbClr val="191919"/>
              </a:solidFill>
            </p:spPr>
          </p:sp>
          <p:sp>
            <p:nvSpPr>
              <p:cNvPr id="29" name="AutoShape 53">
                <a:extLst>
                  <a:ext uri="{FF2B5EF4-FFF2-40B4-BE49-F238E27FC236}">
                    <a16:creationId xmlns:a16="http://schemas.microsoft.com/office/drawing/2014/main" id="{1B3F0A93-B0B1-4601-9A18-7B19FBBE0BEB}"/>
                  </a:ext>
                </a:extLst>
              </p:cNvPr>
              <p:cNvSpPr/>
              <p:nvPr/>
            </p:nvSpPr>
            <p:spPr>
              <a:xfrm>
                <a:off x="0" y="403162"/>
                <a:ext cx="15843" cy="390394"/>
              </a:xfrm>
              <a:prstGeom prst="rect">
                <a:avLst/>
              </a:prstGeom>
              <a:solidFill>
                <a:srgbClr val="191919"/>
              </a:solidFill>
            </p:spPr>
          </p:sp>
          <p:sp>
            <p:nvSpPr>
              <p:cNvPr id="30" name="AutoShape 54">
                <a:extLst>
                  <a:ext uri="{FF2B5EF4-FFF2-40B4-BE49-F238E27FC236}">
                    <a16:creationId xmlns:a16="http://schemas.microsoft.com/office/drawing/2014/main" id="{D1BBC435-4C3E-4D93-AB1C-2A8FFFF29EBF}"/>
                  </a:ext>
                </a:extLst>
              </p:cNvPr>
              <p:cNvSpPr/>
              <p:nvPr/>
            </p:nvSpPr>
            <p:spPr>
              <a:xfrm>
                <a:off x="18388468" y="403162"/>
                <a:ext cx="15843" cy="390394"/>
              </a:xfrm>
              <a:prstGeom prst="rect">
                <a:avLst/>
              </a:prstGeom>
              <a:solidFill>
                <a:srgbClr val="191919"/>
              </a:solidFill>
            </p:spPr>
          </p:sp>
          <p:sp>
            <p:nvSpPr>
              <p:cNvPr id="31" name="AutoShape 55">
                <a:extLst>
                  <a:ext uri="{FF2B5EF4-FFF2-40B4-BE49-F238E27FC236}">
                    <a16:creationId xmlns:a16="http://schemas.microsoft.com/office/drawing/2014/main" id="{A3D6A62F-9899-48A1-8F1A-FEED48977DC8}"/>
                  </a:ext>
                </a:extLst>
              </p:cNvPr>
              <p:cNvSpPr/>
              <p:nvPr/>
            </p:nvSpPr>
            <p:spPr>
              <a:xfrm>
                <a:off x="3685425" y="0"/>
                <a:ext cx="15843" cy="390394"/>
              </a:xfrm>
              <a:prstGeom prst="rect">
                <a:avLst/>
              </a:prstGeom>
              <a:solidFill>
                <a:srgbClr val="191919"/>
              </a:solidFill>
            </p:spPr>
          </p:sp>
          <p:sp>
            <p:nvSpPr>
              <p:cNvPr id="32" name="AutoShape 56">
                <a:extLst>
                  <a:ext uri="{FF2B5EF4-FFF2-40B4-BE49-F238E27FC236}">
                    <a16:creationId xmlns:a16="http://schemas.microsoft.com/office/drawing/2014/main" id="{D82E54A6-14E5-465E-9A3B-E40E20B8E776}"/>
                  </a:ext>
                </a:extLst>
              </p:cNvPr>
              <p:cNvSpPr/>
              <p:nvPr/>
            </p:nvSpPr>
            <p:spPr>
              <a:xfrm>
                <a:off x="14710965" y="0"/>
                <a:ext cx="15843" cy="390394"/>
              </a:xfrm>
              <a:prstGeom prst="rect">
                <a:avLst/>
              </a:prstGeom>
              <a:solidFill>
                <a:srgbClr val="191919"/>
              </a:solidFill>
            </p:spPr>
          </p:sp>
        </p:grpSp>
      </p:grpSp>
      <p:sp>
        <p:nvSpPr>
          <p:cNvPr id="52" name="Titre 24">
            <a:extLst>
              <a:ext uri="{FF2B5EF4-FFF2-40B4-BE49-F238E27FC236}">
                <a16:creationId xmlns:a16="http://schemas.microsoft.com/office/drawing/2014/main" id="{3F849B01-63E8-43A9-9B27-93C6E626E0D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5460" y="313723"/>
            <a:ext cx="4070509" cy="539891"/>
          </a:xfrm>
        </p:spPr>
        <p:txBody>
          <a:bodyPr>
            <a:normAutofit/>
          </a:bodyPr>
          <a:lstStyle>
            <a:lvl1pPr>
              <a:defRPr sz="2100"/>
            </a:lvl1pPr>
          </a:lstStyle>
          <a:p>
            <a:r>
              <a:rPr lang="fr-FR" sz="2400">
                <a:solidFill>
                  <a:srgbClr val="F57A30"/>
                </a:solidFill>
                <a:latin typeface="Source Sans Pro Black" panose="020B0803030403020204" pitchFamily="34" charset="0"/>
              </a:rPr>
              <a:t>Titre</a:t>
            </a:r>
          </a:p>
        </p:txBody>
      </p:sp>
    </p:spTree>
    <p:extLst>
      <p:ext uri="{BB962C8B-B14F-4D97-AF65-F5344CB8AC3E}">
        <p14:creationId xmlns:p14="http://schemas.microsoft.com/office/powerpoint/2010/main" val="2829300548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91CF584C-2E5B-45DF-9BE4-B720370EA89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BD54BC09-200B-49ED-98FC-15BFA92166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CDEB4B49-5BCD-4394-8455-777B3FBA45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48F244-30DD-438A-ADD2-DF4984FBCA8F}" type="slidenum">
              <a:rPr lang="fr-FR" smtClean="0"/>
              <a:t>‹#›</a:t>
            </a:fld>
            <a:endParaRPr lang="fr-FR"/>
          </a:p>
        </p:txBody>
      </p:sp>
      <p:sp>
        <p:nvSpPr>
          <p:cNvPr id="7" name="AutoShape 2">
            <a:extLst>
              <a:ext uri="{FF2B5EF4-FFF2-40B4-BE49-F238E27FC236}">
                <a16:creationId xmlns:a16="http://schemas.microsoft.com/office/drawing/2014/main" id="{42F29305-04BD-429C-B8C6-5B10939D672D}"/>
              </a:ext>
            </a:extLst>
          </p:cNvPr>
          <p:cNvSpPr/>
          <p:nvPr userDrawn="1"/>
        </p:nvSpPr>
        <p:spPr>
          <a:xfrm>
            <a:off x="3149500" y="514350"/>
            <a:ext cx="403426" cy="727030"/>
          </a:xfrm>
          <a:prstGeom prst="rect">
            <a:avLst/>
          </a:prstGeom>
          <a:solidFill>
            <a:srgbClr val="D6ECE9">
              <a:alpha val="14901"/>
            </a:srgbClr>
          </a:solidFill>
        </p:spPr>
      </p:sp>
      <p:sp>
        <p:nvSpPr>
          <p:cNvPr id="8" name="AutoShape 3">
            <a:extLst>
              <a:ext uri="{FF2B5EF4-FFF2-40B4-BE49-F238E27FC236}">
                <a16:creationId xmlns:a16="http://schemas.microsoft.com/office/drawing/2014/main" id="{CC5B8E90-CE9C-4337-84B3-CDBA00F70222}"/>
              </a:ext>
            </a:extLst>
          </p:cNvPr>
          <p:cNvSpPr/>
          <p:nvPr userDrawn="1"/>
        </p:nvSpPr>
        <p:spPr>
          <a:xfrm>
            <a:off x="3543419" y="514350"/>
            <a:ext cx="1529203" cy="727030"/>
          </a:xfrm>
          <a:prstGeom prst="rect">
            <a:avLst/>
          </a:prstGeom>
          <a:solidFill>
            <a:srgbClr val="D6ECE9"/>
          </a:solidFill>
        </p:spPr>
      </p:sp>
      <p:sp>
        <p:nvSpPr>
          <p:cNvPr id="10" name="TextBox 5">
            <a:extLst>
              <a:ext uri="{FF2B5EF4-FFF2-40B4-BE49-F238E27FC236}">
                <a16:creationId xmlns:a16="http://schemas.microsoft.com/office/drawing/2014/main" id="{63CB19F6-D2B0-410E-9426-6664203558B9}"/>
              </a:ext>
            </a:extLst>
          </p:cNvPr>
          <p:cNvSpPr txBox="1"/>
          <p:nvPr userDrawn="1"/>
        </p:nvSpPr>
        <p:spPr>
          <a:xfrm>
            <a:off x="3243933" y="740800"/>
            <a:ext cx="214562" cy="223394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r">
              <a:lnSpc>
                <a:spcPts val="1944"/>
              </a:lnSpc>
            </a:pPr>
            <a:r>
              <a:rPr lang="en-US" sz="120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Aileron Regular Bold"/>
              </a:rPr>
              <a:t>01</a:t>
            </a:r>
            <a:endParaRPr lang="en-US" sz="1200">
              <a:solidFill>
                <a:srgbClr val="86EAE9"/>
              </a:solidFill>
              <a:latin typeface="Aileron Regular Bold"/>
            </a:endParaRPr>
          </a:p>
        </p:txBody>
      </p:sp>
      <p:grpSp>
        <p:nvGrpSpPr>
          <p:cNvPr id="11" name="Group 8">
            <a:extLst>
              <a:ext uri="{FF2B5EF4-FFF2-40B4-BE49-F238E27FC236}">
                <a16:creationId xmlns:a16="http://schemas.microsoft.com/office/drawing/2014/main" id="{399CC400-ECBE-4CFF-BED0-7A5D96070E10}"/>
              </a:ext>
            </a:extLst>
          </p:cNvPr>
          <p:cNvGrpSpPr/>
          <p:nvPr userDrawn="1"/>
        </p:nvGrpSpPr>
        <p:grpSpPr>
          <a:xfrm>
            <a:off x="3149500" y="1361293"/>
            <a:ext cx="1932629" cy="727030"/>
            <a:chOff x="0" y="0"/>
            <a:chExt cx="5153677" cy="1938747"/>
          </a:xfrm>
        </p:grpSpPr>
        <p:sp>
          <p:nvSpPr>
            <p:cNvPr id="12" name="AutoShape 9">
              <a:extLst>
                <a:ext uri="{FF2B5EF4-FFF2-40B4-BE49-F238E27FC236}">
                  <a16:creationId xmlns:a16="http://schemas.microsoft.com/office/drawing/2014/main" id="{1B76F7D4-5B35-41FE-8190-B80C06DF81FC}"/>
                </a:ext>
              </a:extLst>
            </p:cNvPr>
            <p:cNvSpPr/>
            <p:nvPr/>
          </p:nvSpPr>
          <p:spPr>
            <a:xfrm>
              <a:off x="1075802" y="0"/>
              <a:ext cx="4077875" cy="1938747"/>
            </a:xfrm>
            <a:prstGeom prst="rect">
              <a:avLst/>
            </a:prstGeom>
            <a:solidFill>
              <a:srgbClr val="00727A"/>
            </a:solidFill>
          </p:spPr>
        </p:sp>
        <p:sp>
          <p:nvSpPr>
            <p:cNvPr id="13" name="AutoShape 10">
              <a:extLst>
                <a:ext uri="{FF2B5EF4-FFF2-40B4-BE49-F238E27FC236}">
                  <a16:creationId xmlns:a16="http://schemas.microsoft.com/office/drawing/2014/main" id="{C251E6E4-043A-4087-9268-6AF2D4B17001}"/>
                </a:ext>
              </a:extLst>
            </p:cNvPr>
            <p:cNvSpPr/>
            <p:nvPr/>
          </p:nvSpPr>
          <p:spPr>
            <a:xfrm>
              <a:off x="0" y="0"/>
              <a:ext cx="1075802" cy="1938747"/>
            </a:xfrm>
            <a:prstGeom prst="rect">
              <a:avLst/>
            </a:prstGeom>
            <a:solidFill>
              <a:srgbClr val="00727A">
                <a:alpha val="19607"/>
              </a:srgbClr>
            </a:solidFill>
          </p:spPr>
          <p:txBody>
            <a:bodyPr/>
            <a:lstStyle/>
            <a:p>
              <a:endParaRPr lang="fr-FR" sz="1200"/>
            </a:p>
          </p:txBody>
        </p:sp>
        <p:sp>
          <p:nvSpPr>
            <p:cNvPr id="14" name="TextBox 11">
              <a:extLst>
                <a:ext uri="{FF2B5EF4-FFF2-40B4-BE49-F238E27FC236}">
                  <a16:creationId xmlns:a16="http://schemas.microsoft.com/office/drawing/2014/main" id="{48C96882-7E6E-49FF-AD23-A0E42DA6AF3D}"/>
                </a:ext>
              </a:extLst>
            </p:cNvPr>
            <p:cNvSpPr txBox="1"/>
            <p:nvPr/>
          </p:nvSpPr>
          <p:spPr>
            <a:xfrm>
              <a:off x="251821" y="635616"/>
              <a:ext cx="572168" cy="595717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r">
                <a:lnSpc>
                  <a:spcPts val="1944"/>
                </a:lnSpc>
              </a:pPr>
              <a:r>
                <a:rPr lang="en-US" sz="1200">
                  <a:ln w="0"/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  <a:latin typeface="Aileron Regular Bold"/>
                </a:rPr>
                <a:t>02</a:t>
              </a:r>
            </a:p>
          </p:txBody>
        </p:sp>
      </p:grpSp>
      <p:grpSp>
        <p:nvGrpSpPr>
          <p:cNvPr id="16" name="Group 14">
            <a:extLst>
              <a:ext uri="{FF2B5EF4-FFF2-40B4-BE49-F238E27FC236}">
                <a16:creationId xmlns:a16="http://schemas.microsoft.com/office/drawing/2014/main" id="{EF9A9B82-90BF-4D16-8D7E-85F1153E09BC}"/>
              </a:ext>
            </a:extLst>
          </p:cNvPr>
          <p:cNvGrpSpPr/>
          <p:nvPr userDrawn="1"/>
        </p:nvGrpSpPr>
        <p:grpSpPr>
          <a:xfrm>
            <a:off x="3149500" y="2208236"/>
            <a:ext cx="1932629" cy="727030"/>
            <a:chOff x="0" y="0"/>
            <a:chExt cx="5153677" cy="1938747"/>
          </a:xfrm>
        </p:grpSpPr>
        <p:sp>
          <p:nvSpPr>
            <p:cNvPr id="17" name="AutoShape 15">
              <a:extLst>
                <a:ext uri="{FF2B5EF4-FFF2-40B4-BE49-F238E27FC236}">
                  <a16:creationId xmlns:a16="http://schemas.microsoft.com/office/drawing/2014/main" id="{2CBCF608-806D-46DB-9E15-7642289A0783}"/>
                </a:ext>
              </a:extLst>
            </p:cNvPr>
            <p:cNvSpPr/>
            <p:nvPr/>
          </p:nvSpPr>
          <p:spPr>
            <a:xfrm>
              <a:off x="1075802" y="0"/>
              <a:ext cx="4077875" cy="1938747"/>
            </a:xfrm>
            <a:prstGeom prst="rect">
              <a:avLst/>
            </a:prstGeom>
            <a:solidFill>
              <a:srgbClr val="F57A30"/>
            </a:solidFill>
          </p:spPr>
        </p:sp>
        <p:sp>
          <p:nvSpPr>
            <p:cNvPr id="18" name="AutoShape 16">
              <a:extLst>
                <a:ext uri="{FF2B5EF4-FFF2-40B4-BE49-F238E27FC236}">
                  <a16:creationId xmlns:a16="http://schemas.microsoft.com/office/drawing/2014/main" id="{1A99D7EC-BB81-42B2-B35E-6A2504AA2CA7}"/>
                </a:ext>
              </a:extLst>
            </p:cNvPr>
            <p:cNvSpPr/>
            <p:nvPr/>
          </p:nvSpPr>
          <p:spPr>
            <a:xfrm>
              <a:off x="0" y="0"/>
              <a:ext cx="1075802" cy="1938747"/>
            </a:xfrm>
            <a:prstGeom prst="rect">
              <a:avLst/>
            </a:prstGeom>
            <a:solidFill>
              <a:srgbClr val="F57A30">
                <a:alpha val="19607"/>
              </a:srgbClr>
            </a:solidFill>
          </p:spPr>
        </p:sp>
        <p:sp>
          <p:nvSpPr>
            <p:cNvPr id="19" name="TextBox 17">
              <a:extLst>
                <a:ext uri="{FF2B5EF4-FFF2-40B4-BE49-F238E27FC236}">
                  <a16:creationId xmlns:a16="http://schemas.microsoft.com/office/drawing/2014/main" id="{DC0A2D86-5925-4CE3-9950-C9EB5C3DD229}"/>
                </a:ext>
              </a:extLst>
            </p:cNvPr>
            <p:cNvSpPr txBox="1"/>
            <p:nvPr/>
          </p:nvSpPr>
          <p:spPr>
            <a:xfrm>
              <a:off x="251821" y="635616"/>
              <a:ext cx="572168" cy="595717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r">
                <a:lnSpc>
                  <a:spcPts val="1944"/>
                </a:lnSpc>
              </a:pPr>
              <a:r>
                <a:rPr lang="en-US" sz="1200">
                  <a:ln w="0"/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  <a:latin typeface="Aileron Regular Bold"/>
                </a:rPr>
                <a:t>03</a:t>
              </a:r>
            </a:p>
          </p:txBody>
        </p: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3CFA2165-AFD9-429C-9DE9-D370B0B95432}"/>
              </a:ext>
            </a:extLst>
          </p:cNvPr>
          <p:cNvGrpSpPr/>
          <p:nvPr userDrawn="1"/>
        </p:nvGrpSpPr>
        <p:grpSpPr>
          <a:xfrm>
            <a:off x="3139993" y="3045671"/>
            <a:ext cx="1932629" cy="727030"/>
            <a:chOff x="0" y="0"/>
            <a:chExt cx="5153677" cy="1938747"/>
          </a:xfrm>
        </p:grpSpPr>
        <p:sp>
          <p:nvSpPr>
            <p:cNvPr id="22" name="AutoShape 21">
              <a:extLst>
                <a:ext uri="{FF2B5EF4-FFF2-40B4-BE49-F238E27FC236}">
                  <a16:creationId xmlns:a16="http://schemas.microsoft.com/office/drawing/2014/main" id="{98F2F62A-BA31-4167-A3BD-C258B3ACF916}"/>
                </a:ext>
              </a:extLst>
            </p:cNvPr>
            <p:cNvSpPr/>
            <p:nvPr/>
          </p:nvSpPr>
          <p:spPr>
            <a:xfrm>
              <a:off x="1075802" y="0"/>
              <a:ext cx="4077875" cy="1938747"/>
            </a:xfrm>
            <a:prstGeom prst="rect">
              <a:avLst/>
            </a:prstGeom>
            <a:solidFill>
              <a:srgbClr val="FFC8AF"/>
            </a:solidFill>
          </p:spPr>
        </p:sp>
        <p:sp>
          <p:nvSpPr>
            <p:cNvPr id="23" name="AutoShape 22">
              <a:extLst>
                <a:ext uri="{FF2B5EF4-FFF2-40B4-BE49-F238E27FC236}">
                  <a16:creationId xmlns:a16="http://schemas.microsoft.com/office/drawing/2014/main" id="{D722FB25-856A-4924-9FAC-F54234554F04}"/>
                </a:ext>
              </a:extLst>
            </p:cNvPr>
            <p:cNvSpPr/>
            <p:nvPr/>
          </p:nvSpPr>
          <p:spPr>
            <a:xfrm>
              <a:off x="0" y="0"/>
              <a:ext cx="1075802" cy="1938747"/>
            </a:xfrm>
            <a:prstGeom prst="rect">
              <a:avLst/>
            </a:prstGeom>
            <a:solidFill>
              <a:srgbClr val="FFC8AF">
                <a:alpha val="19607"/>
              </a:srgbClr>
            </a:solidFill>
          </p:spPr>
          <p:txBody>
            <a:bodyPr/>
            <a:lstStyle/>
            <a:p>
              <a:endParaRPr lang="fr-FR" sz="1200"/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D605AE86-8EB0-4DD6-8288-4FF10B17E4B6}"/>
                </a:ext>
              </a:extLst>
            </p:cNvPr>
            <p:cNvSpPr txBox="1"/>
            <p:nvPr/>
          </p:nvSpPr>
          <p:spPr>
            <a:xfrm>
              <a:off x="251821" y="635616"/>
              <a:ext cx="572168" cy="595717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r">
                <a:lnSpc>
                  <a:spcPts val="1944"/>
                </a:lnSpc>
              </a:pPr>
              <a:r>
                <a:rPr lang="en-US" sz="1200">
                  <a:ln w="0"/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  <a:latin typeface="Aileron Regular Bold"/>
                </a:rPr>
                <a:t>04</a:t>
              </a:r>
              <a:endParaRPr lang="en-US" sz="1200">
                <a:solidFill>
                  <a:srgbClr val="2C92D5"/>
                </a:solidFill>
                <a:latin typeface="Aileron Regular Bold"/>
              </a:endParaRPr>
            </a:p>
          </p:txBody>
        </p:sp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3AD4AA25-3D24-40DF-828C-001C0214DC94}"/>
              </a:ext>
            </a:extLst>
          </p:cNvPr>
          <p:cNvGrpSpPr/>
          <p:nvPr userDrawn="1"/>
        </p:nvGrpSpPr>
        <p:grpSpPr>
          <a:xfrm>
            <a:off x="5072622" y="514350"/>
            <a:ext cx="3557029" cy="4114800"/>
            <a:chOff x="0" y="0"/>
            <a:chExt cx="9485410" cy="10972800"/>
          </a:xfrm>
        </p:grpSpPr>
        <p:sp>
          <p:nvSpPr>
            <p:cNvPr id="27" name="AutoShape 26">
              <a:extLst>
                <a:ext uri="{FF2B5EF4-FFF2-40B4-BE49-F238E27FC236}">
                  <a16:creationId xmlns:a16="http://schemas.microsoft.com/office/drawing/2014/main" id="{4A0A3850-57CD-4A8D-BAAD-6B7FDD8EBEDE}"/>
                </a:ext>
              </a:extLst>
            </p:cNvPr>
            <p:cNvSpPr/>
            <p:nvPr/>
          </p:nvSpPr>
          <p:spPr>
            <a:xfrm>
              <a:off x="0" y="0"/>
              <a:ext cx="9485410" cy="1938747"/>
            </a:xfrm>
            <a:prstGeom prst="rect">
              <a:avLst/>
            </a:prstGeom>
            <a:solidFill>
              <a:srgbClr val="191919">
                <a:alpha val="4313"/>
              </a:srgbClr>
            </a:solidFill>
          </p:spPr>
        </p:sp>
        <p:sp>
          <p:nvSpPr>
            <p:cNvPr id="28" name="AutoShape 27">
              <a:extLst>
                <a:ext uri="{FF2B5EF4-FFF2-40B4-BE49-F238E27FC236}">
                  <a16:creationId xmlns:a16="http://schemas.microsoft.com/office/drawing/2014/main" id="{C2BDC76C-1677-4316-A107-1401D39814F4}"/>
                </a:ext>
              </a:extLst>
            </p:cNvPr>
            <p:cNvSpPr/>
            <p:nvPr/>
          </p:nvSpPr>
          <p:spPr>
            <a:xfrm>
              <a:off x="0" y="2258513"/>
              <a:ext cx="9485410" cy="1938747"/>
            </a:xfrm>
            <a:prstGeom prst="rect">
              <a:avLst/>
            </a:prstGeom>
            <a:solidFill>
              <a:srgbClr val="191919">
                <a:alpha val="4313"/>
              </a:srgbClr>
            </a:solidFill>
          </p:spPr>
        </p:sp>
        <p:sp>
          <p:nvSpPr>
            <p:cNvPr id="29" name="AutoShape 28">
              <a:extLst>
                <a:ext uri="{FF2B5EF4-FFF2-40B4-BE49-F238E27FC236}">
                  <a16:creationId xmlns:a16="http://schemas.microsoft.com/office/drawing/2014/main" id="{FB8847B8-B7B3-4ED6-9304-DC1790CBF019}"/>
                </a:ext>
              </a:extLst>
            </p:cNvPr>
            <p:cNvSpPr/>
            <p:nvPr/>
          </p:nvSpPr>
          <p:spPr>
            <a:xfrm>
              <a:off x="0" y="4517027"/>
              <a:ext cx="9485410" cy="1938747"/>
            </a:xfrm>
            <a:prstGeom prst="rect">
              <a:avLst/>
            </a:prstGeom>
            <a:solidFill>
              <a:srgbClr val="191919">
                <a:alpha val="4313"/>
              </a:srgbClr>
            </a:solidFill>
          </p:spPr>
        </p:sp>
        <p:sp>
          <p:nvSpPr>
            <p:cNvPr id="30" name="AutoShape 29">
              <a:extLst>
                <a:ext uri="{FF2B5EF4-FFF2-40B4-BE49-F238E27FC236}">
                  <a16:creationId xmlns:a16="http://schemas.microsoft.com/office/drawing/2014/main" id="{46E0DCEA-EDE8-43C7-9339-A7B16AC04FE9}"/>
                </a:ext>
              </a:extLst>
            </p:cNvPr>
            <p:cNvSpPr/>
            <p:nvPr/>
          </p:nvSpPr>
          <p:spPr>
            <a:xfrm>
              <a:off x="0" y="6750187"/>
              <a:ext cx="9485410" cy="1938747"/>
            </a:xfrm>
            <a:prstGeom prst="rect">
              <a:avLst/>
            </a:prstGeom>
            <a:solidFill>
              <a:srgbClr val="191919">
                <a:alpha val="4313"/>
              </a:srgbClr>
            </a:solidFill>
          </p:spPr>
        </p:sp>
        <p:sp>
          <p:nvSpPr>
            <p:cNvPr id="31" name="AutoShape 30">
              <a:extLst>
                <a:ext uri="{FF2B5EF4-FFF2-40B4-BE49-F238E27FC236}">
                  <a16:creationId xmlns:a16="http://schemas.microsoft.com/office/drawing/2014/main" id="{A1E45F9E-18BD-4B00-8EAE-2CF73FB85485}"/>
                </a:ext>
              </a:extLst>
            </p:cNvPr>
            <p:cNvSpPr/>
            <p:nvPr/>
          </p:nvSpPr>
          <p:spPr>
            <a:xfrm>
              <a:off x="0" y="9034053"/>
              <a:ext cx="9485410" cy="1938747"/>
            </a:xfrm>
            <a:prstGeom prst="rect">
              <a:avLst/>
            </a:prstGeom>
            <a:solidFill>
              <a:srgbClr val="191919">
                <a:alpha val="4313"/>
              </a:srgbClr>
            </a:solidFill>
          </p:spPr>
        </p:sp>
      </p:grpSp>
      <p:grpSp>
        <p:nvGrpSpPr>
          <p:cNvPr id="32" name="Group 32">
            <a:extLst>
              <a:ext uri="{FF2B5EF4-FFF2-40B4-BE49-F238E27FC236}">
                <a16:creationId xmlns:a16="http://schemas.microsoft.com/office/drawing/2014/main" id="{37299380-ACA8-4018-A7EC-250B7ED72130}"/>
              </a:ext>
            </a:extLst>
          </p:cNvPr>
          <p:cNvGrpSpPr/>
          <p:nvPr userDrawn="1"/>
        </p:nvGrpSpPr>
        <p:grpSpPr>
          <a:xfrm>
            <a:off x="3139993" y="3902121"/>
            <a:ext cx="1932629" cy="727030"/>
            <a:chOff x="0" y="0"/>
            <a:chExt cx="5153677" cy="1938747"/>
          </a:xfrm>
        </p:grpSpPr>
        <p:sp>
          <p:nvSpPr>
            <p:cNvPr id="33" name="AutoShape 33">
              <a:extLst>
                <a:ext uri="{FF2B5EF4-FFF2-40B4-BE49-F238E27FC236}">
                  <a16:creationId xmlns:a16="http://schemas.microsoft.com/office/drawing/2014/main" id="{05DF088F-6C5A-4023-BADC-41243A75EA84}"/>
                </a:ext>
              </a:extLst>
            </p:cNvPr>
            <p:cNvSpPr/>
            <p:nvPr/>
          </p:nvSpPr>
          <p:spPr>
            <a:xfrm>
              <a:off x="1075802" y="0"/>
              <a:ext cx="4077875" cy="1938747"/>
            </a:xfrm>
            <a:prstGeom prst="rect">
              <a:avLst/>
            </a:prstGeom>
            <a:solidFill>
              <a:srgbClr val="EF9500"/>
            </a:solidFill>
          </p:spPr>
        </p:sp>
        <p:sp>
          <p:nvSpPr>
            <p:cNvPr id="34" name="AutoShape 34">
              <a:extLst>
                <a:ext uri="{FF2B5EF4-FFF2-40B4-BE49-F238E27FC236}">
                  <a16:creationId xmlns:a16="http://schemas.microsoft.com/office/drawing/2014/main" id="{555A51A8-E0ED-4116-8BA6-0CB2C7E94CBE}"/>
                </a:ext>
              </a:extLst>
            </p:cNvPr>
            <p:cNvSpPr/>
            <p:nvPr/>
          </p:nvSpPr>
          <p:spPr>
            <a:xfrm>
              <a:off x="0" y="0"/>
              <a:ext cx="1075802" cy="1938747"/>
            </a:xfrm>
            <a:prstGeom prst="rect">
              <a:avLst/>
            </a:prstGeom>
            <a:solidFill>
              <a:srgbClr val="EF9500">
                <a:alpha val="19607"/>
              </a:srgbClr>
            </a:solidFill>
          </p:spPr>
          <p:txBody>
            <a:bodyPr/>
            <a:lstStyle/>
            <a:p>
              <a:endParaRPr lang="fr-FR" sz="1200"/>
            </a:p>
          </p:txBody>
        </p:sp>
        <p:sp>
          <p:nvSpPr>
            <p:cNvPr id="35" name="TextBox 35">
              <a:extLst>
                <a:ext uri="{FF2B5EF4-FFF2-40B4-BE49-F238E27FC236}">
                  <a16:creationId xmlns:a16="http://schemas.microsoft.com/office/drawing/2014/main" id="{0C1BBEE2-2DC9-42D3-A989-8D66CFDFF38F}"/>
                </a:ext>
              </a:extLst>
            </p:cNvPr>
            <p:cNvSpPr txBox="1"/>
            <p:nvPr/>
          </p:nvSpPr>
          <p:spPr>
            <a:xfrm>
              <a:off x="251821" y="635616"/>
              <a:ext cx="572168" cy="595717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r">
                <a:lnSpc>
                  <a:spcPts val="1944"/>
                </a:lnSpc>
              </a:pPr>
              <a:r>
                <a:rPr lang="en-US" sz="1200">
                  <a:ln w="0"/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  <a:latin typeface="Aileron Regular Bold"/>
                </a:rPr>
                <a:t>05</a:t>
              </a:r>
              <a:endParaRPr lang="en-US" sz="1200">
                <a:solidFill>
                  <a:srgbClr val="13538A"/>
                </a:solidFill>
                <a:latin typeface="Aileron Regular Bold"/>
              </a:endParaRPr>
            </a:p>
          </p:txBody>
        </p:sp>
      </p:grpSp>
      <p:pic>
        <p:nvPicPr>
          <p:cNvPr id="39" name="Picture 2">
            <a:extLst>
              <a:ext uri="{FF2B5EF4-FFF2-40B4-BE49-F238E27FC236}">
                <a16:creationId xmlns:a16="http://schemas.microsoft.com/office/drawing/2014/main" id="{175755AE-7266-47FE-9603-9805588908A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>
          <a:xfrm>
            <a:off x="-17782" y="2788516"/>
            <a:ext cx="3061367" cy="2227208"/>
          </a:xfrm>
          <a:prstGeom prst="rect">
            <a:avLst/>
          </a:prstGeom>
        </p:spPr>
      </p:pic>
      <p:sp>
        <p:nvSpPr>
          <p:cNvPr id="42" name="Titre 24">
            <a:extLst>
              <a:ext uri="{FF2B5EF4-FFF2-40B4-BE49-F238E27FC236}">
                <a16:creationId xmlns:a16="http://schemas.microsoft.com/office/drawing/2014/main" id="{6F312F17-5008-4678-915A-7A673491D2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5460" y="313723"/>
            <a:ext cx="4070509" cy="539891"/>
          </a:xfrm>
        </p:spPr>
        <p:txBody>
          <a:bodyPr>
            <a:normAutofit/>
          </a:bodyPr>
          <a:lstStyle>
            <a:lvl1pPr>
              <a:defRPr sz="2100"/>
            </a:lvl1pPr>
          </a:lstStyle>
          <a:p>
            <a:r>
              <a:rPr lang="fr-FR" sz="2400">
                <a:solidFill>
                  <a:srgbClr val="F57A30"/>
                </a:solidFill>
                <a:latin typeface="Source Sans Pro Black" panose="020B0803030403020204" pitchFamily="34" charset="0"/>
              </a:rPr>
              <a:t>Titre</a:t>
            </a:r>
          </a:p>
        </p:txBody>
      </p:sp>
      <p:sp>
        <p:nvSpPr>
          <p:cNvPr id="37" name="Espace réservé du contenu 25" descr="Zone de texte&#10;">
            <a:extLst>
              <a:ext uri="{FF2B5EF4-FFF2-40B4-BE49-F238E27FC236}">
                <a16:creationId xmlns:a16="http://schemas.microsoft.com/office/drawing/2014/main" id="{50097650-97CF-4369-9641-8D6F03398C39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072622" y="1361294"/>
            <a:ext cx="3557029" cy="727029"/>
          </a:xfrm>
        </p:spPr>
        <p:txBody>
          <a:bodyPr anchor="ctr">
            <a:noAutofit/>
          </a:bodyPr>
          <a:lstStyle>
            <a:lvl1pPr marL="0" indent="0" algn="ctr">
              <a:buNone/>
              <a:defRPr sz="1800">
                <a:solidFill>
                  <a:schemeClr val="bg2">
                    <a:lumMod val="10000"/>
                  </a:schemeClr>
                </a:solidFill>
                <a:latin typeface="Source Sans Pro" panose="020B0503030403020204" pitchFamily="34" charset="0"/>
              </a:defRPr>
            </a:lvl1pPr>
            <a:lvl2pPr>
              <a:defRPr sz="1500">
                <a:solidFill>
                  <a:schemeClr val="bg1"/>
                </a:solidFill>
                <a:latin typeface="Source Sans Pro" panose="020B0503030403020204" pitchFamily="34" charset="0"/>
              </a:defRPr>
            </a:lvl2pPr>
            <a:lvl3pPr>
              <a:defRPr sz="1350">
                <a:solidFill>
                  <a:schemeClr val="bg1"/>
                </a:solidFill>
                <a:latin typeface="Source Sans Pro" panose="020B0503030403020204" pitchFamily="34" charset="0"/>
              </a:defRPr>
            </a:lvl3pPr>
            <a:lvl4pPr>
              <a:defRPr sz="1200">
                <a:solidFill>
                  <a:schemeClr val="bg1"/>
                </a:solidFill>
                <a:latin typeface="Source Sans Pro" panose="020B0503030403020204" pitchFamily="34" charset="0"/>
              </a:defRPr>
            </a:lvl4pPr>
            <a:lvl5pPr>
              <a:defRPr sz="1200">
                <a:solidFill>
                  <a:schemeClr val="bg1"/>
                </a:solidFill>
                <a:latin typeface="Source Sans Pro" panose="020B0503030403020204" pitchFamily="34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0" name="Espace réservé du contenu 25" descr="Zone de texte&#10;">
            <a:extLst>
              <a:ext uri="{FF2B5EF4-FFF2-40B4-BE49-F238E27FC236}">
                <a16:creationId xmlns:a16="http://schemas.microsoft.com/office/drawing/2014/main" id="{3BBC53A4-A7CE-4B53-B89E-6AB9A859D9E1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5082129" y="2211451"/>
            <a:ext cx="3557029" cy="727029"/>
          </a:xfrm>
        </p:spPr>
        <p:txBody>
          <a:bodyPr anchor="ctr">
            <a:noAutofit/>
          </a:bodyPr>
          <a:lstStyle>
            <a:lvl1pPr marL="0" indent="0" algn="ctr">
              <a:buNone/>
              <a:defRPr sz="1800">
                <a:solidFill>
                  <a:schemeClr val="bg2">
                    <a:lumMod val="10000"/>
                  </a:schemeClr>
                </a:solidFill>
                <a:latin typeface="Source Sans Pro" panose="020B0503030403020204" pitchFamily="34" charset="0"/>
              </a:defRPr>
            </a:lvl1pPr>
            <a:lvl2pPr>
              <a:defRPr sz="1500">
                <a:solidFill>
                  <a:schemeClr val="bg1"/>
                </a:solidFill>
                <a:latin typeface="Source Sans Pro" panose="020B0503030403020204" pitchFamily="34" charset="0"/>
              </a:defRPr>
            </a:lvl2pPr>
            <a:lvl3pPr>
              <a:defRPr sz="1350">
                <a:solidFill>
                  <a:schemeClr val="bg1"/>
                </a:solidFill>
                <a:latin typeface="Source Sans Pro" panose="020B0503030403020204" pitchFamily="34" charset="0"/>
              </a:defRPr>
            </a:lvl3pPr>
            <a:lvl4pPr>
              <a:defRPr sz="1200">
                <a:solidFill>
                  <a:schemeClr val="bg1"/>
                </a:solidFill>
                <a:latin typeface="Source Sans Pro" panose="020B0503030403020204" pitchFamily="34" charset="0"/>
              </a:defRPr>
            </a:lvl4pPr>
            <a:lvl5pPr>
              <a:defRPr sz="1200">
                <a:solidFill>
                  <a:schemeClr val="bg1"/>
                </a:solidFill>
                <a:latin typeface="Source Sans Pro" panose="020B0503030403020204" pitchFamily="34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1" name="Espace réservé du contenu 25" descr="Zone de texte&#10;">
            <a:extLst>
              <a:ext uri="{FF2B5EF4-FFF2-40B4-BE49-F238E27FC236}">
                <a16:creationId xmlns:a16="http://schemas.microsoft.com/office/drawing/2014/main" id="{DE80D090-2C0B-4814-9CAC-1A188111EB45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082129" y="3040619"/>
            <a:ext cx="3557029" cy="727029"/>
          </a:xfrm>
        </p:spPr>
        <p:txBody>
          <a:bodyPr anchor="ctr">
            <a:noAutofit/>
          </a:bodyPr>
          <a:lstStyle>
            <a:lvl1pPr marL="0" indent="0" algn="ctr">
              <a:buNone/>
              <a:defRPr sz="1800">
                <a:solidFill>
                  <a:schemeClr val="bg2">
                    <a:lumMod val="10000"/>
                  </a:schemeClr>
                </a:solidFill>
                <a:latin typeface="Source Sans Pro" panose="020B0503030403020204" pitchFamily="34" charset="0"/>
              </a:defRPr>
            </a:lvl1pPr>
            <a:lvl2pPr>
              <a:defRPr sz="1500">
                <a:solidFill>
                  <a:schemeClr val="bg1"/>
                </a:solidFill>
                <a:latin typeface="Source Sans Pro" panose="020B0503030403020204" pitchFamily="34" charset="0"/>
              </a:defRPr>
            </a:lvl2pPr>
            <a:lvl3pPr>
              <a:defRPr sz="1350">
                <a:solidFill>
                  <a:schemeClr val="bg1"/>
                </a:solidFill>
                <a:latin typeface="Source Sans Pro" panose="020B0503030403020204" pitchFamily="34" charset="0"/>
              </a:defRPr>
            </a:lvl3pPr>
            <a:lvl4pPr>
              <a:defRPr sz="1200">
                <a:solidFill>
                  <a:schemeClr val="bg1"/>
                </a:solidFill>
                <a:latin typeface="Source Sans Pro" panose="020B0503030403020204" pitchFamily="34" charset="0"/>
              </a:defRPr>
            </a:lvl4pPr>
            <a:lvl5pPr>
              <a:defRPr sz="1200">
                <a:solidFill>
                  <a:schemeClr val="bg1"/>
                </a:solidFill>
                <a:latin typeface="Source Sans Pro" panose="020B0503030403020204" pitchFamily="34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3" name="Espace réservé du contenu 25" descr="Zone de texte&#10;">
            <a:extLst>
              <a:ext uri="{FF2B5EF4-FFF2-40B4-BE49-F238E27FC236}">
                <a16:creationId xmlns:a16="http://schemas.microsoft.com/office/drawing/2014/main" id="{5C657189-5CED-43FC-9A83-C5B70FE80D3B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082129" y="3902120"/>
            <a:ext cx="3557029" cy="727029"/>
          </a:xfrm>
        </p:spPr>
        <p:txBody>
          <a:bodyPr anchor="ctr">
            <a:noAutofit/>
          </a:bodyPr>
          <a:lstStyle>
            <a:lvl1pPr marL="0" indent="0" algn="ctr">
              <a:buNone/>
              <a:defRPr sz="1800">
                <a:solidFill>
                  <a:schemeClr val="bg2">
                    <a:lumMod val="10000"/>
                  </a:schemeClr>
                </a:solidFill>
                <a:latin typeface="Source Sans Pro" panose="020B0503030403020204" pitchFamily="34" charset="0"/>
              </a:defRPr>
            </a:lvl1pPr>
            <a:lvl2pPr>
              <a:defRPr sz="1500">
                <a:solidFill>
                  <a:schemeClr val="bg1"/>
                </a:solidFill>
                <a:latin typeface="Source Sans Pro" panose="020B0503030403020204" pitchFamily="34" charset="0"/>
              </a:defRPr>
            </a:lvl2pPr>
            <a:lvl3pPr>
              <a:defRPr sz="1350">
                <a:solidFill>
                  <a:schemeClr val="bg1"/>
                </a:solidFill>
                <a:latin typeface="Source Sans Pro" panose="020B0503030403020204" pitchFamily="34" charset="0"/>
              </a:defRPr>
            </a:lvl3pPr>
            <a:lvl4pPr>
              <a:defRPr sz="1200">
                <a:solidFill>
                  <a:schemeClr val="bg1"/>
                </a:solidFill>
                <a:latin typeface="Source Sans Pro" panose="020B0503030403020204" pitchFamily="34" charset="0"/>
              </a:defRPr>
            </a:lvl4pPr>
            <a:lvl5pPr>
              <a:defRPr sz="1200">
                <a:solidFill>
                  <a:schemeClr val="bg1"/>
                </a:solidFill>
                <a:latin typeface="Source Sans Pro" panose="020B0503030403020204" pitchFamily="34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4" name="Espace réservé du contenu 25" descr="Zone de texte&#10;">
            <a:extLst>
              <a:ext uri="{FF2B5EF4-FFF2-40B4-BE49-F238E27FC236}">
                <a16:creationId xmlns:a16="http://schemas.microsoft.com/office/drawing/2014/main" id="{37E6AE93-6C9F-4D04-811B-CBE3ADCC2F4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552926" y="3902121"/>
            <a:ext cx="1529204" cy="727029"/>
          </a:xfrm>
        </p:spPr>
        <p:txBody>
          <a:bodyPr anchor="ctr">
            <a:noAutofit/>
          </a:bodyPr>
          <a:lstStyle>
            <a:lvl1pPr marL="0" indent="0" algn="ctr">
              <a:buNone/>
              <a:defRPr sz="1200">
                <a:solidFill>
                  <a:srgbClr val="E6E6E6"/>
                </a:solidFill>
                <a:latin typeface="Source Sans Pro" panose="020B0503030403020204" pitchFamily="34" charset="0"/>
              </a:defRPr>
            </a:lvl1pPr>
            <a:lvl2pPr>
              <a:defRPr sz="1500">
                <a:solidFill>
                  <a:schemeClr val="bg1"/>
                </a:solidFill>
                <a:latin typeface="Source Sans Pro" panose="020B0503030403020204" pitchFamily="34" charset="0"/>
              </a:defRPr>
            </a:lvl2pPr>
            <a:lvl3pPr>
              <a:defRPr sz="1350">
                <a:solidFill>
                  <a:schemeClr val="bg1"/>
                </a:solidFill>
                <a:latin typeface="Source Sans Pro" panose="020B0503030403020204" pitchFamily="34" charset="0"/>
              </a:defRPr>
            </a:lvl3pPr>
            <a:lvl4pPr>
              <a:defRPr sz="1200">
                <a:solidFill>
                  <a:schemeClr val="bg1"/>
                </a:solidFill>
                <a:latin typeface="Source Sans Pro" panose="020B0503030403020204" pitchFamily="34" charset="0"/>
              </a:defRPr>
            </a:lvl4pPr>
            <a:lvl5pPr>
              <a:defRPr sz="1200">
                <a:solidFill>
                  <a:schemeClr val="bg1"/>
                </a:solidFill>
                <a:latin typeface="Source Sans Pro" panose="020B0503030403020204" pitchFamily="34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5" name="Espace réservé du contenu 25" descr="Zone de texte&#10;">
            <a:extLst>
              <a:ext uri="{FF2B5EF4-FFF2-40B4-BE49-F238E27FC236}">
                <a16:creationId xmlns:a16="http://schemas.microsoft.com/office/drawing/2014/main" id="{B04E6025-8BFF-45D0-B4D7-B8E114C41483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3552925" y="3055178"/>
            <a:ext cx="1529204" cy="727029"/>
          </a:xfrm>
        </p:spPr>
        <p:txBody>
          <a:bodyPr anchor="ctr">
            <a:noAutofit/>
          </a:bodyPr>
          <a:lstStyle>
            <a:lvl1pPr marL="0" indent="0" algn="ctr">
              <a:buNone/>
              <a:defRPr sz="1200">
                <a:solidFill>
                  <a:srgbClr val="E6E6E6"/>
                </a:solidFill>
                <a:latin typeface="Source Sans Pro" panose="020B0503030403020204" pitchFamily="34" charset="0"/>
              </a:defRPr>
            </a:lvl1pPr>
            <a:lvl2pPr>
              <a:defRPr sz="1500">
                <a:solidFill>
                  <a:schemeClr val="bg1"/>
                </a:solidFill>
                <a:latin typeface="Source Sans Pro" panose="020B0503030403020204" pitchFamily="34" charset="0"/>
              </a:defRPr>
            </a:lvl2pPr>
            <a:lvl3pPr>
              <a:defRPr sz="1350">
                <a:solidFill>
                  <a:schemeClr val="bg1"/>
                </a:solidFill>
                <a:latin typeface="Source Sans Pro" panose="020B0503030403020204" pitchFamily="34" charset="0"/>
              </a:defRPr>
            </a:lvl3pPr>
            <a:lvl4pPr>
              <a:defRPr sz="1200">
                <a:solidFill>
                  <a:schemeClr val="bg1"/>
                </a:solidFill>
                <a:latin typeface="Source Sans Pro" panose="020B0503030403020204" pitchFamily="34" charset="0"/>
              </a:defRPr>
            </a:lvl4pPr>
            <a:lvl5pPr>
              <a:defRPr sz="1200">
                <a:solidFill>
                  <a:schemeClr val="bg1"/>
                </a:solidFill>
                <a:latin typeface="Source Sans Pro" panose="020B0503030403020204" pitchFamily="34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6" name="Espace réservé du contenu 25" descr="Zone de texte&#10;">
            <a:extLst>
              <a:ext uri="{FF2B5EF4-FFF2-40B4-BE49-F238E27FC236}">
                <a16:creationId xmlns:a16="http://schemas.microsoft.com/office/drawing/2014/main" id="{C08FB0A2-4368-4E36-A094-F0C796DDDA19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3562432" y="2217742"/>
            <a:ext cx="1529204" cy="727029"/>
          </a:xfrm>
        </p:spPr>
        <p:txBody>
          <a:bodyPr anchor="ctr">
            <a:noAutofit/>
          </a:bodyPr>
          <a:lstStyle>
            <a:lvl1pPr marL="0" indent="0" algn="ctr">
              <a:buNone/>
              <a:defRPr sz="1200">
                <a:solidFill>
                  <a:srgbClr val="E6E6E6"/>
                </a:solidFill>
                <a:latin typeface="Source Sans Pro" panose="020B0503030403020204" pitchFamily="34" charset="0"/>
              </a:defRPr>
            </a:lvl1pPr>
            <a:lvl2pPr>
              <a:defRPr sz="1500">
                <a:solidFill>
                  <a:schemeClr val="bg1"/>
                </a:solidFill>
                <a:latin typeface="Source Sans Pro" panose="020B0503030403020204" pitchFamily="34" charset="0"/>
              </a:defRPr>
            </a:lvl2pPr>
            <a:lvl3pPr>
              <a:defRPr sz="1350">
                <a:solidFill>
                  <a:schemeClr val="bg1"/>
                </a:solidFill>
                <a:latin typeface="Source Sans Pro" panose="020B0503030403020204" pitchFamily="34" charset="0"/>
              </a:defRPr>
            </a:lvl3pPr>
            <a:lvl4pPr>
              <a:defRPr sz="1200">
                <a:solidFill>
                  <a:schemeClr val="bg1"/>
                </a:solidFill>
                <a:latin typeface="Source Sans Pro" panose="020B0503030403020204" pitchFamily="34" charset="0"/>
              </a:defRPr>
            </a:lvl4pPr>
            <a:lvl5pPr>
              <a:defRPr sz="1200">
                <a:solidFill>
                  <a:schemeClr val="bg1"/>
                </a:solidFill>
                <a:latin typeface="Source Sans Pro" panose="020B0503030403020204" pitchFamily="34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7" name="Espace réservé du contenu 25" descr="Zone de texte&#10;">
            <a:extLst>
              <a:ext uri="{FF2B5EF4-FFF2-40B4-BE49-F238E27FC236}">
                <a16:creationId xmlns:a16="http://schemas.microsoft.com/office/drawing/2014/main" id="{86D783BB-0C79-4A19-9BE6-DDA6470CF61B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3543417" y="1369438"/>
            <a:ext cx="1529204" cy="727029"/>
          </a:xfrm>
        </p:spPr>
        <p:txBody>
          <a:bodyPr anchor="ctr">
            <a:noAutofit/>
          </a:bodyPr>
          <a:lstStyle>
            <a:lvl1pPr marL="0" indent="0" algn="ctr">
              <a:buNone/>
              <a:defRPr sz="1200">
                <a:solidFill>
                  <a:srgbClr val="E6E6E6"/>
                </a:solidFill>
                <a:latin typeface="Source Sans Pro" panose="020B0503030403020204" pitchFamily="34" charset="0"/>
              </a:defRPr>
            </a:lvl1pPr>
            <a:lvl2pPr>
              <a:defRPr sz="1500">
                <a:solidFill>
                  <a:schemeClr val="bg1"/>
                </a:solidFill>
                <a:latin typeface="Source Sans Pro" panose="020B0503030403020204" pitchFamily="34" charset="0"/>
              </a:defRPr>
            </a:lvl2pPr>
            <a:lvl3pPr>
              <a:defRPr sz="1350">
                <a:solidFill>
                  <a:schemeClr val="bg1"/>
                </a:solidFill>
                <a:latin typeface="Source Sans Pro" panose="020B0503030403020204" pitchFamily="34" charset="0"/>
              </a:defRPr>
            </a:lvl3pPr>
            <a:lvl4pPr>
              <a:defRPr sz="1200">
                <a:solidFill>
                  <a:schemeClr val="bg1"/>
                </a:solidFill>
                <a:latin typeface="Source Sans Pro" panose="020B0503030403020204" pitchFamily="34" charset="0"/>
              </a:defRPr>
            </a:lvl4pPr>
            <a:lvl5pPr>
              <a:defRPr sz="1200">
                <a:solidFill>
                  <a:schemeClr val="bg1"/>
                </a:solidFill>
                <a:latin typeface="Source Sans Pro" panose="020B0503030403020204" pitchFamily="34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9" name="Espace réservé du contenu 25" descr="Zone de texte&#10;">
            <a:extLst>
              <a:ext uri="{FF2B5EF4-FFF2-40B4-BE49-F238E27FC236}">
                <a16:creationId xmlns:a16="http://schemas.microsoft.com/office/drawing/2014/main" id="{28A4FCDB-4F23-440D-A050-EA2D1684DA1C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5091637" y="527408"/>
            <a:ext cx="3557029" cy="727029"/>
          </a:xfrm>
        </p:spPr>
        <p:txBody>
          <a:bodyPr anchor="ctr">
            <a:noAutofit/>
          </a:bodyPr>
          <a:lstStyle>
            <a:lvl1pPr marL="0" indent="0" algn="ctr">
              <a:buNone/>
              <a:defRPr sz="1800">
                <a:solidFill>
                  <a:schemeClr val="bg2">
                    <a:lumMod val="10000"/>
                  </a:schemeClr>
                </a:solidFill>
                <a:latin typeface="Source Sans Pro" panose="020B0503030403020204" pitchFamily="34" charset="0"/>
              </a:defRPr>
            </a:lvl1pPr>
            <a:lvl2pPr>
              <a:defRPr sz="1500">
                <a:solidFill>
                  <a:schemeClr val="bg1"/>
                </a:solidFill>
                <a:latin typeface="Source Sans Pro" panose="020B0503030403020204" pitchFamily="34" charset="0"/>
              </a:defRPr>
            </a:lvl2pPr>
            <a:lvl3pPr>
              <a:defRPr sz="1350">
                <a:solidFill>
                  <a:schemeClr val="bg1"/>
                </a:solidFill>
                <a:latin typeface="Source Sans Pro" panose="020B0503030403020204" pitchFamily="34" charset="0"/>
              </a:defRPr>
            </a:lvl3pPr>
            <a:lvl4pPr>
              <a:defRPr sz="1200">
                <a:solidFill>
                  <a:schemeClr val="bg1"/>
                </a:solidFill>
                <a:latin typeface="Source Sans Pro" panose="020B0503030403020204" pitchFamily="34" charset="0"/>
              </a:defRPr>
            </a:lvl4pPr>
            <a:lvl5pPr>
              <a:defRPr sz="1200">
                <a:solidFill>
                  <a:schemeClr val="bg1"/>
                </a:solidFill>
                <a:latin typeface="Source Sans Pro" panose="020B0503030403020204" pitchFamily="34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0" name="Espace réservé du contenu 25" descr="Zone de texte&#10;">
            <a:extLst>
              <a:ext uri="{FF2B5EF4-FFF2-40B4-BE49-F238E27FC236}">
                <a16:creationId xmlns:a16="http://schemas.microsoft.com/office/drawing/2014/main" id="{D588D398-DDF0-4ABC-B45A-4309606E1823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3562432" y="535553"/>
            <a:ext cx="1529204" cy="727029"/>
          </a:xfrm>
        </p:spPr>
        <p:txBody>
          <a:bodyPr anchor="ctr">
            <a:noAutofit/>
          </a:bodyPr>
          <a:lstStyle>
            <a:lvl1pPr marL="0" indent="0" algn="ctr">
              <a:buNone/>
              <a:defRPr sz="1200">
                <a:solidFill>
                  <a:srgbClr val="E6E6E6"/>
                </a:solidFill>
                <a:latin typeface="Source Sans Pro" panose="020B0503030403020204" pitchFamily="34" charset="0"/>
              </a:defRPr>
            </a:lvl1pPr>
            <a:lvl2pPr>
              <a:defRPr sz="1500">
                <a:solidFill>
                  <a:schemeClr val="bg1"/>
                </a:solidFill>
                <a:latin typeface="Source Sans Pro" panose="020B0503030403020204" pitchFamily="34" charset="0"/>
              </a:defRPr>
            </a:lvl2pPr>
            <a:lvl3pPr>
              <a:defRPr sz="1350">
                <a:solidFill>
                  <a:schemeClr val="bg1"/>
                </a:solidFill>
                <a:latin typeface="Source Sans Pro" panose="020B0503030403020204" pitchFamily="34" charset="0"/>
              </a:defRPr>
            </a:lvl3pPr>
            <a:lvl4pPr>
              <a:defRPr sz="1200">
                <a:solidFill>
                  <a:schemeClr val="bg1"/>
                </a:solidFill>
                <a:latin typeface="Source Sans Pro" panose="020B0503030403020204" pitchFamily="34" charset="0"/>
              </a:defRPr>
            </a:lvl4pPr>
            <a:lvl5pPr>
              <a:defRPr sz="1200">
                <a:solidFill>
                  <a:schemeClr val="bg1"/>
                </a:solidFill>
                <a:latin typeface="Source Sans Pro" panose="020B0503030403020204" pitchFamily="34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681202406"/>
      </p:ext>
    </p:extLst>
  </p:cSld>
  <p:clrMapOvr>
    <a:masterClrMapping/>
  </p:clrMapOvr>
</p:sldLayout>
</file>

<file path=ppt/slideLayouts/slideLayout6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91CF584C-2E5B-45DF-9BE4-B720370EA89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BD54BC09-200B-49ED-98FC-15BFA92166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CDEB4B49-5BCD-4394-8455-777B3FBA45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48F244-30DD-438A-ADD2-DF4984FBCA8F}" type="slidenum">
              <a:rPr lang="fr-FR" smtClean="0"/>
              <a:t>‹#›</a:t>
            </a:fld>
            <a:endParaRPr lang="fr-FR"/>
          </a:p>
        </p:txBody>
      </p:sp>
      <p:sp>
        <p:nvSpPr>
          <p:cNvPr id="7" name="AutoShape 2">
            <a:extLst>
              <a:ext uri="{FF2B5EF4-FFF2-40B4-BE49-F238E27FC236}">
                <a16:creationId xmlns:a16="http://schemas.microsoft.com/office/drawing/2014/main" id="{42F29305-04BD-429C-B8C6-5B10939D672D}"/>
              </a:ext>
            </a:extLst>
          </p:cNvPr>
          <p:cNvSpPr/>
          <p:nvPr userDrawn="1"/>
        </p:nvSpPr>
        <p:spPr>
          <a:xfrm>
            <a:off x="3149500" y="514350"/>
            <a:ext cx="403426" cy="727030"/>
          </a:xfrm>
          <a:prstGeom prst="rect">
            <a:avLst/>
          </a:prstGeom>
          <a:solidFill>
            <a:srgbClr val="D6ECE9">
              <a:alpha val="14901"/>
            </a:srgbClr>
          </a:solidFill>
        </p:spPr>
      </p:sp>
      <p:sp>
        <p:nvSpPr>
          <p:cNvPr id="8" name="AutoShape 3">
            <a:extLst>
              <a:ext uri="{FF2B5EF4-FFF2-40B4-BE49-F238E27FC236}">
                <a16:creationId xmlns:a16="http://schemas.microsoft.com/office/drawing/2014/main" id="{CC5B8E90-CE9C-4337-84B3-CDBA00F70222}"/>
              </a:ext>
            </a:extLst>
          </p:cNvPr>
          <p:cNvSpPr/>
          <p:nvPr userDrawn="1"/>
        </p:nvSpPr>
        <p:spPr>
          <a:xfrm>
            <a:off x="3543419" y="514350"/>
            <a:ext cx="1529203" cy="727030"/>
          </a:xfrm>
          <a:prstGeom prst="rect">
            <a:avLst/>
          </a:prstGeom>
          <a:solidFill>
            <a:srgbClr val="D6ECE9"/>
          </a:solidFill>
        </p:spPr>
      </p:sp>
      <p:sp>
        <p:nvSpPr>
          <p:cNvPr id="10" name="TextBox 5">
            <a:extLst>
              <a:ext uri="{FF2B5EF4-FFF2-40B4-BE49-F238E27FC236}">
                <a16:creationId xmlns:a16="http://schemas.microsoft.com/office/drawing/2014/main" id="{63CB19F6-D2B0-410E-9426-6664203558B9}"/>
              </a:ext>
            </a:extLst>
          </p:cNvPr>
          <p:cNvSpPr txBox="1"/>
          <p:nvPr userDrawn="1"/>
        </p:nvSpPr>
        <p:spPr>
          <a:xfrm>
            <a:off x="3243933" y="740800"/>
            <a:ext cx="214562" cy="223394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r">
              <a:lnSpc>
                <a:spcPts val="1944"/>
              </a:lnSpc>
            </a:pPr>
            <a:r>
              <a:rPr lang="en-US" sz="120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Aileron Regular Bold"/>
              </a:rPr>
              <a:t>01</a:t>
            </a:r>
            <a:endParaRPr lang="en-US" sz="1200">
              <a:solidFill>
                <a:srgbClr val="86EAE9"/>
              </a:solidFill>
              <a:latin typeface="Aileron Regular Bold"/>
            </a:endParaRPr>
          </a:p>
        </p:txBody>
      </p:sp>
      <p:grpSp>
        <p:nvGrpSpPr>
          <p:cNvPr id="11" name="Group 8">
            <a:extLst>
              <a:ext uri="{FF2B5EF4-FFF2-40B4-BE49-F238E27FC236}">
                <a16:creationId xmlns:a16="http://schemas.microsoft.com/office/drawing/2014/main" id="{399CC400-ECBE-4CFF-BED0-7A5D96070E10}"/>
              </a:ext>
            </a:extLst>
          </p:cNvPr>
          <p:cNvGrpSpPr/>
          <p:nvPr userDrawn="1"/>
        </p:nvGrpSpPr>
        <p:grpSpPr>
          <a:xfrm>
            <a:off x="3149500" y="1361293"/>
            <a:ext cx="1932629" cy="727030"/>
            <a:chOff x="0" y="0"/>
            <a:chExt cx="5153677" cy="1938747"/>
          </a:xfrm>
        </p:grpSpPr>
        <p:sp>
          <p:nvSpPr>
            <p:cNvPr id="12" name="AutoShape 9">
              <a:extLst>
                <a:ext uri="{FF2B5EF4-FFF2-40B4-BE49-F238E27FC236}">
                  <a16:creationId xmlns:a16="http://schemas.microsoft.com/office/drawing/2014/main" id="{1B76F7D4-5B35-41FE-8190-B80C06DF81FC}"/>
                </a:ext>
              </a:extLst>
            </p:cNvPr>
            <p:cNvSpPr/>
            <p:nvPr/>
          </p:nvSpPr>
          <p:spPr>
            <a:xfrm>
              <a:off x="1075802" y="0"/>
              <a:ext cx="4077875" cy="1938747"/>
            </a:xfrm>
            <a:prstGeom prst="rect">
              <a:avLst/>
            </a:prstGeom>
            <a:solidFill>
              <a:srgbClr val="00727A"/>
            </a:solidFill>
          </p:spPr>
        </p:sp>
        <p:sp>
          <p:nvSpPr>
            <p:cNvPr id="13" name="AutoShape 10">
              <a:extLst>
                <a:ext uri="{FF2B5EF4-FFF2-40B4-BE49-F238E27FC236}">
                  <a16:creationId xmlns:a16="http://schemas.microsoft.com/office/drawing/2014/main" id="{C251E6E4-043A-4087-9268-6AF2D4B17001}"/>
                </a:ext>
              </a:extLst>
            </p:cNvPr>
            <p:cNvSpPr/>
            <p:nvPr/>
          </p:nvSpPr>
          <p:spPr>
            <a:xfrm>
              <a:off x="0" y="0"/>
              <a:ext cx="1075802" cy="1938747"/>
            </a:xfrm>
            <a:prstGeom prst="rect">
              <a:avLst/>
            </a:prstGeom>
            <a:solidFill>
              <a:srgbClr val="00727A">
                <a:alpha val="19607"/>
              </a:srgbClr>
            </a:solidFill>
          </p:spPr>
          <p:txBody>
            <a:bodyPr/>
            <a:lstStyle/>
            <a:p>
              <a:endParaRPr lang="fr-FR" sz="1200"/>
            </a:p>
          </p:txBody>
        </p:sp>
        <p:sp>
          <p:nvSpPr>
            <p:cNvPr id="14" name="TextBox 11">
              <a:extLst>
                <a:ext uri="{FF2B5EF4-FFF2-40B4-BE49-F238E27FC236}">
                  <a16:creationId xmlns:a16="http://schemas.microsoft.com/office/drawing/2014/main" id="{48C96882-7E6E-49FF-AD23-A0E42DA6AF3D}"/>
                </a:ext>
              </a:extLst>
            </p:cNvPr>
            <p:cNvSpPr txBox="1"/>
            <p:nvPr/>
          </p:nvSpPr>
          <p:spPr>
            <a:xfrm>
              <a:off x="251821" y="635616"/>
              <a:ext cx="572168" cy="595717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r">
                <a:lnSpc>
                  <a:spcPts val="1944"/>
                </a:lnSpc>
              </a:pPr>
              <a:r>
                <a:rPr lang="en-US" sz="1200">
                  <a:ln w="0"/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  <a:latin typeface="Aileron Regular Bold"/>
                </a:rPr>
                <a:t>02</a:t>
              </a:r>
            </a:p>
          </p:txBody>
        </p:sp>
      </p:grpSp>
      <p:grpSp>
        <p:nvGrpSpPr>
          <p:cNvPr id="16" name="Group 14">
            <a:extLst>
              <a:ext uri="{FF2B5EF4-FFF2-40B4-BE49-F238E27FC236}">
                <a16:creationId xmlns:a16="http://schemas.microsoft.com/office/drawing/2014/main" id="{EF9A9B82-90BF-4D16-8D7E-85F1153E09BC}"/>
              </a:ext>
            </a:extLst>
          </p:cNvPr>
          <p:cNvGrpSpPr/>
          <p:nvPr userDrawn="1"/>
        </p:nvGrpSpPr>
        <p:grpSpPr>
          <a:xfrm>
            <a:off x="3149500" y="2208236"/>
            <a:ext cx="1932629" cy="727030"/>
            <a:chOff x="0" y="0"/>
            <a:chExt cx="5153677" cy="1938747"/>
          </a:xfrm>
        </p:grpSpPr>
        <p:sp>
          <p:nvSpPr>
            <p:cNvPr id="17" name="AutoShape 15">
              <a:extLst>
                <a:ext uri="{FF2B5EF4-FFF2-40B4-BE49-F238E27FC236}">
                  <a16:creationId xmlns:a16="http://schemas.microsoft.com/office/drawing/2014/main" id="{2CBCF608-806D-46DB-9E15-7642289A0783}"/>
                </a:ext>
              </a:extLst>
            </p:cNvPr>
            <p:cNvSpPr/>
            <p:nvPr/>
          </p:nvSpPr>
          <p:spPr>
            <a:xfrm>
              <a:off x="1075802" y="0"/>
              <a:ext cx="4077875" cy="1938747"/>
            </a:xfrm>
            <a:prstGeom prst="rect">
              <a:avLst/>
            </a:prstGeom>
            <a:solidFill>
              <a:srgbClr val="F57A30"/>
            </a:solidFill>
          </p:spPr>
        </p:sp>
        <p:sp>
          <p:nvSpPr>
            <p:cNvPr id="18" name="AutoShape 16">
              <a:extLst>
                <a:ext uri="{FF2B5EF4-FFF2-40B4-BE49-F238E27FC236}">
                  <a16:creationId xmlns:a16="http://schemas.microsoft.com/office/drawing/2014/main" id="{1A99D7EC-BB81-42B2-B35E-6A2504AA2CA7}"/>
                </a:ext>
              </a:extLst>
            </p:cNvPr>
            <p:cNvSpPr/>
            <p:nvPr/>
          </p:nvSpPr>
          <p:spPr>
            <a:xfrm>
              <a:off x="0" y="0"/>
              <a:ext cx="1075802" cy="1938747"/>
            </a:xfrm>
            <a:prstGeom prst="rect">
              <a:avLst/>
            </a:prstGeom>
            <a:solidFill>
              <a:srgbClr val="F57A30">
                <a:alpha val="19607"/>
              </a:srgbClr>
            </a:solidFill>
          </p:spPr>
        </p:sp>
        <p:sp>
          <p:nvSpPr>
            <p:cNvPr id="19" name="TextBox 17">
              <a:extLst>
                <a:ext uri="{FF2B5EF4-FFF2-40B4-BE49-F238E27FC236}">
                  <a16:creationId xmlns:a16="http://schemas.microsoft.com/office/drawing/2014/main" id="{DC0A2D86-5925-4CE3-9950-C9EB5C3DD229}"/>
                </a:ext>
              </a:extLst>
            </p:cNvPr>
            <p:cNvSpPr txBox="1"/>
            <p:nvPr/>
          </p:nvSpPr>
          <p:spPr>
            <a:xfrm>
              <a:off x="251821" y="635616"/>
              <a:ext cx="572168" cy="595717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r">
                <a:lnSpc>
                  <a:spcPts val="1944"/>
                </a:lnSpc>
              </a:pPr>
              <a:r>
                <a:rPr lang="en-US" sz="1200">
                  <a:ln w="0"/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  <a:latin typeface="Aileron Regular Bold"/>
                </a:rPr>
                <a:t>03</a:t>
              </a:r>
            </a:p>
          </p:txBody>
        </p: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3CFA2165-AFD9-429C-9DE9-D370B0B95432}"/>
              </a:ext>
            </a:extLst>
          </p:cNvPr>
          <p:cNvGrpSpPr/>
          <p:nvPr userDrawn="1"/>
        </p:nvGrpSpPr>
        <p:grpSpPr>
          <a:xfrm>
            <a:off x="3139993" y="3045671"/>
            <a:ext cx="1932629" cy="727030"/>
            <a:chOff x="0" y="0"/>
            <a:chExt cx="5153677" cy="1938747"/>
          </a:xfrm>
        </p:grpSpPr>
        <p:sp>
          <p:nvSpPr>
            <p:cNvPr id="22" name="AutoShape 21">
              <a:extLst>
                <a:ext uri="{FF2B5EF4-FFF2-40B4-BE49-F238E27FC236}">
                  <a16:creationId xmlns:a16="http://schemas.microsoft.com/office/drawing/2014/main" id="{98F2F62A-BA31-4167-A3BD-C258B3ACF916}"/>
                </a:ext>
              </a:extLst>
            </p:cNvPr>
            <p:cNvSpPr/>
            <p:nvPr/>
          </p:nvSpPr>
          <p:spPr>
            <a:xfrm>
              <a:off x="1075802" y="0"/>
              <a:ext cx="4077875" cy="1938747"/>
            </a:xfrm>
            <a:prstGeom prst="rect">
              <a:avLst/>
            </a:prstGeom>
            <a:solidFill>
              <a:srgbClr val="FFC8AF"/>
            </a:solidFill>
          </p:spPr>
        </p:sp>
        <p:sp>
          <p:nvSpPr>
            <p:cNvPr id="23" name="AutoShape 22">
              <a:extLst>
                <a:ext uri="{FF2B5EF4-FFF2-40B4-BE49-F238E27FC236}">
                  <a16:creationId xmlns:a16="http://schemas.microsoft.com/office/drawing/2014/main" id="{D722FB25-856A-4924-9FAC-F54234554F04}"/>
                </a:ext>
              </a:extLst>
            </p:cNvPr>
            <p:cNvSpPr/>
            <p:nvPr/>
          </p:nvSpPr>
          <p:spPr>
            <a:xfrm>
              <a:off x="0" y="0"/>
              <a:ext cx="1075802" cy="1938747"/>
            </a:xfrm>
            <a:prstGeom prst="rect">
              <a:avLst/>
            </a:prstGeom>
            <a:solidFill>
              <a:srgbClr val="FFC8AF">
                <a:alpha val="19607"/>
              </a:srgbClr>
            </a:solidFill>
          </p:spPr>
          <p:txBody>
            <a:bodyPr/>
            <a:lstStyle/>
            <a:p>
              <a:endParaRPr lang="fr-FR" sz="1200"/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D605AE86-8EB0-4DD6-8288-4FF10B17E4B6}"/>
                </a:ext>
              </a:extLst>
            </p:cNvPr>
            <p:cNvSpPr txBox="1"/>
            <p:nvPr/>
          </p:nvSpPr>
          <p:spPr>
            <a:xfrm>
              <a:off x="251821" y="635616"/>
              <a:ext cx="572168" cy="595717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r">
                <a:lnSpc>
                  <a:spcPts val="1944"/>
                </a:lnSpc>
              </a:pPr>
              <a:r>
                <a:rPr lang="en-US" sz="1200">
                  <a:ln w="0"/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  <a:latin typeface="Aileron Regular Bold"/>
                </a:rPr>
                <a:t>04</a:t>
              </a:r>
              <a:endParaRPr lang="en-US" sz="1200">
                <a:solidFill>
                  <a:srgbClr val="2C92D5"/>
                </a:solidFill>
                <a:latin typeface="Aileron Regular Bold"/>
              </a:endParaRPr>
            </a:p>
          </p:txBody>
        </p:sp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3AD4AA25-3D24-40DF-828C-001C0214DC94}"/>
              </a:ext>
            </a:extLst>
          </p:cNvPr>
          <p:cNvGrpSpPr/>
          <p:nvPr userDrawn="1"/>
        </p:nvGrpSpPr>
        <p:grpSpPr>
          <a:xfrm>
            <a:off x="5072622" y="514350"/>
            <a:ext cx="3557029" cy="4114800"/>
            <a:chOff x="0" y="0"/>
            <a:chExt cx="9485410" cy="10972800"/>
          </a:xfrm>
        </p:grpSpPr>
        <p:sp>
          <p:nvSpPr>
            <p:cNvPr id="27" name="AutoShape 26">
              <a:extLst>
                <a:ext uri="{FF2B5EF4-FFF2-40B4-BE49-F238E27FC236}">
                  <a16:creationId xmlns:a16="http://schemas.microsoft.com/office/drawing/2014/main" id="{4A0A3850-57CD-4A8D-BAAD-6B7FDD8EBEDE}"/>
                </a:ext>
              </a:extLst>
            </p:cNvPr>
            <p:cNvSpPr/>
            <p:nvPr/>
          </p:nvSpPr>
          <p:spPr>
            <a:xfrm>
              <a:off x="0" y="0"/>
              <a:ext cx="9485410" cy="1938747"/>
            </a:xfrm>
            <a:prstGeom prst="rect">
              <a:avLst/>
            </a:prstGeom>
            <a:solidFill>
              <a:srgbClr val="191919">
                <a:alpha val="4313"/>
              </a:srgbClr>
            </a:solidFill>
          </p:spPr>
        </p:sp>
        <p:sp>
          <p:nvSpPr>
            <p:cNvPr id="28" name="AutoShape 27">
              <a:extLst>
                <a:ext uri="{FF2B5EF4-FFF2-40B4-BE49-F238E27FC236}">
                  <a16:creationId xmlns:a16="http://schemas.microsoft.com/office/drawing/2014/main" id="{C2BDC76C-1677-4316-A107-1401D39814F4}"/>
                </a:ext>
              </a:extLst>
            </p:cNvPr>
            <p:cNvSpPr/>
            <p:nvPr/>
          </p:nvSpPr>
          <p:spPr>
            <a:xfrm>
              <a:off x="0" y="2258513"/>
              <a:ext cx="9485410" cy="1938747"/>
            </a:xfrm>
            <a:prstGeom prst="rect">
              <a:avLst/>
            </a:prstGeom>
            <a:solidFill>
              <a:srgbClr val="191919">
                <a:alpha val="4313"/>
              </a:srgbClr>
            </a:solidFill>
          </p:spPr>
        </p:sp>
        <p:sp>
          <p:nvSpPr>
            <p:cNvPr id="29" name="AutoShape 28">
              <a:extLst>
                <a:ext uri="{FF2B5EF4-FFF2-40B4-BE49-F238E27FC236}">
                  <a16:creationId xmlns:a16="http://schemas.microsoft.com/office/drawing/2014/main" id="{FB8847B8-B7B3-4ED6-9304-DC1790CBF019}"/>
                </a:ext>
              </a:extLst>
            </p:cNvPr>
            <p:cNvSpPr/>
            <p:nvPr/>
          </p:nvSpPr>
          <p:spPr>
            <a:xfrm>
              <a:off x="0" y="4517027"/>
              <a:ext cx="9485410" cy="1938747"/>
            </a:xfrm>
            <a:prstGeom prst="rect">
              <a:avLst/>
            </a:prstGeom>
            <a:solidFill>
              <a:srgbClr val="191919">
                <a:alpha val="4313"/>
              </a:srgbClr>
            </a:solidFill>
          </p:spPr>
        </p:sp>
        <p:sp>
          <p:nvSpPr>
            <p:cNvPr id="30" name="AutoShape 29">
              <a:extLst>
                <a:ext uri="{FF2B5EF4-FFF2-40B4-BE49-F238E27FC236}">
                  <a16:creationId xmlns:a16="http://schemas.microsoft.com/office/drawing/2014/main" id="{46E0DCEA-EDE8-43C7-9339-A7B16AC04FE9}"/>
                </a:ext>
              </a:extLst>
            </p:cNvPr>
            <p:cNvSpPr/>
            <p:nvPr/>
          </p:nvSpPr>
          <p:spPr>
            <a:xfrm>
              <a:off x="0" y="6750187"/>
              <a:ext cx="9485410" cy="1938747"/>
            </a:xfrm>
            <a:prstGeom prst="rect">
              <a:avLst/>
            </a:prstGeom>
            <a:solidFill>
              <a:srgbClr val="191919">
                <a:alpha val="4313"/>
              </a:srgbClr>
            </a:solidFill>
          </p:spPr>
        </p:sp>
        <p:sp>
          <p:nvSpPr>
            <p:cNvPr id="31" name="AutoShape 30">
              <a:extLst>
                <a:ext uri="{FF2B5EF4-FFF2-40B4-BE49-F238E27FC236}">
                  <a16:creationId xmlns:a16="http://schemas.microsoft.com/office/drawing/2014/main" id="{A1E45F9E-18BD-4B00-8EAE-2CF73FB85485}"/>
                </a:ext>
              </a:extLst>
            </p:cNvPr>
            <p:cNvSpPr/>
            <p:nvPr/>
          </p:nvSpPr>
          <p:spPr>
            <a:xfrm>
              <a:off x="0" y="9034053"/>
              <a:ext cx="9485410" cy="1938747"/>
            </a:xfrm>
            <a:prstGeom prst="rect">
              <a:avLst/>
            </a:prstGeom>
            <a:solidFill>
              <a:srgbClr val="191919">
                <a:alpha val="4313"/>
              </a:srgbClr>
            </a:solidFill>
          </p:spPr>
        </p:sp>
      </p:grpSp>
      <p:grpSp>
        <p:nvGrpSpPr>
          <p:cNvPr id="32" name="Group 32">
            <a:extLst>
              <a:ext uri="{FF2B5EF4-FFF2-40B4-BE49-F238E27FC236}">
                <a16:creationId xmlns:a16="http://schemas.microsoft.com/office/drawing/2014/main" id="{37299380-ACA8-4018-A7EC-250B7ED72130}"/>
              </a:ext>
            </a:extLst>
          </p:cNvPr>
          <p:cNvGrpSpPr/>
          <p:nvPr userDrawn="1"/>
        </p:nvGrpSpPr>
        <p:grpSpPr>
          <a:xfrm>
            <a:off x="3139993" y="3902121"/>
            <a:ext cx="1932629" cy="727030"/>
            <a:chOff x="0" y="0"/>
            <a:chExt cx="5153677" cy="1938747"/>
          </a:xfrm>
        </p:grpSpPr>
        <p:sp>
          <p:nvSpPr>
            <p:cNvPr id="33" name="AutoShape 33">
              <a:extLst>
                <a:ext uri="{FF2B5EF4-FFF2-40B4-BE49-F238E27FC236}">
                  <a16:creationId xmlns:a16="http://schemas.microsoft.com/office/drawing/2014/main" id="{05DF088F-6C5A-4023-BADC-41243A75EA84}"/>
                </a:ext>
              </a:extLst>
            </p:cNvPr>
            <p:cNvSpPr/>
            <p:nvPr/>
          </p:nvSpPr>
          <p:spPr>
            <a:xfrm>
              <a:off x="1075802" y="0"/>
              <a:ext cx="4077875" cy="1938747"/>
            </a:xfrm>
            <a:prstGeom prst="rect">
              <a:avLst/>
            </a:prstGeom>
            <a:solidFill>
              <a:srgbClr val="EF9500"/>
            </a:solidFill>
          </p:spPr>
        </p:sp>
        <p:sp>
          <p:nvSpPr>
            <p:cNvPr id="34" name="AutoShape 34">
              <a:extLst>
                <a:ext uri="{FF2B5EF4-FFF2-40B4-BE49-F238E27FC236}">
                  <a16:creationId xmlns:a16="http://schemas.microsoft.com/office/drawing/2014/main" id="{555A51A8-E0ED-4116-8BA6-0CB2C7E94CBE}"/>
                </a:ext>
              </a:extLst>
            </p:cNvPr>
            <p:cNvSpPr/>
            <p:nvPr/>
          </p:nvSpPr>
          <p:spPr>
            <a:xfrm>
              <a:off x="0" y="0"/>
              <a:ext cx="1075802" cy="1938747"/>
            </a:xfrm>
            <a:prstGeom prst="rect">
              <a:avLst/>
            </a:prstGeom>
            <a:solidFill>
              <a:srgbClr val="EF9500">
                <a:alpha val="19607"/>
              </a:srgbClr>
            </a:solidFill>
          </p:spPr>
          <p:txBody>
            <a:bodyPr/>
            <a:lstStyle/>
            <a:p>
              <a:endParaRPr lang="fr-FR" sz="1200"/>
            </a:p>
          </p:txBody>
        </p:sp>
        <p:sp>
          <p:nvSpPr>
            <p:cNvPr id="35" name="TextBox 35">
              <a:extLst>
                <a:ext uri="{FF2B5EF4-FFF2-40B4-BE49-F238E27FC236}">
                  <a16:creationId xmlns:a16="http://schemas.microsoft.com/office/drawing/2014/main" id="{0C1BBEE2-2DC9-42D3-A989-8D66CFDFF38F}"/>
                </a:ext>
              </a:extLst>
            </p:cNvPr>
            <p:cNvSpPr txBox="1"/>
            <p:nvPr/>
          </p:nvSpPr>
          <p:spPr>
            <a:xfrm>
              <a:off x="251821" y="635616"/>
              <a:ext cx="572168" cy="595717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r">
                <a:lnSpc>
                  <a:spcPts val="1944"/>
                </a:lnSpc>
              </a:pPr>
              <a:r>
                <a:rPr lang="en-US" sz="1200">
                  <a:ln w="0"/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  <a:latin typeface="Aileron Regular Bold"/>
                </a:rPr>
                <a:t>05</a:t>
              </a:r>
              <a:endParaRPr lang="en-US" sz="1200">
                <a:solidFill>
                  <a:srgbClr val="13538A"/>
                </a:solidFill>
                <a:latin typeface="Aileron Regular Bold"/>
              </a:endParaRPr>
            </a:p>
          </p:txBody>
        </p:sp>
      </p:grpSp>
      <p:pic>
        <p:nvPicPr>
          <p:cNvPr id="39" name="Picture 2">
            <a:extLst>
              <a:ext uri="{FF2B5EF4-FFF2-40B4-BE49-F238E27FC236}">
                <a16:creationId xmlns:a16="http://schemas.microsoft.com/office/drawing/2014/main" id="{175755AE-7266-47FE-9603-9805588908A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>
          <a:xfrm>
            <a:off x="-17782" y="2788516"/>
            <a:ext cx="3061367" cy="2227208"/>
          </a:xfrm>
          <a:prstGeom prst="rect">
            <a:avLst/>
          </a:prstGeom>
        </p:spPr>
      </p:pic>
      <p:sp>
        <p:nvSpPr>
          <p:cNvPr id="42" name="Titre 24">
            <a:extLst>
              <a:ext uri="{FF2B5EF4-FFF2-40B4-BE49-F238E27FC236}">
                <a16:creationId xmlns:a16="http://schemas.microsoft.com/office/drawing/2014/main" id="{6F312F17-5008-4678-915A-7A673491D2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5460" y="313723"/>
            <a:ext cx="4070509" cy="539891"/>
          </a:xfrm>
        </p:spPr>
        <p:txBody>
          <a:bodyPr>
            <a:normAutofit/>
          </a:bodyPr>
          <a:lstStyle>
            <a:lvl1pPr>
              <a:defRPr sz="2100"/>
            </a:lvl1pPr>
          </a:lstStyle>
          <a:p>
            <a:r>
              <a:rPr lang="fr-FR" sz="2400">
                <a:solidFill>
                  <a:srgbClr val="F57A30"/>
                </a:solidFill>
                <a:latin typeface="Source Sans Pro Black" panose="020B0803030403020204" pitchFamily="34" charset="0"/>
              </a:rPr>
              <a:t>Titre</a:t>
            </a:r>
          </a:p>
        </p:txBody>
      </p:sp>
      <p:sp>
        <p:nvSpPr>
          <p:cNvPr id="37" name="Espace réservé du contenu 25" descr="Zone de texte&#10;">
            <a:extLst>
              <a:ext uri="{FF2B5EF4-FFF2-40B4-BE49-F238E27FC236}">
                <a16:creationId xmlns:a16="http://schemas.microsoft.com/office/drawing/2014/main" id="{50097650-97CF-4369-9641-8D6F03398C39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072622" y="1361294"/>
            <a:ext cx="3557029" cy="727029"/>
          </a:xfrm>
        </p:spPr>
        <p:txBody>
          <a:bodyPr anchor="ctr">
            <a:noAutofit/>
          </a:bodyPr>
          <a:lstStyle>
            <a:lvl1pPr marL="0" indent="0" algn="ctr">
              <a:buNone/>
              <a:defRPr sz="1800">
                <a:solidFill>
                  <a:schemeClr val="bg2">
                    <a:lumMod val="10000"/>
                  </a:schemeClr>
                </a:solidFill>
                <a:latin typeface="Source Sans Pro" panose="020B0503030403020204" pitchFamily="34" charset="0"/>
              </a:defRPr>
            </a:lvl1pPr>
            <a:lvl2pPr>
              <a:defRPr sz="1500">
                <a:solidFill>
                  <a:schemeClr val="bg1"/>
                </a:solidFill>
                <a:latin typeface="Source Sans Pro" panose="020B0503030403020204" pitchFamily="34" charset="0"/>
              </a:defRPr>
            </a:lvl2pPr>
            <a:lvl3pPr>
              <a:defRPr sz="1350">
                <a:solidFill>
                  <a:schemeClr val="bg1"/>
                </a:solidFill>
                <a:latin typeface="Source Sans Pro" panose="020B0503030403020204" pitchFamily="34" charset="0"/>
              </a:defRPr>
            </a:lvl3pPr>
            <a:lvl4pPr>
              <a:defRPr sz="1200">
                <a:solidFill>
                  <a:schemeClr val="bg1"/>
                </a:solidFill>
                <a:latin typeface="Source Sans Pro" panose="020B0503030403020204" pitchFamily="34" charset="0"/>
              </a:defRPr>
            </a:lvl4pPr>
            <a:lvl5pPr>
              <a:defRPr sz="1200">
                <a:solidFill>
                  <a:schemeClr val="bg1"/>
                </a:solidFill>
                <a:latin typeface="Source Sans Pro" panose="020B0503030403020204" pitchFamily="34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0" name="Espace réservé du contenu 25" descr="Zone de texte&#10;">
            <a:extLst>
              <a:ext uri="{FF2B5EF4-FFF2-40B4-BE49-F238E27FC236}">
                <a16:creationId xmlns:a16="http://schemas.microsoft.com/office/drawing/2014/main" id="{3BBC53A4-A7CE-4B53-B89E-6AB9A859D9E1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5082129" y="2211451"/>
            <a:ext cx="3557029" cy="727029"/>
          </a:xfrm>
        </p:spPr>
        <p:txBody>
          <a:bodyPr anchor="ctr">
            <a:noAutofit/>
          </a:bodyPr>
          <a:lstStyle>
            <a:lvl1pPr marL="0" indent="0" algn="ctr">
              <a:buNone/>
              <a:defRPr sz="1800">
                <a:solidFill>
                  <a:schemeClr val="bg2">
                    <a:lumMod val="10000"/>
                  </a:schemeClr>
                </a:solidFill>
                <a:latin typeface="Source Sans Pro" panose="020B0503030403020204" pitchFamily="34" charset="0"/>
              </a:defRPr>
            </a:lvl1pPr>
            <a:lvl2pPr>
              <a:defRPr sz="1500">
                <a:solidFill>
                  <a:schemeClr val="bg1"/>
                </a:solidFill>
                <a:latin typeface="Source Sans Pro" panose="020B0503030403020204" pitchFamily="34" charset="0"/>
              </a:defRPr>
            </a:lvl2pPr>
            <a:lvl3pPr>
              <a:defRPr sz="1350">
                <a:solidFill>
                  <a:schemeClr val="bg1"/>
                </a:solidFill>
                <a:latin typeface="Source Sans Pro" panose="020B0503030403020204" pitchFamily="34" charset="0"/>
              </a:defRPr>
            </a:lvl3pPr>
            <a:lvl4pPr>
              <a:defRPr sz="1200">
                <a:solidFill>
                  <a:schemeClr val="bg1"/>
                </a:solidFill>
                <a:latin typeface="Source Sans Pro" panose="020B0503030403020204" pitchFamily="34" charset="0"/>
              </a:defRPr>
            </a:lvl4pPr>
            <a:lvl5pPr>
              <a:defRPr sz="1200">
                <a:solidFill>
                  <a:schemeClr val="bg1"/>
                </a:solidFill>
                <a:latin typeface="Source Sans Pro" panose="020B0503030403020204" pitchFamily="34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1" name="Espace réservé du contenu 25" descr="Zone de texte&#10;">
            <a:extLst>
              <a:ext uri="{FF2B5EF4-FFF2-40B4-BE49-F238E27FC236}">
                <a16:creationId xmlns:a16="http://schemas.microsoft.com/office/drawing/2014/main" id="{DE80D090-2C0B-4814-9CAC-1A188111EB45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082129" y="3040619"/>
            <a:ext cx="3557029" cy="727029"/>
          </a:xfrm>
        </p:spPr>
        <p:txBody>
          <a:bodyPr anchor="ctr">
            <a:noAutofit/>
          </a:bodyPr>
          <a:lstStyle>
            <a:lvl1pPr marL="0" indent="0" algn="ctr">
              <a:buNone/>
              <a:defRPr sz="1800">
                <a:solidFill>
                  <a:schemeClr val="bg2">
                    <a:lumMod val="10000"/>
                  </a:schemeClr>
                </a:solidFill>
                <a:latin typeface="Source Sans Pro" panose="020B0503030403020204" pitchFamily="34" charset="0"/>
              </a:defRPr>
            </a:lvl1pPr>
            <a:lvl2pPr>
              <a:defRPr sz="1500">
                <a:solidFill>
                  <a:schemeClr val="bg1"/>
                </a:solidFill>
                <a:latin typeface="Source Sans Pro" panose="020B0503030403020204" pitchFamily="34" charset="0"/>
              </a:defRPr>
            </a:lvl2pPr>
            <a:lvl3pPr>
              <a:defRPr sz="1350">
                <a:solidFill>
                  <a:schemeClr val="bg1"/>
                </a:solidFill>
                <a:latin typeface="Source Sans Pro" panose="020B0503030403020204" pitchFamily="34" charset="0"/>
              </a:defRPr>
            </a:lvl3pPr>
            <a:lvl4pPr>
              <a:defRPr sz="1200">
                <a:solidFill>
                  <a:schemeClr val="bg1"/>
                </a:solidFill>
                <a:latin typeface="Source Sans Pro" panose="020B0503030403020204" pitchFamily="34" charset="0"/>
              </a:defRPr>
            </a:lvl4pPr>
            <a:lvl5pPr>
              <a:defRPr sz="1200">
                <a:solidFill>
                  <a:schemeClr val="bg1"/>
                </a:solidFill>
                <a:latin typeface="Source Sans Pro" panose="020B0503030403020204" pitchFamily="34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3" name="Espace réservé du contenu 25" descr="Zone de texte&#10;">
            <a:extLst>
              <a:ext uri="{FF2B5EF4-FFF2-40B4-BE49-F238E27FC236}">
                <a16:creationId xmlns:a16="http://schemas.microsoft.com/office/drawing/2014/main" id="{5C657189-5CED-43FC-9A83-C5B70FE80D3B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082129" y="3902120"/>
            <a:ext cx="3557029" cy="727029"/>
          </a:xfrm>
        </p:spPr>
        <p:txBody>
          <a:bodyPr anchor="ctr">
            <a:noAutofit/>
          </a:bodyPr>
          <a:lstStyle>
            <a:lvl1pPr marL="0" indent="0" algn="ctr">
              <a:buNone/>
              <a:defRPr sz="1800">
                <a:solidFill>
                  <a:schemeClr val="bg2">
                    <a:lumMod val="10000"/>
                  </a:schemeClr>
                </a:solidFill>
                <a:latin typeface="Source Sans Pro" panose="020B0503030403020204" pitchFamily="34" charset="0"/>
              </a:defRPr>
            </a:lvl1pPr>
            <a:lvl2pPr>
              <a:defRPr sz="1500">
                <a:solidFill>
                  <a:schemeClr val="bg1"/>
                </a:solidFill>
                <a:latin typeface="Source Sans Pro" panose="020B0503030403020204" pitchFamily="34" charset="0"/>
              </a:defRPr>
            </a:lvl2pPr>
            <a:lvl3pPr>
              <a:defRPr sz="1350">
                <a:solidFill>
                  <a:schemeClr val="bg1"/>
                </a:solidFill>
                <a:latin typeface="Source Sans Pro" panose="020B0503030403020204" pitchFamily="34" charset="0"/>
              </a:defRPr>
            </a:lvl3pPr>
            <a:lvl4pPr>
              <a:defRPr sz="1200">
                <a:solidFill>
                  <a:schemeClr val="bg1"/>
                </a:solidFill>
                <a:latin typeface="Source Sans Pro" panose="020B0503030403020204" pitchFamily="34" charset="0"/>
              </a:defRPr>
            </a:lvl4pPr>
            <a:lvl5pPr>
              <a:defRPr sz="1200">
                <a:solidFill>
                  <a:schemeClr val="bg1"/>
                </a:solidFill>
                <a:latin typeface="Source Sans Pro" panose="020B0503030403020204" pitchFamily="34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4" name="Espace réservé du contenu 25" descr="Zone de texte&#10;">
            <a:extLst>
              <a:ext uri="{FF2B5EF4-FFF2-40B4-BE49-F238E27FC236}">
                <a16:creationId xmlns:a16="http://schemas.microsoft.com/office/drawing/2014/main" id="{37E6AE93-6C9F-4D04-811B-CBE3ADCC2F4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552926" y="3902121"/>
            <a:ext cx="1529204" cy="727029"/>
          </a:xfrm>
        </p:spPr>
        <p:txBody>
          <a:bodyPr anchor="ctr">
            <a:noAutofit/>
          </a:bodyPr>
          <a:lstStyle>
            <a:lvl1pPr marL="0" indent="0" algn="ctr">
              <a:buNone/>
              <a:defRPr sz="1200">
                <a:solidFill>
                  <a:srgbClr val="E6E6E6"/>
                </a:solidFill>
                <a:latin typeface="Source Sans Pro" panose="020B0503030403020204" pitchFamily="34" charset="0"/>
              </a:defRPr>
            </a:lvl1pPr>
            <a:lvl2pPr>
              <a:defRPr sz="1500">
                <a:solidFill>
                  <a:schemeClr val="bg1"/>
                </a:solidFill>
                <a:latin typeface="Source Sans Pro" panose="020B0503030403020204" pitchFamily="34" charset="0"/>
              </a:defRPr>
            </a:lvl2pPr>
            <a:lvl3pPr>
              <a:defRPr sz="1350">
                <a:solidFill>
                  <a:schemeClr val="bg1"/>
                </a:solidFill>
                <a:latin typeface="Source Sans Pro" panose="020B0503030403020204" pitchFamily="34" charset="0"/>
              </a:defRPr>
            </a:lvl3pPr>
            <a:lvl4pPr>
              <a:defRPr sz="1200">
                <a:solidFill>
                  <a:schemeClr val="bg1"/>
                </a:solidFill>
                <a:latin typeface="Source Sans Pro" panose="020B0503030403020204" pitchFamily="34" charset="0"/>
              </a:defRPr>
            </a:lvl4pPr>
            <a:lvl5pPr>
              <a:defRPr sz="1200">
                <a:solidFill>
                  <a:schemeClr val="bg1"/>
                </a:solidFill>
                <a:latin typeface="Source Sans Pro" panose="020B0503030403020204" pitchFamily="34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5" name="Espace réservé du contenu 25" descr="Zone de texte&#10;">
            <a:extLst>
              <a:ext uri="{FF2B5EF4-FFF2-40B4-BE49-F238E27FC236}">
                <a16:creationId xmlns:a16="http://schemas.microsoft.com/office/drawing/2014/main" id="{B04E6025-8BFF-45D0-B4D7-B8E114C41483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3552925" y="3055178"/>
            <a:ext cx="1529204" cy="727029"/>
          </a:xfrm>
        </p:spPr>
        <p:txBody>
          <a:bodyPr anchor="ctr">
            <a:noAutofit/>
          </a:bodyPr>
          <a:lstStyle>
            <a:lvl1pPr marL="0" indent="0" algn="ctr">
              <a:buNone/>
              <a:defRPr sz="1200">
                <a:solidFill>
                  <a:srgbClr val="E6E6E6"/>
                </a:solidFill>
                <a:latin typeface="Source Sans Pro" panose="020B0503030403020204" pitchFamily="34" charset="0"/>
              </a:defRPr>
            </a:lvl1pPr>
            <a:lvl2pPr>
              <a:defRPr sz="1500">
                <a:solidFill>
                  <a:schemeClr val="bg1"/>
                </a:solidFill>
                <a:latin typeface="Source Sans Pro" panose="020B0503030403020204" pitchFamily="34" charset="0"/>
              </a:defRPr>
            </a:lvl2pPr>
            <a:lvl3pPr>
              <a:defRPr sz="1350">
                <a:solidFill>
                  <a:schemeClr val="bg1"/>
                </a:solidFill>
                <a:latin typeface="Source Sans Pro" panose="020B0503030403020204" pitchFamily="34" charset="0"/>
              </a:defRPr>
            </a:lvl3pPr>
            <a:lvl4pPr>
              <a:defRPr sz="1200">
                <a:solidFill>
                  <a:schemeClr val="bg1"/>
                </a:solidFill>
                <a:latin typeface="Source Sans Pro" panose="020B0503030403020204" pitchFamily="34" charset="0"/>
              </a:defRPr>
            </a:lvl4pPr>
            <a:lvl5pPr>
              <a:defRPr sz="1200">
                <a:solidFill>
                  <a:schemeClr val="bg1"/>
                </a:solidFill>
                <a:latin typeface="Source Sans Pro" panose="020B0503030403020204" pitchFamily="34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6" name="Espace réservé du contenu 25" descr="Zone de texte&#10;">
            <a:extLst>
              <a:ext uri="{FF2B5EF4-FFF2-40B4-BE49-F238E27FC236}">
                <a16:creationId xmlns:a16="http://schemas.microsoft.com/office/drawing/2014/main" id="{C08FB0A2-4368-4E36-A094-F0C796DDDA19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3562432" y="2217742"/>
            <a:ext cx="1529204" cy="727029"/>
          </a:xfrm>
        </p:spPr>
        <p:txBody>
          <a:bodyPr anchor="ctr">
            <a:noAutofit/>
          </a:bodyPr>
          <a:lstStyle>
            <a:lvl1pPr marL="0" indent="0" algn="ctr">
              <a:buNone/>
              <a:defRPr sz="1200">
                <a:solidFill>
                  <a:srgbClr val="E6E6E6"/>
                </a:solidFill>
                <a:latin typeface="Source Sans Pro" panose="020B0503030403020204" pitchFamily="34" charset="0"/>
              </a:defRPr>
            </a:lvl1pPr>
            <a:lvl2pPr>
              <a:defRPr sz="1500">
                <a:solidFill>
                  <a:schemeClr val="bg1"/>
                </a:solidFill>
                <a:latin typeface="Source Sans Pro" panose="020B0503030403020204" pitchFamily="34" charset="0"/>
              </a:defRPr>
            </a:lvl2pPr>
            <a:lvl3pPr>
              <a:defRPr sz="1350">
                <a:solidFill>
                  <a:schemeClr val="bg1"/>
                </a:solidFill>
                <a:latin typeface="Source Sans Pro" panose="020B0503030403020204" pitchFamily="34" charset="0"/>
              </a:defRPr>
            </a:lvl3pPr>
            <a:lvl4pPr>
              <a:defRPr sz="1200">
                <a:solidFill>
                  <a:schemeClr val="bg1"/>
                </a:solidFill>
                <a:latin typeface="Source Sans Pro" panose="020B0503030403020204" pitchFamily="34" charset="0"/>
              </a:defRPr>
            </a:lvl4pPr>
            <a:lvl5pPr>
              <a:defRPr sz="1200">
                <a:solidFill>
                  <a:schemeClr val="bg1"/>
                </a:solidFill>
                <a:latin typeface="Source Sans Pro" panose="020B0503030403020204" pitchFamily="34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7" name="Espace réservé du contenu 25" descr="Zone de texte&#10;">
            <a:extLst>
              <a:ext uri="{FF2B5EF4-FFF2-40B4-BE49-F238E27FC236}">
                <a16:creationId xmlns:a16="http://schemas.microsoft.com/office/drawing/2014/main" id="{86D783BB-0C79-4A19-9BE6-DDA6470CF61B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3543417" y="1369438"/>
            <a:ext cx="1529204" cy="727029"/>
          </a:xfrm>
        </p:spPr>
        <p:txBody>
          <a:bodyPr anchor="ctr">
            <a:noAutofit/>
          </a:bodyPr>
          <a:lstStyle>
            <a:lvl1pPr marL="0" indent="0" algn="ctr">
              <a:buNone/>
              <a:defRPr sz="1200">
                <a:solidFill>
                  <a:srgbClr val="E6E6E6"/>
                </a:solidFill>
                <a:latin typeface="Source Sans Pro" panose="020B0503030403020204" pitchFamily="34" charset="0"/>
              </a:defRPr>
            </a:lvl1pPr>
            <a:lvl2pPr>
              <a:defRPr sz="1500">
                <a:solidFill>
                  <a:schemeClr val="bg1"/>
                </a:solidFill>
                <a:latin typeface="Source Sans Pro" panose="020B0503030403020204" pitchFamily="34" charset="0"/>
              </a:defRPr>
            </a:lvl2pPr>
            <a:lvl3pPr>
              <a:defRPr sz="1350">
                <a:solidFill>
                  <a:schemeClr val="bg1"/>
                </a:solidFill>
                <a:latin typeface="Source Sans Pro" panose="020B0503030403020204" pitchFamily="34" charset="0"/>
              </a:defRPr>
            </a:lvl3pPr>
            <a:lvl4pPr>
              <a:defRPr sz="1200">
                <a:solidFill>
                  <a:schemeClr val="bg1"/>
                </a:solidFill>
                <a:latin typeface="Source Sans Pro" panose="020B0503030403020204" pitchFamily="34" charset="0"/>
              </a:defRPr>
            </a:lvl4pPr>
            <a:lvl5pPr>
              <a:defRPr sz="1200">
                <a:solidFill>
                  <a:schemeClr val="bg1"/>
                </a:solidFill>
                <a:latin typeface="Source Sans Pro" panose="020B0503030403020204" pitchFamily="34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9" name="Espace réservé du contenu 25" descr="Zone de texte&#10;">
            <a:extLst>
              <a:ext uri="{FF2B5EF4-FFF2-40B4-BE49-F238E27FC236}">
                <a16:creationId xmlns:a16="http://schemas.microsoft.com/office/drawing/2014/main" id="{28A4FCDB-4F23-440D-A050-EA2D1684DA1C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5091637" y="527408"/>
            <a:ext cx="3557029" cy="727029"/>
          </a:xfrm>
        </p:spPr>
        <p:txBody>
          <a:bodyPr anchor="ctr">
            <a:noAutofit/>
          </a:bodyPr>
          <a:lstStyle>
            <a:lvl1pPr marL="0" indent="0" algn="ctr">
              <a:buNone/>
              <a:defRPr sz="1800">
                <a:solidFill>
                  <a:schemeClr val="bg2">
                    <a:lumMod val="10000"/>
                  </a:schemeClr>
                </a:solidFill>
                <a:latin typeface="Source Sans Pro" panose="020B0503030403020204" pitchFamily="34" charset="0"/>
              </a:defRPr>
            </a:lvl1pPr>
            <a:lvl2pPr>
              <a:defRPr sz="1500">
                <a:solidFill>
                  <a:schemeClr val="bg1"/>
                </a:solidFill>
                <a:latin typeface="Source Sans Pro" panose="020B0503030403020204" pitchFamily="34" charset="0"/>
              </a:defRPr>
            </a:lvl2pPr>
            <a:lvl3pPr>
              <a:defRPr sz="1350">
                <a:solidFill>
                  <a:schemeClr val="bg1"/>
                </a:solidFill>
                <a:latin typeface="Source Sans Pro" panose="020B0503030403020204" pitchFamily="34" charset="0"/>
              </a:defRPr>
            </a:lvl3pPr>
            <a:lvl4pPr>
              <a:defRPr sz="1200">
                <a:solidFill>
                  <a:schemeClr val="bg1"/>
                </a:solidFill>
                <a:latin typeface="Source Sans Pro" panose="020B0503030403020204" pitchFamily="34" charset="0"/>
              </a:defRPr>
            </a:lvl4pPr>
            <a:lvl5pPr>
              <a:defRPr sz="1200">
                <a:solidFill>
                  <a:schemeClr val="bg1"/>
                </a:solidFill>
                <a:latin typeface="Source Sans Pro" panose="020B0503030403020204" pitchFamily="34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0" name="Espace réservé du contenu 25" descr="Zone de texte&#10;">
            <a:extLst>
              <a:ext uri="{FF2B5EF4-FFF2-40B4-BE49-F238E27FC236}">
                <a16:creationId xmlns:a16="http://schemas.microsoft.com/office/drawing/2014/main" id="{D588D398-DDF0-4ABC-B45A-4309606E1823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3562432" y="535553"/>
            <a:ext cx="1529204" cy="727029"/>
          </a:xfrm>
        </p:spPr>
        <p:txBody>
          <a:bodyPr anchor="ctr">
            <a:noAutofit/>
          </a:bodyPr>
          <a:lstStyle>
            <a:lvl1pPr marL="0" indent="0" algn="ctr">
              <a:buNone/>
              <a:defRPr sz="1200">
                <a:solidFill>
                  <a:srgbClr val="E6E6E6"/>
                </a:solidFill>
                <a:latin typeface="Source Sans Pro" panose="020B0503030403020204" pitchFamily="34" charset="0"/>
              </a:defRPr>
            </a:lvl1pPr>
            <a:lvl2pPr>
              <a:defRPr sz="1500">
                <a:solidFill>
                  <a:schemeClr val="bg1"/>
                </a:solidFill>
                <a:latin typeface="Source Sans Pro" panose="020B0503030403020204" pitchFamily="34" charset="0"/>
              </a:defRPr>
            </a:lvl2pPr>
            <a:lvl3pPr>
              <a:defRPr sz="1350">
                <a:solidFill>
                  <a:schemeClr val="bg1"/>
                </a:solidFill>
                <a:latin typeface="Source Sans Pro" panose="020B0503030403020204" pitchFamily="34" charset="0"/>
              </a:defRPr>
            </a:lvl3pPr>
            <a:lvl4pPr>
              <a:defRPr sz="1200">
                <a:solidFill>
                  <a:schemeClr val="bg1"/>
                </a:solidFill>
                <a:latin typeface="Source Sans Pro" panose="020B0503030403020204" pitchFamily="34" charset="0"/>
              </a:defRPr>
            </a:lvl4pPr>
            <a:lvl5pPr>
              <a:defRPr sz="1200">
                <a:solidFill>
                  <a:schemeClr val="bg1"/>
                </a:solidFill>
                <a:latin typeface="Source Sans Pro" panose="020B0503030403020204" pitchFamily="34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681202406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C0394485-627E-4003-B989-C441D92B525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4CB151A7-02D8-4994-A58A-491B5935D9A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48F244-30DD-438A-ADD2-DF4984FBCA8F}" type="slidenum">
              <a:rPr lang="fr-FR" smtClean="0"/>
              <a:t>‹#›</a:t>
            </a:fld>
            <a:endParaRPr lang="fr-FR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8D3AE24-85CF-4634-A629-33F4E196D585}"/>
              </a:ext>
            </a:extLst>
          </p:cNvPr>
          <p:cNvSpPr/>
          <p:nvPr userDrawn="1"/>
        </p:nvSpPr>
        <p:spPr>
          <a:xfrm>
            <a:off x="1" y="1"/>
            <a:ext cx="5131274" cy="5143500"/>
          </a:xfrm>
          <a:prstGeom prst="rect">
            <a:avLst/>
          </a:prstGeom>
          <a:solidFill>
            <a:srgbClr val="00727A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200"/>
          </a:p>
        </p:txBody>
      </p:sp>
      <p:grpSp>
        <p:nvGrpSpPr>
          <p:cNvPr id="8" name="Group 2">
            <a:extLst>
              <a:ext uri="{FF2B5EF4-FFF2-40B4-BE49-F238E27FC236}">
                <a16:creationId xmlns:a16="http://schemas.microsoft.com/office/drawing/2014/main" id="{DEAA9CB7-BDCE-483F-8C05-5AEF2532C20A}"/>
              </a:ext>
            </a:extLst>
          </p:cNvPr>
          <p:cNvGrpSpPr/>
          <p:nvPr userDrawn="1"/>
        </p:nvGrpSpPr>
        <p:grpSpPr>
          <a:xfrm>
            <a:off x="0" y="0"/>
            <a:ext cx="1466850" cy="5143500"/>
            <a:chOff x="0" y="0"/>
            <a:chExt cx="3911600" cy="13716000"/>
          </a:xfrm>
        </p:grpSpPr>
        <p:pic>
          <p:nvPicPr>
            <p:cNvPr id="9" name="Picture 3">
              <a:extLst>
                <a:ext uri="{FF2B5EF4-FFF2-40B4-BE49-F238E27FC236}">
                  <a16:creationId xmlns:a16="http://schemas.microsoft.com/office/drawing/2014/main" id="{C85B8C69-7902-4E53-BF50-4D926C33F704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rcRect l="20961" r="20961"/>
            <a:stretch>
              <a:fillRect/>
            </a:stretch>
          </p:blipFill>
          <p:spPr>
            <a:xfrm>
              <a:off x="0" y="0"/>
              <a:ext cx="3911600" cy="4487333"/>
            </a:xfrm>
            <a:prstGeom prst="rect">
              <a:avLst/>
            </a:prstGeom>
          </p:spPr>
        </p:pic>
        <p:pic>
          <p:nvPicPr>
            <p:cNvPr id="10" name="Picture 4">
              <a:extLst>
                <a:ext uri="{FF2B5EF4-FFF2-40B4-BE49-F238E27FC236}">
                  <a16:creationId xmlns:a16="http://schemas.microsoft.com/office/drawing/2014/main" id="{A9D2ED3D-986C-4251-9906-6D905019809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rcRect l="20907" r="20907"/>
            <a:stretch>
              <a:fillRect/>
            </a:stretch>
          </p:blipFill>
          <p:spPr>
            <a:xfrm>
              <a:off x="0" y="4614334"/>
              <a:ext cx="3911600" cy="4487334"/>
            </a:xfrm>
            <a:prstGeom prst="rect">
              <a:avLst/>
            </a:prstGeom>
          </p:spPr>
        </p:pic>
        <p:pic>
          <p:nvPicPr>
            <p:cNvPr id="11" name="Picture 5">
              <a:extLst>
                <a:ext uri="{FF2B5EF4-FFF2-40B4-BE49-F238E27FC236}">
                  <a16:creationId xmlns:a16="http://schemas.microsoft.com/office/drawing/2014/main" id="{7488CC14-84E3-4FE8-A589-90754E753CB1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rcRect l="17311" r="17311"/>
            <a:stretch>
              <a:fillRect/>
            </a:stretch>
          </p:blipFill>
          <p:spPr>
            <a:xfrm>
              <a:off x="0" y="9228667"/>
              <a:ext cx="3911600" cy="4487333"/>
            </a:xfrm>
            <a:prstGeom prst="rect">
              <a:avLst/>
            </a:prstGeom>
          </p:spPr>
        </p:pic>
      </p:grpSp>
      <p:sp>
        <p:nvSpPr>
          <p:cNvPr id="25" name="Titre 24">
            <a:extLst>
              <a:ext uri="{FF2B5EF4-FFF2-40B4-BE49-F238E27FC236}">
                <a16:creationId xmlns:a16="http://schemas.microsoft.com/office/drawing/2014/main" id="{A608C0F8-C163-40CB-B3A6-85A9C36C884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13501" y="1021387"/>
            <a:ext cx="2935170" cy="994172"/>
          </a:xfrm>
        </p:spPr>
        <p:txBody>
          <a:bodyPr>
            <a:normAutofit/>
          </a:bodyPr>
          <a:lstStyle>
            <a:lvl1pPr algn="ctr">
              <a:defRPr sz="6600" b="1">
                <a:solidFill>
                  <a:srgbClr val="00727A"/>
                </a:solidFill>
                <a:latin typeface="Source Sans Pro" panose="020B0503030403020204" pitchFamily="34" charset="0"/>
              </a:defRPr>
            </a:lvl1pPr>
          </a:lstStyle>
          <a:p>
            <a:r>
              <a:rPr lang="fr-FR"/>
              <a:t>ETAPES</a:t>
            </a:r>
          </a:p>
        </p:txBody>
      </p:sp>
      <p:sp>
        <p:nvSpPr>
          <p:cNvPr id="26" name="Espace réservé du contenu 25" descr="Zone de texte&#10;">
            <a:extLst>
              <a:ext uri="{FF2B5EF4-FFF2-40B4-BE49-F238E27FC236}">
                <a16:creationId xmlns:a16="http://schemas.microsoft.com/office/drawing/2014/main" id="{D04DCB50-32BC-4782-B32C-1E223385A8A6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1744253" y="839758"/>
            <a:ext cx="2310020" cy="494641"/>
          </a:xfrm>
        </p:spPr>
        <p:txBody>
          <a:bodyPr anchor="ctr">
            <a:normAutofit/>
          </a:bodyPr>
          <a:lstStyle>
            <a:lvl1pPr marL="0" indent="0" algn="l">
              <a:buNone/>
              <a:defRPr sz="1500">
                <a:solidFill>
                  <a:schemeClr val="bg1"/>
                </a:solidFill>
                <a:latin typeface="Source Sans Pro" panose="020B0503030403020204" pitchFamily="34" charset="0"/>
              </a:defRPr>
            </a:lvl1pPr>
            <a:lvl2pPr>
              <a:defRPr sz="1500">
                <a:solidFill>
                  <a:schemeClr val="bg1"/>
                </a:solidFill>
                <a:latin typeface="Source Sans Pro" panose="020B0503030403020204" pitchFamily="34" charset="0"/>
              </a:defRPr>
            </a:lvl2pPr>
            <a:lvl3pPr>
              <a:defRPr sz="1350">
                <a:solidFill>
                  <a:schemeClr val="bg1"/>
                </a:solidFill>
                <a:latin typeface="Source Sans Pro" panose="020B0503030403020204" pitchFamily="34" charset="0"/>
              </a:defRPr>
            </a:lvl3pPr>
            <a:lvl4pPr>
              <a:defRPr sz="1200">
                <a:solidFill>
                  <a:schemeClr val="bg1"/>
                </a:solidFill>
                <a:latin typeface="Source Sans Pro" panose="020B0503030403020204" pitchFamily="34" charset="0"/>
              </a:defRPr>
            </a:lvl4pPr>
            <a:lvl5pPr>
              <a:defRPr sz="1200">
                <a:solidFill>
                  <a:schemeClr val="bg1"/>
                </a:solidFill>
                <a:latin typeface="Source Sans Pro" panose="020B0503030403020204" pitchFamily="34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7" name="Espace réservé du contenu 25" descr="Zone de texte&#10;">
            <a:extLst>
              <a:ext uri="{FF2B5EF4-FFF2-40B4-BE49-F238E27FC236}">
                <a16:creationId xmlns:a16="http://schemas.microsoft.com/office/drawing/2014/main" id="{5E1EC51F-09FF-4C93-9243-FA89EDCE346C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1744253" y="359832"/>
            <a:ext cx="942876" cy="273844"/>
          </a:xfrm>
        </p:spPr>
        <p:txBody>
          <a:bodyPr anchor="ctr">
            <a:normAutofit/>
          </a:bodyPr>
          <a:lstStyle>
            <a:lvl1pPr marL="0" indent="0" algn="l">
              <a:buNone/>
              <a:defRPr sz="1500" b="1">
                <a:solidFill>
                  <a:schemeClr val="bg1"/>
                </a:solidFill>
                <a:latin typeface="Source Sans Pro" panose="020B0503030403020204" pitchFamily="34" charset="0"/>
              </a:defRPr>
            </a:lvl1pPr>
            <a:lvl2pPr>
              <a:defRPr sz="1500">
                <a:solidFill>
                  <a:schemeClr val="bg1"/>
                </a:solidFill>
                <a:latin typeface="Source Sans Pro" panose="020B0503030403020204" pitchFamily="34" charset="0"/>
              </a:defRPr>
            </a:lvl2pPr>
            <a:lvl3pPr>
              <a:defRPr sz="1350">
                <a:solidFill>
                  <a:schemeClr val="bg1"/>
                </a:solidFill>
                <a:latin typeface="Source Sans Pro" panose="020B0503030403020204" pitchFamily="34" charset="0"/>
              </a:defRPr>
            </a:lvl3pPr>
            <a:lvl4pPr>
              <a:defRPr sz="1200">
                <a:solidFill>
                  <a:schemeClr val="bg1"/>
                </a:solidFill>
                <a:latin typeface="Source Sans Pro" panose="020B0503030403020204" pitchFamily="34" charset="0"/>
              </a:defRPr>
            </a:lvl4pPr>
            <a:lvl5pPr>
              <a:defRPr sz="1200">
                <a:solidFill>
                  <a:schemeClr val="bg1"/>
                </a:solidFill>
                <a:latin typeface="Source Sans Pro" panose="020B0503030403020204" pitchFamily="34" charset="0"/>
              </a:defRPr>
            </a:lvl5pPr>
          </a:lstStyle>
          <a:p>
            <a:pPr lvl="0"/>
            <a:r>
              <a:rPr lang="fr-FR"/>
              <a:t>ETAPE 1</a:t>
            </a:r>
          </a:p>
        </p:txBody>
      </p:sp>
      <p:sp>
        <p:nvSpPr>
          <p:cNvPr id="28" name="Espace réservé du contenu 25" descr="Zone de texte&#10;">
            <a:extLst>
              <a:ext uri="{FF2B5EF4-FFF2-40B4-BE49-F238E27FC236}">
                <a16:creationId xmlns:a16="http://schemas.microsoft.com/office/drawing/2014/main" id="{54C25CA3-A6DC-456E-A8E2-DB4409A98ABC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1744253" y="2530869"/>
            <a:ext cx="2310020" cy="494641"/>
          </a:xfrm>
        </p:spPr>
        <p:txBody>
          <a:bodyPr anchor="ctr">
            <a:normAutofit/>
          </a:bodyPr>
          <a:lstStyle>
            <a:lvl1pPr marL="0" indent="0" algn="l">
              <a:buNone/>
              <a:defRPr sz="1500">
                <a:solidFill>
                  <a:schemeClr val="bg1"/>
                </a:solidFill>
                <a:latin typeface="Source Sans Pro" panose="020B0503030403020204" pitchFamily="34" charset="0"/>
              </a:defRPr>
            </a:lvl1pPr>
            <a:lvl2pPr>
              <a:defRPr sz="1500">
                <a:solidFill>
                  <a:schemeClr val="bg1"/>
                </a:solidFill>
                <a:latin typeface="Source Sans Pro" panose="020B0503030403020204" pitchFamily="34" charset="0"/>
              </a:defRPr>
            </a:lvl2pPr>
            <a:lvl3pPr>
              <a:defRPr sz="1350">
                <a:solidFill>
                  <a:schemeClr val="bg1"/>
                </a:solidFill>
                <a:latin typeface="Source Sans Pro" panose="020B0503030403020204" pitchFamily="34" charset="0"/>
              </a:defRPr>
            </a:lvl3pPr>
            <a:lvl4pPr>
              <a:defRPr sz="1200">
                <a:solidFill>
                  <a:schemeClr val="bg1"/>
                </a:solidFill>
                <a:latin typeface="Source Sans Pro" panose="020B0503030403020204" pitchFamily="34" charset="0"/>
              </a:defRPr>
            </a:lvl4pPr>
            <a:lvl5pPr>
              <a:defRPr sz="1200">
                <a:solidFill>
                  <a:schemeClr val="bg1"/>
                </a:solidFill>
                <a:latin typeface="Source Sans Pro" panose="020B0503030403020204" pitchFamily="34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9" name="Espace réservé du contenu 25" descr="Zone de texte&#10;">
            <a:extLst>
              <a:ext uri="{FF2B5EF4-FFF2-40B4-BE49-F238E27FC236}">
                <a16:creationId xmlns:a16="http://schemas.microsoft.com/office/drawing/2014/main" id="{E45873EA-5A6A-4FE1-88D4-32887FB3270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1744253" y="2050944"/>
            <a:ext cx="942876" cy="273844"/>
          </a:xfrm>
        </p:spPr>
        <p:txBody>
          <a:bodyPr anchor="ctr">
            <a:normAutofit/>
          </a:bodyPr>
          <a:lstStyle>
            <a:lvl1pPr marL="0" indent="0" algn="l">
              <a:buNone/>
              <a:defRPr sz="1500" b="1">
                <a:solidFill>
                  <a:schemeClr val="bg1"/>
                </a:solidFill>
                <a:latin typeface="Source Sans Pro" panose="020B0503030403020204" pitchFamily="34" charset="0"/>
              </a:defRPr>
            </a:lvl1pPr>
            <a:lvl2pPr>
              <a:defRPr sz="1500">
                <a:solidFill>
                  <a:schemeClr val="bg1"/>
                </a:solidFill>
                <a:latin typeface="Source Sans Pro" panose="020B0503030403020204" pitchFamily="34" charset="0"/>
              </a:defRPr>
            </a:lvl2pPr>
            <a:lvl3pPr>
              <a:defRPr sz="1350">
                <a:solidFill>
                  <a:schemeClr val="bg1"/>
                </a:solidFill>
                <a:latin typeface="Source Sans Pro" panose="020B0503030403020204" pitchFamily="34" charset="0"/>
              </a:defRPr>
            </a:lvl3pPr>
            <a:lvl4pPr>
              <a:defRPr sz="1200">
                <a:solidFill>
                  <a:schemeClr val="bg1"/>
                </a:solidFill>
                <a:latin typeface="Source Sans Pro" panose="020B0503030403020204" pitchFamily="34" charset="0"/>
              </a:defRPr>
            </a:lvl4pPr>
            <a:lvl5pPr>
              <a:defRPr sz="1200">
                <a:solidFill>
                  <a:schemeClr val="bg1"/>
                </a:solidFill>
                <a:latin typeface="Source Sans Pro" panose="020B0503030403020204" pitchFamily="34" charset="0"/>
              </a:defRPr>
            </a:lvl5pPr>
          </a:lstStyle>
          <a:p>
            <a:pPr lvl="0"/>
            <a:r>
              <a:rPr lang="fr-FR"/>
              <a:t>ETAPE 2</a:t>
            </a:r>
          </a:p>
        </p:txBody>
      </p:sp>
      <p:sp>
        <p:nvSpPr>
          <p:cNvPr id="30" name="Espace réservé du contenu 25" descr="Zone de texte&#10;">
            <a:extLst>
              <a:ext uri="{FF2B5EF4-FFF2-40B4-BE49-F238E27FC236}">
                <a16:creationId xmlns:a16="http://schemas.microsoft.com/office/drawing/2014/main" id="{24BBADA2-D3B5-400B-9E6B-27E7633FDEEF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1744253" y="4283982"/>
            <a:ext cx="2310020" cy="494641"/>
          </a:xfrm>
        </p:spPr>
        <p:txBody>
          <a:bodyPr anchor="ctr">
            <a:normAutofit/>
          </a:bodyPr>
          <a:lstStyle>
            <a:lvl1pPr marL="0" indent="0" algn="l">
              <a:buNone/>
              <a:defRPr sz="1500">
                <a:solidFill>
                  <a:schemeClr val="bg1"/>
                </a:solidFill>
                <a:latin typeface="Source Sans Pro" panose="020B0503030403020204" pitchFamily="34" charset="0"/>
              </a:defRPr>
            </a:lvl1pPr>
            <a:lvl2pPr>
              <a:defRPr sz="1500">
                <a:solidFill>
                  <a:schemeClr val="bg1"/>
                </a:solidFill>
                <a:latin typeface="Source Sans Pro" panose="020B0503030403020204" pitchFamily="34" charset="0"/>
              </a:defRPr>
            </a:lvl2pPr>
            <a:lvl3pPr>
              <a:defRPr sz="1350">
                <a:solidFill>
                  <a:schemeClr val="bg1"/>
                </a:solidFill>
                <a:latin typeface="Source Sans Pro" panose="020B0503030403020204" pitchFamily="34" charset="0"/>
              </a:defRPr>
            </a:lvl3pPr>
            <a:lvl4pPr>
              <a:defRPr sz="1200">
                <a:solidFill>
                  <a:schemeClr val="bg1"/>
                </a:solidFill>
                <a:latin typeface="Source Sans Pro" panose="020B0503030403020204" pitchFamily="34" charset="0"/>
              </a:defRPr>
            </a:lvl4pPr>
            <a:lvl5pPr>
              <a:defRPr sz="1200">
                <a:solidFill>
                  <a:schemeClr val="bg1"/>
                </a:solidFill>
                <a:latin typeface="Source Sans Pro" panose="020B0503030403020204" pitchFamily="34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31" name="Espace réservé du contenu 25" descr="Zone de texte&#10;">
            <a:extLst>
              <a:ext uri="{FF2B5EF4-FFF2-40B4-BE49-F238E27FC236}">
                <a16:creationId xmlns:a16="http://schemas.microsoft.com/office/drawing/2014/main" id="{1F524664-1DC6-4023-9BD1-BAAFAD7E5896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1744253" y="3804056"/>
            <a:ext cx="942876" cy="273844"/>
          </a:xfrm>
        </p:spPr>
        <p:txBody>
          <a:bodyPr anchor="ctr">
            <a:normAutofit/>
          </a:bodyPr>
          <a:lstStyle>
            <a:lvl1pPr marL="0" indent="0" algn="l">
              <a:buNone/>
              <a:defRPr sz="1500" b="1">
                <a:solidFill>
                  <a:schemeClr val="bg1"/>
                </a:solidFill>
                <a:latin typeface="Source Sans Pro" panose="020B0503030403020204" pitchFamily="34" charset="0"/>
              </a:defRPr>
            </a:lvl1pPr>
            <a:lvl2pPr>
              <a:defRPr sz="1500">
                <a:solidFill>
                  <a:schemeClr val="bg1"/>
                </a:solidFill>
                <a:latin typeface="Source Sans Pro" panose="020B0503030403020204" pitchFamily="34" charset="0"/>
              </a:defRPr>
            </a:lvl2pPr>
            <a:lvl3pPr>
              <a:defRPr sz="1350">
                <a:solidFill>
                  <a:schemeClr val="bg1"/>
                </a:solidFill>
                <a:latin typeface="Source Sans Pro" panose="020B0503030403020204" pitchFamily="34" charset="0"/>
              </a:defRPr>
            </a:lvl3pPr>
            <a:lvl4pPr>
              <a:defRPr sz="1200">
                <a:solidFill>
                  <a:schemeClr val="bg1"/>
                </a:solidFill>
                <a:latin typeface="Source Sans Pro" panose="020B0503030403020204" pitchFamily="34" charset="0"/>
              </a:defRPr>
            </a:lvl4pPr>
            <a:lvl5pPr>
              <a:defRPr sz="1200">
                <a:solidFill>
                  <a:schemeClr val="bg1"/>
                </a:solidFill>
                <a:latin typeface="Source Sans Pro" panose="020B0503030403020204" pitchFamily="34" charset="0"/>
              </a:defRPr>
            </a:lvl5pPr>
          </a:lstStyle>
          <a:p>
            <a:pPr lvl="0"/>
            <a:r>
              <a:rPr lang="fr-FR"/>
              <a:t>ETAPE 3</a:t>
            </a:r>
          </a:p>
        </p:txBody>
      </p:sp>
    </p:spTree>
    <p:extLst>
      <p:ext uri="{BB962C8B-B14F-4D97-AF65-F5344CB8AC3E}">
        <p14:creationId xmlns:p14="http://schemas.microsoft.com/office/powerpoint/2010/main" val="2800061261"/>
      </p:ext>
    </p:extLst>
  </p:cSld>
  <p:clrMapOvr>
    <a:masterClrMapping/>
  </p:clrMapOvr>
</p:sldLayout>
</file>

<file path=ppt/slideLayouts/slideLayout6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C0394485-627E-4003-B989-C441D92B525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4CB151A7-02D8-4994-A58A-491B5935D9A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48F244-30DD-438A-ADD2-DF4984FBCA8F}" type="slidenum">
              <a:rPr lang="fr-FR" smtClean="0"/>
              <a:t>‹#›</a:t>
            </a:fld>
            <a:endParaRPr lang="fr-FR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8D3AE24-85CF-4634-A629-33F4E196D585}"/>
              </a:ext>
            </a:extLst>
          </p:cNvPr>
          <p:cNvSpPr/>
          <p:nvPr userDrawn="1"/>
        </p:nvSpPr>
        <p:spPr>
          <a:xfrm>
            <a:off x="1" y="1"/>
            <a:ext cx="5131274" cy="5143500"/>
          </a:xfrm>
          <a:prstGeom prst="rect">
            <a:avLst/>
          </a:prstGeom>
          <a:solidFill>
            <a:srgbClr val="00727A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200"/>
          </a:p>
        </p:txBody>
      </p:sp>
      <p:grpSp>
        <p:nvGrpSpPr>
          <p:cNvPr id="8" name="Group 2">
            <a:extLst>
              <a:ext uri="{FF2B5EF4-FFF2-40B4-BE49-F238E27FC236}">
                <a16:creationId xmlns:a16="http://schemas.microsoft.com/office/drawing/2014/main" id="{DEAA9CB7-BDCE-483F-8C05-5AEF2532C20A}"/>
              </a:ext>
            </a:extLst>
          </p:cNvPr>
          <p:cNvGrpSpPr/>
          <p:nvPr userDrawn="1"/>
        </p:nvGrpSpPr>
        <p:grpSpPr>
          <a:xfrm>
            <a:off x="0" y="0"/>
            <a:ext cx="1466850" cy="5143500"/>
            <a:chOff x="0" y="0"/>
            <a:chExt cx="3911600" cy="13716000"/>
          </a:xfrm>
        </p:grpSpPr>
        <p:pic>
          <p:nvPicPr>
            <p:cNvPr id="9" name="Picture 3">
              <a:extLst>
                <a:ext uri="{FF2B5EF4-FFF2-40B4-BE49-F238E27FC236}">
                  <a16:creationId xmlns:a16="http://schemas.microsoft.com/office/drawing/2014/main" id="{C85B8C69-7902-4E53-BF50-4D926C33F704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rcRect l="20961" r="20961"/>
            <a:stretch>
              <a:fillRect/>
            </a:stretch>
          </p:blipFill>
          <p:spPr>
            <a:xfrm>
              <a:off x="0" y="0"/>
              <a:ext cx="3911600" cy="4487333"/>
            </a:xfrm>
            <a:prstGeom prst="rect">
              <a:avLst/>
            </a:prstGeom>
          </p:spPr>
        </p:pic>
        <p:pic>
          <p:nvPicPr>
            <p:cNvPr id="10" name="Picture 4">
              <a:extLst>
                <a:ext uri="{FF2B5EF4-FFF2-40B4-BE49-F238E27FC236}">
                  <a16:creationId xmlns:a16="http://schemas.microsoft.com/office/drawing/2014/main" id="{A9D2ED3D-986C-4251-9906-6D905019809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rcRect l="20907" r="20907"/>
            <a:stretch>
              <a:fillRect/>
            </a:stretch>
          </p:blipFill>
          <p:spPr>
            <a:xfrm>
              <a:off x="0" y="4614334"/>
              <a:ext cx="3911600" cy="4487334"/>
            </a:xfrm>
            <a:prstGeom prst="rect">
              <a:avLst/>
            </a:prstGeom>
          </p:spPr>
        </p:pic>
        <p:pic>
          <p:nvPicPr>
            <p:cNvPr id="11" name="Picture 5">
              <a:extLst>
                <a:ext uri="{FF2B5EF4-FFF2-40B4-BE49-F238E27FC236}">
                  <a16:creationId xmlns:a16="http://schemas.microsoft.com/office/drawing/2014/main" id="{7488CC14-84E3-4FE8-A589-90754E753CB1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rcRect l="17311" r="17311"/>
            <a:stretch>
              <a:fillRect/>
            </a:stretch>
          </p:blipFill>
          <p:spPr>
            <a:xfrm>
              <a:off x="0" y="9228667"/>
              <a:ext cx="3911600" cy="4487333"/>
            </a:xfrm>
            <a:prstGeom prst="rect">
              <a:avLst/>
            </a:prstGeom>
          </p:spPr>
        </p:pic>
      </p:grpSp>
      <p:sp>
        <p:nvSpPr>
          <p:cNvPr id="25" name="Titre 24">
            <a:extLst>
              <a:ext uri="{FF2B5EF4-FFF2-40B4-BE49-F238E27FC236}">
                <a16:creationId xmlns:a16="http://schemas.microsoft.com/office/drawing/2014/main" id="{A608C0F8-C163-40CB-B3A6-85A9C36C884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13501" y="1021387"/>
            <a:ext cx="2935170" cy="994172"/>
          </a:xfrm>
        </p:spPr>
        <p:txBody>
          <a:bodyPr>
            <a:normAutofit/>
          </a:bodyPr>
          <a:lstStyle>
            <a:lvl1pPr algn="ctr">
              <a:defRPr sz="6600" b="1">
                <a:solidFill>
                  <a:srgbClr val="00727A"/>
                </a:solidFill>
                <a:latin typeface="Source Sans Pro" panose="020B0503030403020204" pitchFamily="34" charset="0"/>
              </a:defRPr>
            </a:lvl1pPr>
          </a:lstStyle>
          <a:p>
            <a:r>
              <a:rPr lang="fr-FR"/>
              <a:t>ETAPES</a:t>
            </a:r>
          </a:p>
        </p:txBody>
      </p:sp>
      <p:sp>
        <p:nvSpPr>
          <p:cNvPr id="26" name="Espace réservé du contenu 25" descr="Zone de texte&#10;">
            <a:extLst>
              <a:ext uri="{FF2B5EF4-FFF2-40B4-BE49-F238E27FC236}">
                <a16:creationId xmlns:a16="http://schemas.microsoft.com/office/drawing/2014/main" id="{D04DCB50-32BC-4782-B32C-1E223385A8A6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1744253" y="839758"/>
            <a:ext cx="2310020" cy="494641"/>
          </a:xfrm>
        </p:spPr>
        <p:txBody>
          <a:bodyPr anchor="ctr">
            <a:normAutofit/>
          </a:bodyPr>
          <a:lstStyle>
            <a:lvl1pPr marL="0" indent="0" algn="l">
              <a:buNone/>
              <a:defRPr sz="1500">
                <a:solidFill>
                  <a:schemeClr val="bg1"/>
                </a:solidFill>
                <a:latin typeface="Source Sans Pro" panose="020B0503030403020204" pitchFamily="34" charset="0"/>
              </a:defRPr>
            </a:lvl1pPr>
            <a:lvl2pPr>
              <a:defRPr sz="1500">
                <a:solidFill>
                  <a:schemeClr val="bg1"/>
                </a:solidFill>
                <a:latin typeface="Source Sans Pro" panose="020B0503030403020204" pitchFamily="34" charset="0"/>
              </a:defRPr>
            </a:lvl2pPr>
            <a:lvl3pPr>
              <a:defRPr sz="1350">
                <a:solidFill>
                  <a:schemeClr val="bg1"/>
                </a:solidFill>
                <a:latin typeface="Source Sans Pro" panose="020B0503030403020204" pitchFamily="34" charset="0"/>
              </a:defRPr>
            </a:lvl3pPr>
            <a:lvl4pPr>
              <a:defRPr sz="1200">
                <a:solidFill>
                  <a:schemeClr val="bg1"/>
                </a:solidFill>
                <a:latin typeface="Source Sans Pro" panose="020B0503030403020204" pitchFamily="34" charset="0"/>
              </a:defRPr>
            </a:lvl4pPr>
            <a:lvl5pPr>
              <a:defRPr sz="1200">
                <a:solidFill>
                  <a:schemeClr val="bg1"/>
                </a:solidFill>
                <a:latin typeface="Source Sans Pro" panose="020B0503030403020204" pitchFamily="34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7" name="Espace réservé du contenu 25" descr="Zone de texte&#10;">
            <a:extLst>
              <a:ext uri="{FF2B5EF4-FFF2-40B4-BE49-F238E27FC236}">
                <a16:creationId xmlns:a16="http://schemas.microsoft.com/office/drawing/2014/main" id="{5E1EC51F-09FF-4C93-9243-FA89EDCE346C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1744253" y="359832"/>
            <a:ext cx="942876" cy="273844"/>
          </a:xfrm>
        </p:spPr>
        <p:txBody>
          <a:bodyPr anchor="ctr">
            <a:normAutofit/>
          </a:bodyPr>
          <a:lstStyle>
            <a:lvl1pPr marL="0" indent="0" algn="l">
              <a:buNone/>
              <a:defRPr sz="1500" b="1">
                <a:solidFill>
                  <a:schemeClr val="bg1"/>
                </a:solidFill>
                <a:latin typeface="Source Sans Pro" panose="020B0503030403020204" pitchFamily="34" charset="0"/>
              </a:defRPr>
            </a:lvl1pPr>
            <a:lvl2pPr>
              <a:defRPr sz="1500">
                <a:solidFill>
                  <a:schemeClr val="bg1"/>
                </a:solidFill>
                <a:latin typeface="Source Sans Pro" panose="020B0503030403020204" pitchFamily="34" charset="0"/>
              </a:defRPr>
            </a:lvl2pPr>
            <a:lvl3pPr>
              <a:defRPr sz="1350">
                <a:solidFill>
                  <a:schemeClr val="bg1"/>
                </a:solidFill>
                <a:latin typeface="Source Sans Pro" panose="020B0503030403020204" pitchFamily="34" charset="0"/>
              </a:defRPr>
            </a:lvl3pPr>
            <a:lvl4pPr>
              <a:defRPr sz="1200">
                <a:solidFill>
                  <a:schemeClr val="bg1"/>
                </a:solidFill>
                <a:latin typeface="Source Sans Pro" panose="020B0503030403020204" pitchFamily="34" charset="0"/>
              </a:defRPr>
            </a:lvl4pPr>
            <a:lvl5pPr>
              <a:defRPr sz="1200">
                <a:solidFill>
                  <a:schemeClr val="bg1"/>
                </a:solidFill>
                <a:latin typeface="Source Sans Pro" panose="020B0503030403020204" pitchFamily="34" charset="0"/>
              </a:defRPr>
            </a:lvl5pPr>
          </a:lstStyle>
          <a:p>
            <a:pPr lvl="0"/>
            <a:r>
              <a:rPr lang="fr-FR"/>
              <a:t>ETAPE 1</a:t>
            </a:r>
          </a:p>
        </p:txBody>
      </p:sp>
      <p:sp>
        <p:nvSpPr>
          <p:cNvPr id="28" name="Espace réservé du contenu 25" descr="Zone de texte&#10;">
            <a:extLst>
              <a:ext uri="{FF2B5EF4-FFF2-40B4-BE49-F238E27FC236}">
                <a16:creationId xmlns:a16="http://schemas.microsoft.com/office/drawing/2014/main" id="{54C25CA3-A6DC-456E-A8E2-DB4409A98ABC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1744253" y="2530869"/>
            <a:ext cx="2310020" cy="494641"/>
          </a:xfrm>
        </p:spPr>
        <p:txBody>
          <a:bodyPr anchor="ctr">
            <a:normAutofit/>
          </a:bodyPr>
          <a:lstStyle>
            <a:lvl1pPr marL="0" indent="0" algn="l">
              <a:buNone/>
              <a:defRPr sz="1500">
                <a:solidFill>
                  <a:schemeClr val="bg1"/>
                </a:solidFill>
                <a:latin typeface="Source Sans Pro" panose="020B0503030403020204" pitchFamily="34" charset="0"/>
              </a:defRPr>
            </a:lvl1pPr>
            <a:lvl2pPr>
              <a:defRPr sz="1500">
                <a:solidFill>
                  <a:schemeClr val="bg1"/>
                </a:solidFill>
                <a:latin typeface="Source Sans Pro" panose="020B0503030403020204" pitchFamily="34" charset="0"/>
              </a:defRPr>
            </a:lvl2pPr>
            <a:lvl3pPr>
              <a:defRPr sz="1350">
                <a:solidFill>
                  <a:schemeClr val="bg1"/>
                </a:solidFill>
                <a:latin typeface="Source Sans Pro" panose="020B0503030403020204" pitchFamily="34" charset="0"/>
              </a:defRPr>
            </a:lvl3pPr>
            <a:lvl4pPr>
              <a:defRPr sz="1200">
                <a:solidFill>
                  <a:schemeClr val="bg1"/>
                </a:solidFill>
                <a:latin typeface="Source Sans Pro" panose="020B0503030403020204" pitchFamily="34" charset="0"/>
              </a:defRPr>
            </a:lvl4pPr>
            <a:lvl5pPr>
              <a:defRPr sz="1200">
                <a:solidFill>
                  <a:schemeClr val="bg1"/>
                </a:solidFill>
                <a:latin typeface="Source Sans Pro" panose="020B0503030403020204" pitchFamily="34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9" name="Espace réservé du contenu 25" descr="Zone de texte&#10;">
            <a:extLst>
              <a:ext uri="{FF2B5EF4-FFF2-40B4-BE49-F238E27FC236}">
                <a16:creationId xmlns:a16="http://schemas.microsoft.com/office/drawing/2014/main" id="{E45873EA-5A6A-4FE1-88D4-32887FB3270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1744253" y="2050944"/>
            <a:ext cx="942876" cy="273844"/>
          </a:xfrm>
        </p:spPr>
        <p:txBody>
          <a:bodyPr anchor="ctr">
            <a:normAutofit/>
          </a:bodyPr>
          <a:lstStyle>
            <a:lvl1pPr marL="0" indent="0" algn="l">
              <a:buNone/>
              <a:defRPr sz="1500" b="1">
                <a:solidFill>
                  <a:schemeClr val="bg1"/>
                </a:solidFill>
                <a:latin typeface="Source Sans Pro" panose="020B0503030403020204" pitchFamily="34" charset="0"/>
              </a:defRPr>
            </a:lvl1pPr>
            <a:lvl2pPr>
              <a:defRPr sz="1500">
                <a:solidFill>
                  <a:schemeClr val="bg1"/>
                </a:solidFill>
                <a:latin typeface="Source Sans Pro" panose="020B0503030403020204" pitchFamily="34" charset="0"/>
              </a:defRPr>
            </a:lvl2pPr>
            <a:lvl3pPr>
              <a:defRPr sz="1350">
                <a:solidFill>
                  <a:schemeClr val="bg1"/>
                </a:solidFill>
                <a:latin typeface="Source Sans Pro" panose="020B0503030403020204" pitchFamily="34" charset="0"/>
              </a:defRPr>
            </a:lvl3pPr>
            <a:lvl4pPr>
              <a:defRPr sz="1200">
                <a:solidFill>
                  <a:schemeClr val="bg1"/>
                </a:solidFill>
                <a:latin typeface="Source Sans Pro" panose="020B0503030403020204" pitchFamily="34" charset="0"/>
              </a:defRPr>
            </a:lvl4pPr>
            <a:lvl5pPr>
              <a:defRPr sz="1200">
                <a:solidFill>
                  <a:schemeClr val="bg1"/>
                </a:solidFill>
                <a:latin typeface="Source Sans Pro" panose="020B0503030403020204" pitchFamily="34" charset="0"/>
              </a:defRPr>
            </a:lvl5pPr>
          </a:lstStyle>
          <a:p>
            <a:pPr lvl="0"/>
            <a:r>
              <a:rPr lang="fr-FR"/>
              <a:t>ETAPE 2</a:t>
            </a:r>
          </a:p>
        </p:txBody>
      </p:sp>
      <p:sp>
        <p:nvSpPr>
          <p:cNvPr id="30" name="Espace réservé du contenu 25" descr="Zone de texte&#10;">
            <a:extLst>
              <a:ext uri="{FF2B5EF4-FFF2-40B4-BE49-F238E27FC236}">
                <a16:creationId xmlns:a16="http://schemas.microsoft.com/office/drawing/2014/main" id="{24BBADA2-D3B5-400B-9E6B-27E7633FDEEF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1744253" y="4283982"/>
            <a:ext cx="2310020" cy="494641"/>
          </a:xfrm>
        </p:spPr>
        <p:txBody>
          <a:bodyPr anchor="ctr">
            <a:normAutofit/>
          </a:bodyPr>
          <a:lstStyle>
            <a:lvl1pPr marL="0" indent="0" algn="l">
              <a:buNone/>
              <a:defRPr sz="1500">
                <a:solidFill>
                  <a:schemeClr val="bg1"/>
                </a:solidFill>
                <a:latin typeface="Source Sans Pro" panose="020B0503030403020204" pitchFamily="34" charset="0"/>
              </a:defRPr>
            </a:lvl1pPr>
            <a:lvl2pPr>
              <a:defRPr sz="1500">
                <a:solidFill>
                  <a:schemeClr val="bg1"/>
                </a:solidFill>
                <a:latin typeface="Source Sans Pro" panose="020B0503030403020204" pitchFamily="34" charset="0"/>
              </a:defRPr>
            </a:lvl2pPr>
            <a:lvl3pPr>
              <a:defRPr sz="1350">
                <a:solidFill>
                  <a:schemeClr val="bg1"/>
                </a:solidFill>
                <a:latin typeface="Source Sans Pro" panose="020B0503030403020204" pitchFamily="34" charset="0"/>
              </a:defRPr>
            </a:lvl3pPr>
            <a:lvl4pPr>
              <a:defRPr sz="1200">
                <a:solidFill>
                  <a:schemeClr val="bg1"/>
                </a:solidFill>
                <a:latin typeface="Source Sans Pro" panose="020B0503030403020204" pitchFamily="34" charset="0"/>
              </a:defRPr>
            </a:lvl4pPr>
            <a:lvl5pPr>
              <a:defRPr sz="1200">
                <a:solidFill>
                  <a:schemeClr val="bg1"/>
                </a:solidFill>
                <a:latin typeface="Source Sans Pro" panose="020B0503030403020204" pitchFamily="34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31" name="Espace réservé du contenu 25" descr="Zone de texte&#10;">
            <a:extLst>
              <a:ext uri="{FF2B5EF4-FFF2-40B4-BE49-F238E27FC236}">
                <a16:creationId xmlns:a16="http://schemas.microsoft.com/office/drawing/2014/main" id="{1F524664-1DC6-4023-9BD1-BAAFAD7E5896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1744253" y="3804056"/>
            <a:ext cx="942876" cy="273844"/>
          </a:xfrm>
        </p:spPr>
        <p:txBody>
          <a:bodyPr anchor="ctr">
            <a:normAutofit/>
          </a:bodyPr>
          <a:lstStyle>
            <a:lvl1pPr marL="0" indent="0" algn="l">
              <a:buNone/>
              <a:defRPr sz="1500" b="1">
                <a:solidFill>
                  <a:schemeClr val="bg1"/>
                </a:solidFill>
                <a:latin typeface="Source Sans Pro" panose="020B0503030403020204" pitchFamily="34" charset="0"/>
              </a:defRPr>
            </a:lvl1pPr>
            <a:lvl2pPr>
              <a:defRPr sz="1500">
                <a:solidFill>
                  <a:schemeClr val="bg1"/>
                </a:solidFill>
                <a:latin typeface="Source Sans Pro" panose="020B0503030403020204" pitchFamily="34" charset="0"/>
              </a:defRPr>
            </a:lvl2pPr>
            <a:lvl3pPr>
              <a:defRPr sz="1350">
                <a:solidFill>
                  <a:schemeClr val="bg1"/>
                </a:solidFill>
                <a:latin typeface="Source Sans Pro" panose="020B0503030403020204" pitchFamily="34" charset="0"/>
              </a:defRPr>
            </a:lvl3pPr>
            <a:lvl4pPr>
              <a:defRPr sz="1200">
                <a:solidFill>
                  <a:schemeClr val="bg1"/>
                </a:solidFill>
                <a:latin typeface="Source Sans Pro" panose="020B0503030403020204" pitchFamily="34" charset="0"/>
              </a:defRPr>
            </a:lvl4pPr>
            <a:lvl5pPr>
              <a:defRPr sz="1200">
                <a:solidFill>
                  <a:schemeClr val="bg1"/>
                </a:solidFill>
                <a:latin typeface="Source Sans Pro" panose="020B0503030403020204" pitchFamily="34" charset="0"/>
              </a:defRPr>
            </a:lvl5pPr>
          </a:lstStyle>
          <a:p>
            <a:pPr lvl="0"/>
            <a:r>
              <a:rPr lang="fr-FR"/>
              <a:t>ETAPE 3</a:t>
            </a:r>
          </a:p>
        </p:txBody>
      </p:sp>
    </p:spTree>
    <p:extLst>
      <p:ext uri="{BB962C8B-B14F-4D97-AF65-F5344CB8AC3E}">
        <p14:creationId xmlns:p14="http://schemas.microsoft.com/office/powerpoint/2010/main" val="2800061261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B2CD1758-5D58-4F8A-802D-82FE77967E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48F244-30DD-438A-ADD2-DF4984FBCA8F}" type="slidenum">
              <a:rPr lang="fr-FR" smtClean="0"/>
              <a:t>‹#›</a:t>
            </a:fld>
            <a:endParaRPr lang="fr-FR"/>
          </a:p>
        </p:txBody>
      </p:sp>
      <p:grpSp>
        <p:nvGrpSpPr>
          <p:cNvPr id="6" name="Group 8">
            <a:extLst>
              <a:ext uri="{FF2B5EF4-FFF2-40B4-BE49-F238E27FC236}">
                <a16:creationId xmlns:a16="http://schemas.microsoft.com/office/drawing/2014/main" id="{6BF4A889-96DE-44D3-A583-8A001A4B6E71}"/>
              </a:ext>
            </a:extLst>
          </p:cNvPr>
          <p:cNvGrpSpPr/>
          <p:nvPr userDrawn="1"/>
        </p:nvGrpSpPr>
        <p:grpSpPr>
          <a:xfrm>
            <a:off x="8287787" y="-41942"/>
            <a:ext cx="1644282" cy="1644282"/>
            <a:chOff x="0" y="0"/>
            <a:chExt cx="6350000" cy="6350000"/>
          </a:xfrm>
          <a:solidFill>
            <a:srgbClr val="F57A30"/>
          </a:solidFill>
        </p:grpSpPr>
        <p:sp>
          <p:nvSpPr>
            <p:cNvPr id="7" name="Freeform 9">
              <a:extLst>
                <a:ext uri="{FF2B5EF4-FFF2-40B4-BE49-F238E27FC236}">
                  <a16:creationId xmlns:a16="http://schemas.microsoft.com/office/drawing/2014/main" id="{59FC4D68-625A-43F2-AA19-CCA3CAFDC611}"/>
                </a:ext>
              </a:extLst>
            </p:cNvPr>
            <p:cNvSpPr/>
            <p:nvPr/>
          </p:nvSpPr>
          <p:spPr>
            <a:xfrm>
              <a:off x="14167" y="0"/>
              <a:ext cx="6321665" cy="6350000"/>
            </a:xfrm>
            <a:custGeom>
              <a:avLst/>
              <a:gdLst/>
              <a:ahLst/>
              <a:cxnLst/>
              <a:rect l="l" t="t" r="r" b="b"/>
              <a:pathLst>
                <a:path w="6321665" h="6350000">
                  <a:moveTo>
                    <a:pt x="3160833" y="0"/>
                  </a:moveTo>
                  <a:lnTo>
                    <a:pt x="3160833" y="0"/>
                  </a:lnTo>
                  <a:cubicBezTo>
                    <a:pt x="4908795" y="7817"/>
                    <a:pt x="6321666" y="1427021"/>
                    <a:pt x="6321666" y="3175000"/>
                  </a:cubicBezTo>
                  <a:cubicBezTo>
                    <a:pt x="6321666" y="4922979"/>
                    <a:pt x="4908795" y="6342183"/>
                    <a:pt x="3160833" y="6350000"/>
                  </a:cubicBezTo>
                  <a:cubicBezTo>
                    <a:pt x="1412871" y="6342183"/>
                    <a:pt x="0" y="4922979"/>
                    <a:pt x="0" y="3175000"/>
                  </a:cubicBezTo>
                  <a:cubicBezTo>
                    <a:pt x="0" y="1427021"/>
                    <a:pt x="1412871" y="7817"/>
                    <a:pt x="3160833" y="0"/>
                  </a:cubicBezTo>
                  <a:close/>
                </a:path>
              </a:pathLst>
            </a:custGeom>
            <a:grpFill/>
          </p:spPr>
        </p:sp>
      </p:grpSp>
      <p:sp>
        <p:nvSpPr>
          <p:cNvPr id="8" name="AutoShape 3">
            <a:extLst>
              <a:ext uri="{FF2B5EF4-FFF2-40B4-BE49-F238E27FC236}">
                <a16:creationId xmlns:a16="http://schemas.microsoft.com/office/drawing/2014/main" id="{6C9906CA-4C9C-464D-B87D-F52FC750B48F}"/>
              </a:ext>
            </a:extLst>
          </p:cNvPr>
          <p:cNvSpPr/>
          <p:nvPr userDrawn="1"/>
        </p:nvSpPr>
        <p:spPr>
          <a:xfrm>
            <a:off x="904885" y="1261434"/>
            <a:ext cx="3488414" cy="1371367"/>
          </a:xfrm>
          <a:prstGeom prst="rect">
            <a:avLst/>
          </a:prstGeom>
          <a:solidFill>
            <a:srgbClr val="00727A"/>
          </a:solidFill>
        </p:spPr>
      </p:sp>
      <p:sp>
        <p:nvSpPr>
          <p:cNvPr id="9" name="AutoShape 7">
            <a:extLst>
              <a:ext uri="{FF2B5EF4-FFF2-40B4-BE49-F238E27FC236}">
                <a16:creationId xmlns:a16="http://schemas.microsoft.com/office/drawing/2014/main" id="{550989CE-3C87-40D9-BB0A-047CA489C617}"/>
              </a:ext>
            </a:extLst>
          </p:cNvPr>
          <p:cNvSpPr/>
          <p:nvPr userDrawn="1"/>
        </p:nvSpPr>
        <p:spPr>
          <a:xfrm>
            <a:off x="1460130" y="1418174"/>
            <a:ext cx="38243" cy="1057883"/>
          </a:xfrm>
          <a:prstGeom prst="rect">
            <a:avLst/>
          </a:prstGeom>
          <a:solidFill>
            <a:srgbClr val="F2FAFF"/>
          </a:solidFill>
        </p:spPr>
      </p:sp>
      <p:grpSp>
        <p:nvGrpSpPr>
          <p:cNvPr id="10" name="Group 10">
            <a:extLst>
              <a:ext uri="{FF2B5EF4-FFF2-40B4-BE49-F238E27FC236}">
                <a16:creationId xmlns:a16="http://schemas.microsoft.com/office/drawing/2014/main" id="{2E221CFE-A1DD-4588-B3C9-C4E7618B55BA}"/>
              </a:ext>
            </a:extLst>
          </p:cNvPr>
          <p:cNvGrpSpPr/>
          <p:nvPr userDrawn="1"/>
        </p:nvGrpSpPr>
        <p:grpSpPr>
          <a:xfrm>
            <a:off x="1101980" y="1849713"/>
            <a:ext cx="194807" cy="194807"/>
            <a:chOff x="0" y="0"/>
            <a:chExt cx="6350000" cy="6350000"/>
          </a:xfrm>
        </p:grpSpPr>
        <p:sp>
          <p:nvSpPr>
            <p:cNvPr id="11" name="Freeform 11">
              <a:extLst>
                <a:ext uri="{FF2B5EF4-FFF2-40B4-BE49-F238E27FC236}">
                  <a16:creationId xmlns:a16="http://schemas.microsoft.com/office/drawing/2014/main" id="{1FEF14D7-ABB1-4082-B9CB-68DF7686BBCB}"/>
                </a:ext>
              </a:extLst>
            </p:cNvPr>
            <p:cNvSpPr/>
            <p:nvPr/>
          </p:nvSpPr>
          <p:spPr>
            <a:xfrm>
              <a:off x="14167" y="0"/>
              <a:ext cx="6321665" cy="6350000"/>
            </a:xfrm>
            <a:custGeom>
              <a:avLst/>
              <a:gdLst/>
              <a:ahLst/>
              <a:cxnLst/>
              <a:rect l="l" t="t" r="r" b="b"/>
              <a:pathLst>
                <a:path w="6321665" h="6350000">
                  <a:moveTo>
                    <a:pt x="3160833" y="0"/>
                  </a:moveTo>
                  <a:lnTo>
                    <a:pt x="3160833" y="0"/>
                  </a:lnTo>
                  <a:cubicBezTo>
                    <a:pt x="4908795" y="7817"/>
                    <a:pt x="6321666" y="1427021"/>
                    <a:pt x="6321666" y="3175000"/>
                  </a:cubicBezTo>
                  <a:cubicBezTo>
                    <a:pt x="6321666" y="4922979"/>
                    <a:pt x="4908795" y="6342183"/>
                    <a:pt x="3160833" y="6350000"/>
                  </a:cubicBezTo>
                  <a:cubicBezTo>
                    <a:pt x="1412871" y="6342183"/>
                    <a:pt x="0" y="4922979"/>
                    <a:pt x="0" y="3175000"/>
                  </a:cubicBezTo>
                  <a:cubicBezTo>
                    <a:pt x="0" y="1427021"/>
                    <a:pt x="1412871" y="7817"/>
                    <a:pt x="3160833" y="0"/>
                  </a:cubicBezTo>
                  <a:close/>
                </a:path>
              </a:pathLst>
            </a:custGeom>
            <a:solidFill>
              <a:srgbClr val="F2FAFF"/>
            </a:solidFill>
          </p:spPr>
        </p:sp>
      </p:grpSp>
      <p:sp>
        <p:nvSpPr>
          <p:cNvPr id="12" name="AutoShape 12">
            <a:extLst>
              <a:ext uri="{FF2B5EF4-FFF2-40B4-BE49-F238E27FC236}">
                <a16:creationId xmlns:a16="http://schemas.microsoft.com/office/drawing/2014/main" id="{4C5D400B-2996-4819-AD8D-FA8CBDF99531}"/>
              </a:ext>
            </a:extLst>
          </p:cNvPr>
          <p:cNvSpPr/>
          <p:nvPr userDrawn="1"/>
        </p:nvSpPr>
        <p:spPr>
          <a:xfrm>
            <a:off x="4750701" y="1261434"/>
            <a:ext cx="3488414" cy="1371367"/>
          </a:xfrm>
          <a:prstGeom prst="rect">
            <a:avLst/>
          </a:prstGeom>
          <a:solidFill>
            <a:srgbClr val="00727A"/>
          </a:solidFill>
        </p:spPr>
      </p:sp>
      <p:sp>
        <p:nvSpPr>
          <p:cNvPr id="13" name="AutoShape 16">
            <a:extLst>
              <a:ext uri="{FF2B5EF4-FFF2-40B4-BE49-F238E27FC236}">
                <a16:creationId xmlns:a16="http://schemas.microsoft.com/office/drawing/2014/main" id="{AB203ACC-4991-442C-987B-4E8319B5DE14}"/>
              </a:ext>
            </a:extLst>
          </p:cNvPr>
          <p:cNvSpPr/>
          <p:nvPr userDrawn="1"/>
        </p:nvSpPr>
        <p:spPr>
          <a:xfrm>
            <a:off x="5305945" y="1418174"/>
            <a:ext cx="38243" cy="1057883"/>
          </a:xfrm>
          <a:prstGeom prst="rect">
            <a:avLst/>
          </a:prstGeom>
          <a:solidFill>
            <a:srgbClr val="F2FAFF"/>
          </a:solidFill>
        </p:spPr>
      </p:sp>
      <p:sp>
        <p:nvSpPr>
          <p:cNvPr id="14" name="AutoShape 17">
            <a:extLst>
              <a:ext uri="{FF2B5EF4-FFF2-40B4-BE49-F238E27FC236}">
                <a16:creationId xmlns:a16="http://schemas.microsoft.com/office/drawing/2014/main" id="{72EB1A40-DB92-4745-934D-558158B8BC29}"/>
              </a:ext>
            </a:extLst>
          </p:cNvPr>
          <p:cNvSpPr/>
          <p:nvPr userDrawn="1"/>
        </p:nvSpPr>
        <p:spPr>
          <a:xfrm>
            <a:off x="904885" y="2990202"/>
            <a:ext cx="3488414" cy="1371367"/>
          </a:xfrm>
          <a:prstGeom prst="rect">
            <a:avLst/>
          </a:prstGeom>
          <a:solidFill>
            <a:srgbClr val="00727A"/>
          </a:solidFill>
        </p:spPr>
      </p:sp>
      <p:grpSp>
        <p:nvGrpSpPr>
          <p:cNvPr id="15" name="Group 18">
            <a:extLst>
              <a:ext uri="{FF2B5EF4-FFF2-40B4-BE49-F238E27FC236}">
                <a16:creationId xmlns:a16="http://schemas.microsoft.com/office/drawing/2014/main" id="{B18C432E-772B-4873-9F07-7B768652E901}"/>
              </a:ext>
            </a:extLst>
          </p:cNvPr>
          <p:cNvGrpSpPr/>
          <p:nvPr userDrawn="1"/>
        </p:nvGrpSpPr>
        <p:grpSpPr>
          <a:xfrm>
            <a:off x="1101980" y="3595752"/>
            <a:ext cx="194807" cy="194807"/>
            <a:chOff x="0" y="0"/>
            <a:chExt cx="6350000" cy="6350000"/>
          </a:xfrm>
        </p:grpSpPr>
        <p:sp>
          <p:nvSpPr>
            <p:cNvPr id="16" name="Freeform 19">
              <a:extLst>
                <a:ext uri="{FF2B5EF4-FFF2-40B4-BE49-F238E27FC236}">
                  <a16:creationId xmlns:a16="http://schemas.microsoft.com/office/drawing/2014/main" id="{19093C14-C626-4168-B6A4-5BC00B7993CF}"/>
                </a:ext>
              </a:extLst>
            </p:cNvPr>
            <p:cNvSpPr/>
            <p:nvPr/>
          </p:nvSpPr>
          <p:spPr>
            <a:xfrm>
              <a:off x="14167" y="0"/>
              <a:ext cx="6321665" cy="6350000"/>
            </a:xfrm>
            <a:custGeom>
              <a:avLst/>
              <a:gdLst/>
              <a:ahLst/>
              <a:cxnLst/>
              <a:rect l="l" t="t" r="r" b="b"/>
              <a:pathLst>
                <a:path w="6321665" h="6350000">
                  <a:moveTo>
                    <a:pt x="3160833" y="0"/>
                  </a:moveTo>
                  <a:lnTo>
                    <a:pt x="3160833" y="0"/>
                  </a:lnTo>
                  <a:cubicBezTo>
                    <a:pt x="4908795" y="7817"/>
                    <a:pt x="6321666" y="1427021"/>
                    <a:pt x="6321666" y="3175000"/>
                  </a:cubicBezTo>
                  <a:cubicBezTo>
                    <a:pt x="6321666" y="4922979"/>
                    <a:pt x="4908795" y="6342183"/>
                    <a:pt x="3160833" y="6350000"/>
                  </a:cubicBezTo>
                  <a:cubicBezTo>
                    <a:pt x="1412871" y="6342183"/>
                    <a:pt x="0" y="4922979"/>
                    <a:pt x="0" y="3175000"/>
                  </a:cubicBezTo>
                  <a:cubicBezTo>
                    <a:pt x="0" y="1427021"/>
                    <a:pt x="1412871" y="7817"/>
                    <a:pt x="3160833" y="0"/>
                  </a:cubicBezTo>
                  <a:close/>
                </a:path>
              </a:pathLst>
            </a:custGeom>
            <a:solidFill>
              <a:srgbClr val="F2FAFF"/>
            </a:solidFill>
          </p:spPr>
        </p:sp>
      </p:grpSp>
      <p:sp>
        <p:nvSpPr>
          <p:cNvPr id="17" name="AutoShape 23">
            <a:extLst>
              <a:ext uri="{FF2B5EF4-FFF2-40B4-BE49-F238E27FC236}">
                <a16:creationId xmlns:a16="http://schemas.microsoft.com/office/drawing/2014/main" id="{D32B3CDD-5B33-4F8A-BF57-07450286CA9E}"/>
              </a:ext>
            </a:extLst>
          </p:cNvPr>
          <p:cNvSpPr/>
          <p:nvPr userDrawn="1"/>
        </p:nvSpPr>
        <p:spPr>
          <a:xfrm>
            <a:off x="1460130" y="3146944"/>
            <a:ext cx="38243" cy="1057883"/>
          </a:xfrm>
          <a:prstGeom prst="rect">
            <a:avLst/>
          </a:prstGeom>
          <a:solidFill>
            <a:srgbClr val="F2FAFF"/>
          </a:solidFill>
        </p:spPr>
      </p:sp>
      <p:sp>
        <p:nvSpPr>
          <p:cNvPr id="18" name="AutoShape 24">
            <a:extLst>
              <a:ext uri="{FF2B5EF4-FFF2-40B4-BE49-F238E27FC236}">
                <a16:creationId xmlns:a16="http://schemas.microsoft.com/office/drawing/2014/main" id="{725E9F73-8384-4AC6-B45E-EFA242546B1C}"/>
              </a:ext>
            </a:extLst>
          </p:cNvPr>
          <p:cNvSpPr/>
          <p:nvPr userDrawn="1"/>
        </p:nvSpPr>
        <p:spPr>
          <a:xfrm>
            <a:off x="4750701" y="2990202"/>
            <a:ext cx="3488414" cy="1371367"/>
          </a:xfrm>
          <a:prstGeom prst="rect">
            <a:avLst/>
          </a:prstGeom>
          <a:solidFill>
            <a:srgbClr val="00727A"/>
          </a:solidFill>
        </p:spPr>
      </p:sp>
      <p:sp>
        <p:nvSpPr>
          <p:cNvPr id="19" name="AutoShape 28">
            <a:extLst>
              <a:ext uri="{FF2B5EF4-FFF2-40B4-BE49-F238E27FC236}">
                <a16:creationId xmlns:a16="http://schemas.microsoft.com/office/drawing/2014/main" id="{9124E3DD-33E2-4269-86E9-AAAEB20E1082}"/>
              </a:ext>
            </a:extLst>
          </p:cNvPr>
          <p:cNvSpPr/>
          <p:nvPr userDrawn="1"/>
        </p:nvSpPr>
        <p:spPr>
          <a:xfrm>
            <a:off x="5305945" y="3146944"/>
            <a:ext cx="38243" cy="1057883"/>
          </a:xfrm>
          <a:prstGeom prst="rect">
            <a:avLst/>
          </a:prstGeom>
          <a:solidFill>
            <a:srgbClr val="F2FAFF"/>
          </a:solidFill>
        </p:spPr>
      </p:sp>
      <p:grpSp>
        <p:nvGrpSpPr>
          <p:cNvPr id="20" name="Group 29">
            <a:extLst>
              <a:ext uri="{FF2B5EF4-FFF2-40B4-BE49-F238E27FC236}">
                <a16:creationId xmlns:a16="http://schemas.microsoft.com/office/drawing/2014/main" id="{63369F71-67EF-4DE1-B3C9-B925A17C91E7}"/>
              </a:ext>
            </a:extLst>
          </p:cNvPr>
          <p:cNvGrpSpPr/>
          <p:nvPr userDrawn="1"/>
        </p:nvGrpSpPr>
        <p:grpSpPr>
          <a:xfrm>
            <a:off x="4947796" y="1849713"/>
            <a:ext cx="194807" cy="194807"/>
            <a:chOff x="0" y="0"/>
            <a:chExt cx="6350000" cy="6350000"/>
          </a:xfrm>
        </p:grpSpPr>
        <p:sp>
          <p:nvSpPr>
            <p:cNvPr id="21" name="Freeform 30">
              <a:extLst>
                <a:ext uri="{FF2B5EF4-FFF2-40B4-BE49-F238E27FC236}">
                  <a16:creationId xmlns:a16="http://schemas.microsoft.com/office/drawing/2014/main" id="{DE30F4F1-E666-4A59-A32D-ACF082EEE30B}"/>
                </a:ext>
              </a:extLst>
            </p:cNvPr>
            <p:cNvSpPr/>
            <p:nvPr/>
          </p:nvSpPr>
          <p:spPr>
            <a:xfrm>
              <a:off x="14167" y="0"/>
              <a:ext cx="6321665" cy="6350000"/>
            </a:xfrm>
            <a:custGeom>
              <a:avLst/>
              <a:gdLst/>
              <a:ahLst/>
              <a:cxnLst/>
              <a:rect l="l" t="t" r="r" b="b"/>
              <a:pathLst>
                <a:path w="6321665" h="6350000">
                  <a:moveTo>
                    <a:pt x="3160833" y="0"/>
                  </a:moveTo>
                  <a:lnTo>
                    <a:pt x="3160833" y="0"/>
                  </a:lnTo>
                  <a:cubicBezTo>
                    <a:pt x="4908795" y="7817"/>
                    <a:pt x="6321666" y="1427021"/>
                    <a:pt x="6321666" y="3175000"/>
                  </a:cubicBezTo>
                  <a:cubicBezTo>
                    <a:pt x="6321666" y="4922979"/>
                    <a:pt x="4908795" y="6342183"/>
                    <a:pt x="3160833" y="6350000"/>
                  </a:cubicBezTo>
                  <a:cubicBezTo>
                    <a:pt x="1412871" y="6342183"/>
                    <a:pt x="0" y="4922979"/>
                    <a:pt x="0" y="3175000"/>
                  </a:cubicBezTo>
                  <a:cubicBezTo>
                    <a:pt x="0" y="1427021"/>
                    <a:pt x="1412871" y="7817"/>
                    <a:pt x="3160833" y="0"/>
                  </a:cubicBezTo>
                  <a:close/>
                </a:path>
              </a:pathLst>
            </a:custGeom>
            <a:solidFill>
              <a:srgbClr val="F2FAFF"/>
            </a:solidFill>
          </p:spPr>
        </p:sp>
      </p:grpSp>
      <p:grpSp>
        <p:nvGrpSpPr>
          <p:cNvPr id="22" name="Group 31">
            <a:extLst>
              <a:ext uri="{FF2B5EF4-FFF2-40B4-BE49-F238E27FC236}">
                <a16:creationId xmlns:a16="http://schemas.microsoft.com/office/drawing/2014/main" id="{12E441B3-E864-4E6C-B0B8-D61F36E5E02D}"/>
              </a:ext>
            </a:extLst>
          </p:cNvPr>
          <p:cNvGrpSpPr/>
          <p:nvPr userDrawn="1"/>
        </p:nvGrpSpPr>
        <p:grpSpPr>
          <a:xfrm>
            <a:off x="4947796" y="3595752"/>
            <a:ext cx="194807" cy="194807"/>
            <a:chOff x="0" y="0"/>
            <a:chExt cx="6350000" cy="6350000"/>
          </a:xfrm>
        </p:grpSpPr>
        <p:sp>
          <p:nvSpPr>
            <p:cNvPr id="23" name="Freeform 32">
              <a:extLst>
                <a:ext uri="{FF2B5EF4-FFF2-40B4-BE49-F238E27FC236}">
                  <a16:creationId xmlns:a16="http://schemas.microsoft.com/office/drawing/2014/main" id="{E0551656-0296-444A-9A19-31C676F8CA0F}"/>
                </a:ext>
              </a:extLst>
            </p:cNvPr>
            <p:cNvSpPr/>
            <p:nvPr/>
          </p:nvSpPr>
          <p:spPr>
            <a:xfrm>
              <a:off x="14167" y="0"/>
              <a:ext cx="6321665" cy="6350000"/>
            </a:xfrm>
            <a:custGeom>
              <a:avLst/>
              <a:gdLst/>
              <a:ahLst/>
              <a:cxnLst/>
              <a:rect l="l" t="t" r="r" b="b"/>
              <a:pathLst>
                <a:path w="6321665" h="6350000">
                  <a:moveTo>
                    <a:pt x="3160833" y="0"/>
                  </a:moveTo>
                  <a:lnTo>
                    <a:pt x="3160833" y="0"/>
                  </a:lnTo>
                  <a:cubicBezTo>
                    <a:pt x="4908795" y="7817"/>
                    <a:pt x="6321666" y="1427021"/>
                    <a:pt x="6321666" y="3175000"/>
                  </a:cubicBezTo>
                  <a:cubicBezTo>
                    <a:pt x="6321666" y="4922979"/>
                    <a:pt x="4908795" y="6342183"/>
                    <a:pt x="3160833" y="6350000"/>
                  </a:cubicBezTo>
                  <a:cubicBezTo>
                    <a:pt x="1412871" y="6342183"/>
                    <a:pt x="0" y="4922979"/>
                    <a:pt x="0" y="3175000"/>
                  </a:cubicBezTo>
                  <a:cubicBezTo>
                    <a:pt x="0" y="1427021"/>
                    <a:pt x="1412871" y="7817"/>
                    <a:pt x="3160833" y="0"/>
                  </a:cubicBezTo>
                  <a:close/>
                </a:path>
              </a:pathLst>
            </a:custGeom>
            <a:solidFill>
              <a:srgbClr val="F2FAFF"/>
            </a:solidFill>
          </p:spPr>
        </p:sp>
      </p:grpSp>
      <p:grpSp>
        <p:nvGrpSpPr>
          <p:cNvPr id="24" name="Group 33">
            <a:extLst>
              <a:ext uri="{FF2B5EF4-FFF2-40B4-BE49-F238E27FC236}">
                <a16:creationId xmlns:a16="http://schemas.microsoft.com/office/drawing/2014/main" id="{9FF64A6E-2F0E-483D-B875-57BEF44EE62A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-2559306" y="1632208"/>
            <a:ext cx="3300413" cy="3300413"/>
            <a:chOff x="-2540" y="-2540"/>
            <a:chExt cx="6355080" cy="6355080"/>
          </a:xfrm>
          <a:solidFill>
            <a:srgbClr val="D6ECE9"/>
          </a:solidFill>
        </p:grpSpPr>
        <p:sp>
          <p:nvSpPr>
            <p:cNvPr id="25" name="Freeform 34">
              <a:extLst>
                <a:ext uri="{FF2B5EF4-FFF2-40B4-BE49-F238E27FC236}">
                  <a16:creationId xmlns:a16="http://schemas.microsoft.com/office/drawing/2014/main" id="{61AB618B-F07F-40CE-A486-1DC52F1ADA42}"/>
                </a:ext>
              </a:extLst>
            </p:cNvPr>
            <p:cNvSpPr/>
            <p:nvPr/>
          </p:nvSpPr>
          <p:spPr>
            <a:xfrm>
              <a:off x="-2540" y="-2540"/>
              <a:ext cx="6355080" cy="6355080"/>
            </a:xfrm>
            <a:custGeom>
              <a:avLst/>
              <a:gdLst/>
              <a:ahLst/>
              <a:cxnLst/>
              <a:rect l="l" t="t" r="r" b="b"/>
              <a:pathLst>
                <a:path w="6355080" h="6355080">
                  <a:moveTo>
                    <a:pt x="3177540" y="6355080"/>
                  </a:moveTo>
                  <a:cubicBezTo>
                    <a:pt x="2329180" y="6355080"/>
                    <a:pt x="1530350" y="6024880"/>
                    <a:pt x="930910" y="5424170"/>
                  </a:cubicBezTo>
                  <a:cubicBezTo>
                    <a:pt x="330200" y="4824730"/>
                    <a:pt x="0" y="4025900"/>
                    <a:pt x="0" y="3177540"/>
                  </a:cubicBezTo>
                  <a:cubicBezTo>
                    <a:pt x="0" y="2329180"/>
                    <a:pt x="330200" y="1530350"/>
                    <a:pt x="930910" y="930910"/>
                  </a:cubicBezTo>
                  <a:cubicBezTo>
                    <a:pt x="1530350" y="330200"/>
                    <a:pt x="2329180" y="0"/>
                    <a:pt x="3177540" y="0"/>
                  </a:cubicBezTo>
                  <a:cubicBezTo>
                    <a:pt x="4025900" y="0"/>
                    <a:pt x="4824730" y="330200"/>
                    <a:pt x="5424170" y="930910"/>
                  </a:cubicBezTo>
                  <a:cubicBezTo>
                    <a:pt x="6024880" y="1531620"/>
                    <a:pt x="6355080" y="2329180"/>
                    <a:pt x="6355080" y="3177540"/>
                  </a:cubicBezTo>
                  <a:cubicBezTo>
                    <a:pt x="6355080" y="4025900"/>
                    <a:pt x="6024880" y="4824730"/>
                    <a:pt x="5424170" y="5424170"/>
                  </a:cubicBezTo>
                  <a:cubicBezTo>
                    <a:pt x="4824730" y="6024880"/>
                    <a:pt x="4025900" y="6355080"/>
                    <a:pt x="3177540" y="6355080"/>
                  </a:cubicBezTo>
                  <a:close/>
                  <a:moveTo>
                    <a:pt x="3177540" y="190500"/>
                  </a:moveTo>
                  <a:cubicBezTo>
                    <a:pt x="2379980" y="190500"/>
                    <a:pt x="1629410" y="501650"/>
                    <a:pt x="1065530" y="1065530"/>
                  </a:cubicBezTo>
                  <a:cubicBezTo>
                    <a:pt x="501650" y="1629410"/>
                    <a:pt x="190500" y="2379980"/>
                    <a:pt x="190500" y="3177540"/>
                  </a:cubicBezTo>
                  <a:cubicBezTo>
                    <a:pt x="190500" y="3975100"/>
                    <a:pt x="501650" y="4725670"/>
                    <a:pt x="1065530" y="5289550"/>
                  </a:cubicBezTo>
                  <a:cubicBezTo>
                    <a:pt x="1629410" y="5853430"/>
                    <a:pt x="2379980" y="6164580"/>
                    <a:pt x="3177540" y="6164580"/>
                  </a:cubicBezTo>
                  <a:cubicBezTo>
                    <a:pt x="3975100" y="6164580"/>
                    <a:pt x="4725670" y="5853430"/>
                    <a:pt x="5289550" y="5289550"/>
                  </a:cubicBezTo>
                  <a:cubicBezTo>
                    <a:pt x="5853430" y="4725670"/>
                    <a:pt x="6164580" y="3975100"/>
                    <a:pt x="6164580" y="3177540"/>
                  </a:cubicBezTo>
                  <a:cubicBezTo>
                    <a:pt x="6164580" y="2379980"/>
                    <a:pt x="5853430" y="1629410"/>
                    <a:pt x="5289550" y="1065530"/>
                  </a:cubicBezTo>
                  <a:cubicBezTo>
                    <a:pt x="4725670" y="501650"/>
                    <a:pt x="3975100" y="190500"/>
                    <a:pt x="3177540" y="190500"/>
                  </a:cubicBezTo>
                  <a:close/>
                </a:path>
              </a:pathLst>
            </a:custGeom>
            <a:grpFill/>
          </p:spPr>
        </p:sp>
      </p:grpSp>
      <p:sp>
        <p:nvSpPr>
          <p:cNvPr id="28" name="Titre 24">
            <a:extLst>
              <a:ext uri="{FF2B5EF4-FFF2-40B4-BE49-F238E27FC236}">
                <a16:creationId xmlns:a16="http://schemas.microsoft.com/office/drawing/2014/main" id="{9E44BC14-9478-41C4-BB71-97F77126340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5460" y="313723"/>
            <a:ext cx="4070509" cy="539891"/>
          </a:xfrm>
        </p:spPr>
        <p:txBody>
          <a:bodyPr>
            <a:normAutofit/>
          </a:bodyPr>
          <a:lstStyle>
            <a:lvl1pPr>
              <a:defRPr sz="2100"/>
            </a:lvl1pPr>
          </a:lstStyle>
          <a:p>
            <a:r>
              <a:rPr lang="fr-FR" sz="2400">
                <a:solidFill>
                  <a:srgbClr val="F57A30"/>
                </a:solidFill>
                <a:latin typeface="Source Sans Pro Black" panose="020B0803030403020204" pitchFamily="34" charset="0"/>
              </a:rPr>
              <a:t>Titre</a:t>
            </a:r>
          </a:p>
        </p:txBody>
      </p:sp>
      <p:sp>
        <p:nvSpPr>
          <p:cNvPr id="26" name="Espace réservé du contenu 25" descr="Zone de texte&#10;">
            <a:extLst>
              <a:ext uri="{FF2B5EF4-FFF2-40B4-BE49-F238E27FC236}">
                <a16:creationId xmlns:a16="http://schemas.microsoft.com/office/drawing/2014/main" id="{B4398D8D-276D-42C4-B851-4BD3B22B03A4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1568531" y="1602340"/>
            <a:ext cx="2754610" cy="606752"/>
          </a:xfrm>
        </p:spPr>
        <p:txBody>
          <a:bodyPr anchor="ctr">
            <a:noAutofit/>
          </a:bodyPr>
          <a:lstStyle>
            <a:lvl1pPr marL="0" indent="0" algn="ctr">
              <a:buNone/>
              <a:defRPr sz="1800">
                <a:solidFill>
                  <a:schemeClr val="bg1"/>
                </a:solidFill>
                <a:latin typeface="Source Sans Pro" panose="020B0503030403020204" pitchFamily="34" charset="0"/>
              </a:defRPr>
            </a:lvl1pPr>
            <a:lvl2pPr>
              <a:defRPr sz="1500">
                <a:solidFill>
                  <a:schemeClr val="bg1"/>
                </a:solidFill>
                <a:latin typeface="Source Sans Pro" panose="020B0503030403020204" pitchFamily="34" charset="0"/>
              </a:defRPr>
            </a:lvl2pPr>
            <a:lvl3pPr>
              <a:defRPr sz="1350">
                <a:solidFill>
                  <a:schemeClr val="bg1"/>
                </a:solidFill>
                <a:latin typeface="Source Sans Pro" panose="020B0503030403020204" pitchFamily="34" charset="0"/>
              </a:defRPr>
            </a:lvl3pPr>
            <a:lvl4pPr>
              <a:defRPr sz="1200">
                <a:solidFill>
                  <a:schemeClr val="bg1"/>
                </a:solidFill>
                <a:latin typeface="Source Sans Pro" panose="020B0503030403020204" pitchFamily="34" charset="0"/>
              </a:defRPr>
            </a:lvl4pPr>
            <a:lvl5pPr>
              <a:defRPr sz="1200">
                <a:solidFill>
                  <a:schemeClr val="bg1"/>
                </a:solidFill>
                <a:latin typeface="Source Sans Pro" panose="020B0503030403020204" pitchFamily="34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7" name="Espace réservé du contenu 25" descr="Zone de texte&#10;">
            <a:extLst>
              <a:ext uri="{FF2B5EF4-FFF2-40B4-BE49-F238E27FC236}">
                <a16:creationId xmlns:a16="http://schemas.microsoft.com/office/drawing/2014/main" id="{2A10554B-17C1-4A67-AB73-8E46853248DD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5382276" y="1602340"/>
            <a:ext cx="2754610" cy="606752"/>
          </a:xfrm>
        </p:spPr>
        <p:txBody>
          <a:bodyPr anchor="ctr">
            <a:noAutofit/>
          </a:bodyPr>
          <a:lstStyle>
            <a:lvl1pPr marL="0" indent="0" algn="ctr">
              <a:buNone/>
              <a:defRPr sz="1800">
                <a:solidFill>
                  <a:schemeClr val="bg1"/>
                </a:solidFill>
                <a:latin typeface="Source Sans Pro" panose="020B0503030403020204" pitchFamily="34" charset="0"/>
              </a:defRPr>
            </a:lvl1pPr>
            <a:lvl2pPr>
              <a:defRPr sz="1500">
                <a:solidFill>
                  <a:schemeClr val="bg1"/>
                </a:solidFill>
                <a:latin typeface="Source Sans Pro" panose="020B0503030403020204" pitchFamily="34" charset="0"/>
              </a:defRPr>
            </a:lvl2pPr>
            <a:lvl3pPr>
              <a:defRPr sz="1350">
                <a:solidFill>
                  <a:schemeClr val="bg1"/>
                </a:solidFill>
                <a:latin typeface="Source Sans Pro" panose="020B0503030403020204" pitchFamily="34" charset="0"/>
              </a:defRPr>
            </a:lvl3pPr>
            <a:lvl4pPr>
              <a:defRPr sz="1200">
                <a:solidFill>
                  <a:schemeClr val="bg1"/>
                </a:solidFill>
                <a:latin typeface="Source Sans Pro" panose="020B0503030403020204" pitchFamily="34" charset="0"/>
              </a:defRPr>
            </a:lvl4pPr>
            <a:lvl5pPr>
              <a:defRPr sz="1200">
                <a:solidFill>
                  <a:schemeClr val="bg1"/>
                </a:solidFill>
                <a:latin typeface="Source Sans Pro" panose="020B0503030403020204" pitchFamily="34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9" name="Espace réservé du contenu 25" descr="Zone de texte&#10;">
            <a:extLst>
              <a:ext uri="{FF2B5EF4-FFF2-40B4-BE49-F238E27FC236}">
                <a16:creationId xmlns:a16="http://schemas.microsoft.com/office/drawing/2014/main" id="{0A7F1F19-43F7-4094-837E-496EBD80692A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551209" y="3389779"/>
            <a:ext cx="2754610" cy="606752"/>
          </a:xfrm>
        </p:spPr>
        <p:txBody>
          <a:bodyPr anchor="ctr">
            <a:noAutofit/>
          </a:bodyPr>
          <a:lstStyle>
            <a:lvl1pPr marL="0" indent="0" algn="ctr">
              <a:buNone/>
              <a:defRPr sz="1800">
                <a:solidFill>
                  <a:schemeClr val="bg1"/>
                </a:solidFill>
                <a:latin typeface="Source Sans Pro" panose="020B0503030403020204" pitchFamily="34" charset="0"/>
              </a:defRPr>
            </a:lvl1pPr>
            <a:lvl2pPr>
              <a:defRPr sz="1500">
                <a:solidFill>
                  <a:schemeClr val="bg1"/>
                </a:solidFill>
                <a:latin typeface="Source Sans Pro" panose="020B0503030403020204" pitchFamily="34" charset="0"/>
              </a:defRPr>
            </a:lvl2pPr>
            <a:lvl3pPr>
              <a:defRPr sz="1350">
                <a:solidFill>
                  <a:schemeClr val="bg1"/>
                </a:solidFill>
                <a:latin typeface="Source Sans Pro" panose="020B0503030403020204" pitchFamily="34" charset="0"/>
              </a:defRPr>
            </a:lvl3pPr>
            <a:lvl4pPr>
              <a:defRPr sz="1200">
                <a:solidFill>
                  <a:schemeClr val="bg1"/>
                </a:solidFill>
                <a:latin typeface="Source Sans Pro" panose="020B0503030403020204" pitchFamily="34" charset="0"/>
              </a:defRPr>
            </a:lvl4pPr>
            <a:lvl5pPr>
              <a:defRPr sz="1200">
                <a:solidFill>
                  <a:schemeClr val="bg1"/>
                </a:solidFill>
                <a:latin typeface="Source Sans Pro" panose="020B0503030403020204" pitchFamily="34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30" name="Espace réservé du contenu 25" descr="Zone de texte&#10;">
            <a:extLst>
              <a:ext uri="{FF2B5EF4-FFF2-40B4-BE49-F238E27FC236}">
                <a16:creationId xmlns:a16="http://schemas.microsoft.com/office/drawing/2014/main" id="{65678C30-D548-4D65-B446-A0D1F24EC387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414346" y="3372508"/>
            <a:ext cx="2754610" cy="606752"/>
          </a:xfrm>
        </p:spPr>
        <p:txBody>
          <a:bodyPr anchor="ctr">
            <a:noAutofit/>
          </a:bodyPr>
          <a:lstStyle>
            <a:lvl1pPr marL="0" indent="0" algn="ctr">
              <a:buNone/>
              <a:defRPr sz="1800">
                <a:solidFill>
                  <a:schemeClr val="bg1"/>
                </a:solidFill>
                <a:latin typeface="Source Sans Pro" panose="020B0503030403020204" pitchFamily="34" charset="0"/>
              </a:defRPr>
            </a:lvl1pPr>
            <a:lvl2pPr>
              <a:defRPr sz="1500">
                <a:solidFill>
                  <a:schemeClr val="bg1"/>
                </a:solidFill>
                <a:latin typeface="Source Sans Pro" panose="020B0503030403020204" pitchFamily="34" charset="0"/>
              </a:defRPr>
            </a:lvl2pPr>
            <a:lvl3pPr>
              <a:defRPr sz="1350">
                <a:solidFill>
                  <a:schemeClr val="bg1"/>
                </a:solidFill>
                <a:latin typeface="Source Sans Pro" panose="020B0503030403020204" pitchFamily="34" charset="0"/>
              </a:defRPr>
            </a:lvl3pPr>
            <a:lvl4pPr>
              <a:defRPr sz="1200">
                <a:solidFill>
                  <a:schemeClr val="bg1"/>
                </a:solidFill>
                <a:latin typeface="Source Sans Pro" panose="020B0503030403020204" pitchFamily="34" charset="0"/>
              </a:defRPr>
            </a:lvl4pPr>
            <a:lvl5pPr>
              <a:defRPr sz="1200">
                <a:solidFill>
                  <a:schemeClr val="bg1"/>
                </a:solidFill>
                <a:latin typeface="Source Sans Pro" panose="020B0503030403020204" pitchFamily="34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1019707847"/>
      </p:ext>
    </p:extLst>
  </p:cSld>
  <p:clrMapOvr>
    <a:masterClrMapping/>
  </p:clrMapOvr>
</p:sldLayout>
</file>

<file path=ppt/slideLayouts/slideLayout6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B2CD1758-5D58-4F8A-802D-82FE77967E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48F244-30DD-438A-ADD2-DF4984FBCA8F}" type="slidenum">
              <a:rPr lang="fr-FR" smtClean="0"/>
              <a:t>‹#›</a:t>
            </a:fld>
            <a:endParaRPr lang="fr-FR"/>
          </a:p>
        </p:txBody>
      </p:sp>
      <p:grpSp>
        <p:nvGrpSpPr>
          <p:cNvPr id="6" name="Group 8">
            <a:extLst>
              <a:ext uri="{FF2B5EF4-FFF2-40B4-BE49-F238E27FC236}">
                <a16:creationId xmlns:a16="http://schemas.microsoft.com/office/drawing/2014/main" id="{6BF4A889-96DE-44D3-A583-8A001A4B6E71}"/>
              </a:ext>
            </a:extLst>
          </p:cNvPr>
          <p:cNvGrpSpPr/>
          <p:nvPr userDrawn="1"/>
        </p:nvGrpSpPr>
        <p:grpSpPr>
          <a:xfrm>
            <a:off x="8287787" y="-41942"/>
            <a:ext cx="1644282" cy="1644282"/>
            <a:chOff x="0" y="0"/>
            <a:chExt cx="6350000" cy="6350000"/>
          </a:xfrm>
          <a:solidFill>
            <a:srgbClr val="F57A30"/>
          </a:solidFill>
        </p:grpSpPr>
        <p:sp>
          <p:nvSpPr>
            <p:cNvPr id="7" name="Freeform 9">
              <a:extLst>
                <a:ext uri="{FF2B5EF4-FFF2-40B4-BE49-F238E27FC236}">
                  <a16:creationId xmlns:a16="http://schemas.microsoft.com/office/drawing/2014/main" id="{59FC4D68-625A-43F2-AA19-CCA3CAFDC611}"/>
                </a:ext>
              </a:extLst>
            </p:cNvPr>
            <p:cNvSpPr/>
            <p:nvPr/>
          </p:nvSpPr>
          <p:spPr>
            <a:xfrm>
              <a:off x="14167" y="0"/>
              <a:ext cx="6321665" cy="6350000"/>
            </a:xfrm>
            <a:custGeom>
              <a:avLst/>
              <a:gdLst/>
              <a:ahLst/>
              <a:cxnLst/>
              <a:rect l="l" t="t" r="r" b="b"/>
              <a:pathLst>
                <a:path w="6321665" h="6350000">
                  <a:moveTo>
                    <a:pt x="3160833" y="0"/>
                  </a:moveTo>
                  <a:lnTo>
                    <a:pt x="3160833" y="0"/>
                  </a:lnTo>
                  <a:cubicBezTo>
                    <a:pt x="4908795" y="7817"/>
                    <a:pt x="6321666" y="1427021"/>
                    <a:pt x="6321666" y="3175000"/>
                  </a:cubicBezTo>
                  <a:cubicBezTo>
                    <a:pt x="6321666" y="4922979"/>
                    <a:pt x="4908795" y="6342183"/>
                    <a:pt x="3160833" y="6350000"/>
                  </a:cubicBezTo>
                  <a:cubicBezTo>
                    <a:pt x="1412871" y="6342183"/>
                    <a:pt x="0" y="4922979"/>
                    <a:pt x="0" y="3175000"/>
                  </a:cubicBezTo>
                  <a:cubicBezTo>
                    <a:pt x="0" y="1427021"/>
                    <a:pt x="1412871" y="7817"/>
                    <a:pt x="3160833" y="0"/>
                  </a:cubicBezTo>
                  <a:close/>
                </a:path>
              </a:pathLst>
            </a:custGeom>
            <a:grpFill/>
          </p:spPr>
        </p:sp>
      </p:grpSp>
      <p:sp>
        <p:nvSpPr>
          <p:cNvPr id="8" name="AutoShape 3">
            <a:extLst>
              <a:ext uri="{FF2B5EF4-FFF2-40B4-BE49-F238E27FC236}">
                <a16:creationId xmlns:a16="http://schemas.microsoft.com/office/drawing/2014/main" id="{6C9906CA-4C9C-464D-B87D-F52FC750B48F}"/>
              </a:ext>
            </a:extLst>
          </p:cNvPr>
          <p:cNvSpPr/>
          <p:nvPr userDrawn="1"/>
        </p:nvSpPr>
        <p:spPr>
          <a:xfrm>
            <a:off x="904885" y="1261434"/>
            <a:ext cx="3488414" cy="1371367"/>
          </a:xfrm>
          <a:prstGeom prst="rect">
            <a:avLst/>
          </a:prstGeom>
          <a:solidFill>
            <a:srgbClr val="00727A"/>
          </a:solidFill>
        </p:spPr>
      </p:sp>
      <p:sp>
        <p:nvSpPr>
          <p:cNvPr id="9" name="AutoShape 7">
            <a:extLst>
              <a:ext uri="{FF2B5EF4-FFF2-40B4-BE49-F238E27FC236}">
                <a16:creationId xmlns:a16="http://schemas.microsoft.com/office/drawing/2014/main" id="{550989CE-3C87-40D9-BB0A-047CA489C617}"/>
              </a:ext>
            </a:extLst>
          </p:cNvPr>
          <p:cNvSpPr/>
          <p:nvPr userDrawn="1"/>
        </p:nvSpPr>
        <p:spPr>
          <a:xfrm>
            <a:off x="1460130" y="1418174"/>
            <a:ext cx="38243" cy="1057883"/>
          </a:xfrm>
          <a:prstGeom prst="rect">
            <a:avLst/>
          </a:prstGeom>
          <a:solidFill>
            <a:srgbClr val="F2FAFF"/>
          </a:solidFill>
        </p:spPr>
      </p:sp>
      <p:grpSp>
        <p:nvGrpSpPr>
          <p:cNvPr id="10" name="Group 10">
            <a:extLst>
              <a:ext uri="{FF2B5EF4-FFF2-40B4-BE49-F238E27FC236}">
                <a16:creationId xmlns:a16="http://schemas.microsoft.com/office/drawing/2014/main" id="{2E221CFE-A1DD-4588-B3C9-C4E7618B55BA}"/>
              </a:ext>
            </a:extLst>
          </p:cNvPr>
          <p:cNvGrpSpPr/>
          <p:nvPr userDrawn="1"/>
        </p:nvGrpSpPr>
        <p:grpSpPr>
          <a:xfrm>
            <a:off x="1101980" y="1849713"/>
            <a:ext cx="194807" cy="194807"/>
            <a:chOff x="0" y="0"/>
            <a:chExt cx="6350000" cy="6350000"/>
          </a:xfrm>
        </p:grpSpPr>
        <p:sp>
          <p:nvSpPr>
            <p:cNvPr id="11" name="Freeform 11">
              <a:extLst>
                <a:ext uri="{FF2B5EF4-FFF2-40B4-BE49-F238E27FC236}">
                  <a16:creationId xmlns:a16="http://schemas.microsoft.com/office/drawing/2014/main" id="{1FEF14D7-ABB1-4082-B9CB-68DF7686BBCB}"/>
                </a:ext>
              </a:extLst>
            </p:cNvPr>
            <p:cNvSpPr/>
            <p:nvPr/>
          </p:nvSpPr>
          <p:spPr>
            <a:xfrm>
              <a:off x="14167" y="0"/>
              <a:ext cx="6321665" cy="6350000"/>
            </a:xfrm>
            <a:custGeom>
              <a:avLst/>
              <a:gdLst/>
              <a:ahLst/>
              <a:cxnLst/>
              <a:rect l="l" t="t" r="r" b="b"/>
              <a:pathLst>
                <a:path w="6321665" h="6350000">
                  <a:moveTo>
                    <a:pt x="3160833" y="0"/>
                  </a:moveTo>
                  <a:lnTo>
                    <a:pt x="3160833" y="0"/>
                  </a:lnTo>
                  <a:cubicBezTo>
                    <a:pt x="4908795" y="7817"/>
                    <a:pt x="6321666" y="1427021"/>
                    <a:pt x="6321666" y="3175000"/>
                  </a:cubicBezTo>
                  <a:cubicBezTo>
                    <a:pt x="6321666" y="4922979"/>
                    <a:pt x="4908795" y="6342183"/>
                    <a:pt x="3160833" y="6350000"/>
                  </a:cubicBezTo>
                  <a:cubicBezTo>
                    <a:pt x="1412871" y="6342183"/>
                    <a:pt x="0" y="4922979"/>
                    <a:pt x="0" y="3175000"/>
                  </a:cubicBezTo>
                  <a:cubicBezTo>
                    <a:pt x="0" y="1427021"/>
                    <a:pt x="1412871" y="7817"/>
                    <a:pt x="3160833" y="0"/>
                  </a:cubicBezTo>
                  <a:close/>
                </a:path>
              </a:pathLst>
            </a:custGeom>
            <a:solidFill>
              <a:srgbClr val="F2FAFF"/>
            </a:solidFill>
          </p:spPr>
        </p:sp>
      </p:grpSp>
      <p:sp>
        <p:nvSpPr>
          <p:cNvPr id="12" name="AutoShape 12">
            <a:extLst>
              <a:ext uri="{FF2B5EF4-FFF2-40B4-BE49-F238E27FC236}">
                <a16:creationId xmlns:a16="http://schemas.microsoft.com/office/drawing/2014/main" id="{4C5D400B-2996-4819-AD8D-FA8CBDF99531}"/>
              </a:ext>
            </a:extLst>
          </p:cNvPr>
          <p:cNvSpPr/>
          <p:nvPr userDrawn="1"/>
        </p:nvSpPr>
        <p:spPr>
          <a:xfrm>
            <a:off x="4750701" y="1261434"/>
            <a:ext cx="3488414" cy="1371367"/>
          </a:xfrm>
          <a:prstGeom prst="rect">
            <a:avLst/>
          </a:prstGeom>
          <a:solidFill>
            <a:srgbClr val="00727A"/>
          </a:solidFill>
        </p:spPr>
      </p:sp>
      <p:sp>
        <p:nvSpPr>
          <p:cNvPr id="13" name="AutoShape 16">
            <a:extLst>
              <a:ext uri="{FF2B5EF4-FFF2-40B4-BE49-F238E27FC236}">
                <a16:creationId xmlns:a16="http://schemas.microsoft.com/office/drawing/2014/main" id="{AB203ACC-4991-442C-987B-4E8319B5DE14}"/>
              </a:ext>
            </a:extLst>
          </p:cNvPr>
          <p:cNvSpPr/>
          <p:nvPr userDrawn="1"/>
        </p:nvSpPr>
        <p:spPr>
          <a:xfrm>
            <a:off x="5305945" y="1418174"/>
            <a:ext cx="38243" cy="1057883"/>
          </a:xfrm>
          <a:prstGeom prst="rect">
            <a:avLst/>
          </a:prstGeom>
          <a:solidFill>
            <a:srgbClr val="F2FAFF"/>
          </a:solidFill>
        </p:spPr>
      </p:sp>
      <p:sp>
        <p:nvSpPr>
          <p:cNvPr id="14" name="AutoShape 17">
            <a:extLst>
              <a:ext uri="{FF2B5EF4-FFF2-40B4-BE49-F238E27FC236}">
                <a16:creationId xmlns:a16="http://schemas.microsoft.com/office/drawing/2014/main" id="{72EB1A40-DB92-4745-934D-558158B8BC29}"/>
              </a:ext>
            </a:extLst>
          </p:cNvPr>
          <p:cNvSpPr/>
          <p:nvPr userDrawn="1"/>
        </p:nvSpPr>
        <p:spPr>
          <a:xfrm>
            <a:off x="904885" y="2990202"/>
            <a:ext cx="3488414" cy="1371367"/>
          </a:xfrm>
          <a:prstGeom prst="rect">
            <a:avLst/>
          </a:prstGeom>
          <a:solidFill>
            <a:srgbClr val="00727A"/>
          </a:solidFill>
        </p:spPr>
      </p:sp>
      <p:grpSp>
        <p:nvGrpSpPr>
          <p:cNvPr id="15" name="Group 18">
            <a:extLst>
              <a:ext uri="{FF2B5EF4-FFF2-40B4-BE49-F238E27FC236}">
                <a16:creationId xmlns:a16="http://schemas.microsoft.com/office/drawing/2014/main" id="{B18C432E-772B-4873-9F07-7B768652E901}"/>
              </a:ext>
            </a:extLst>
          </p:cNvPr>
          <p:cNvGrpSpPr/>
          <p:nvPr userDrawn="1"/>
        </p:nvGrpSpPr>
        <p:grpSpPr>
          <a:xfrm>
            <a:off x="1101980" y="3595752"/>
            <a:ext cx="194807" cy="194807"/>
            <a:chOff x="0" y="0"/>
            <a:chExt cx="6350000" cy="6350000"/>
          </a:xfrm>
        </p:grpSpPr>
        <p:sp>
          <p:nvSpPr>
            <p:cNvPr id="16" name="Freeform 19">
              <a:extLst>
                <a:ext uri="{FF2B5EF4-FFF2-40B4-BE49-F238E27FC236}">
                  <a16:creationId xmlns:a16="http://schemas.microsoft.com/office/drawing/2014/main" id="{19093C14-C626-4168-B6A4-5BC00B7993CF}"/>
                </a:ext>
              </a:extLst>
            </p:cNvPr>
            <p:cNvSpPr/>
            <p:nvPr/>
          </p:nvSpPr>
          <p:spPr>
            <a:xfrm>
              <a:off x="14167" y="0"/>
              <a:ext cx="6321665" cy="6350000"/>
            </a:xfrm>
            <a:custGeom>
              <a:avLst/>
              <a:gdLst/>
              <a:ahLst/>
              <a:cxnLst/>
              <a:rect l="l" t="t" r="r" b="b"/>
              <a:pathLst>
                <a:path w="6321665" h="6350000">
                  <a:moveTo>
                    <a:pt x="3160833" y="0"/>
                  </a:moveTo>
                  <a:lnTo>
                    <a:pt x="3160833" y="0"/>
                  </a:lnTo>
                  <a:cubicBezTo>
                    <a:pt x="4908795" y="7817"/>
                    <a:pt x="6321666" y="1427021"/>
                    <a:pt x="6321666" y="3175000"/>
                  </a:cubicBezTo>
                  <a:cubicBezTo>
                    <a:pt x="6321666" y="4922979"/>
                    <a:pt x="4908795" y="6342183"/>
                    <a:pt x="3160833" y="6350000"/>
                  </a:cubicBezTo>
                  <a:cubicBezTo>
                    <a:pt x="1412871" y="6342183"/>
                    <a:pt x="0" y="4922979"/>
                    <a:pt x="0" y="3175000"/>
                  </a:cubicBezTo>
                  <a:cubicBezTo>
                    <a:pt x="0" y="1427021"/>
                    <a:pt x="1412871" y="7817"/>
                    <a:pt x="3160833" y="0"/>
                  </a:cubicBezTo>
                  <a:close/>
                </a:path>
              </a:pathLst>
            </a:custGeom>
            <a:solidFill>
              <a:srgbClr val="F2FAFF"/>
            </a:solidFill>
          </p:spPr>
        </p:sp>
      </p:grpSp>
      <p:sp>
        <p:nvSpPr>
          <p:cNvPr id="17" name="AutoShape 23">
            <a:extLst>
              <a:ext uri="{FF2B5EF4-FFF2-40B4-BE49-F238E27FC236}">
                <a16:creationId xmlns:a16="http://schemas.microsoft.com/office/drawing/2014/main" id="{D32B3CDD-5B33-4F8A-BF57-07450286CA9E}"/>
              </a:ext>
            </a:extLst>
          </p:cNvPr>
          <p:cNvSpPr/>
          <p:nvPr userDrawn="1"/>
        </p:nvSpPr>
        <p:spPr>
          <a:xfrm>
            <a:off x="1460130" y="3146944"/>
            <a:ext cx="38243" cy="1057883"/>
          </a:xfrm>
          <a:prstGeom prst="rect">
            <a:avLst/>
          </a:prstGeom>
          <a:solidFill>
            <a:srgbClr val="F2FAFF"/>
          </a:solidFill>
        </p:spPr>
      </p:sp>
      <p:sp>
        <p:nvSpPr>
          <p:cNvPr id="18" name="AutoShape 24">
            <a:extLst>
              <a:ext uri="{FF2B5EF4-FFF2-40B4-BE49-F238E27FC236}">
                <a16:creationId xmlns:a16="http://schemas.microsoft.com/office/drawing/2014/main" id="{725E9F73-8384-4AC6-B45E-EFA242546B1C}"/>
              </a:ext>
            </a:extLst>
          </p:cNvPr>
          <p:cNvSpPr/>
          <p:nvPr userDrawn="1"/>
        </p:nvSpPr>
        <p:spPr>
          <a:xfrm>
            <a:off x="4750701" y="2990202"/>
            <a:ext cx="3488414" cy="1371367"/>
          </a:xfrm>
          <a:prstGeom prst="rect">
            <a:avLst/>
          </a:prstGeom>
          <a:solidFill>
            <a:srgbClr val="00727A"/>
          </a:solidFill>
        </p:spPr>
      </p:sp>
      <p:sp>
        <p:nvSpPr>
          <p:cNvPr id="19" name="AutoShape 28">
            <a:extLst>
              <a:ext uri="{FF2B5EF4-FFF2-40B4-BE49-F238E27FC236}">
                <a16:creationId xmlns:a16="http://schemas.microsoft.com/office/drawing/2014/main" id="{9124E3DD-33E2-4269-86E9-AAAEB20E1082}"/>
              </a:ext>
            </a:extLst>
          </p:cNvPr>
          <p:cNvSpPr/>
          <p:nvPr userDrawn="1"/>
        </p:nvSpPr>
        <p:spPr>
          <a:xfrm>
            <a:off x="5305945" y="3146944"/>
            <a:ext cx="38243" cy="1057883"/>
          </a:xfrm>
          <a:prstGeom prst="rect">
            <a:avLst/>
          </a:prstGeom>
          <a:solidFill>
            <a:srgbClr val="F2FAFF"/>
          </a:solidFill>
        </p:spPr>
      </p:sp>
      <p:grpSp>
        <p:nvGrpSpPr>
          <p:cNvPr id="20" name="Group 29">
            <a:extLst>
              <a:ext uri="{FF2B5EF4-FFF2-40B4-BE49-F238E27FC236}">
                <a16:creationId xmlns:a16="http://schemas.microsoft.com/office/drawing/2014/main" id="{63369F71-67EF-4DE1-B3C9-B925A17C91E7}"/>
              </a:ext>
            </a:extLst>
          </p:cNvPr>
          <p:cNvGrpSpPr/>
          <p:nvPr userDrawn="1"/>
        </p:nvGrpSpPr>
        <p:grpSpPr>
          <a:xfrm>
            <a:off x="4947796" y="1849713"/>
            <a:ext cx="194807" cy="194807"/>
            <a:chOff x="0" y="0"/>
            <a:chExt cx="6350000" cy="6350000"/>
          </a:xfrm>
        </p:grpSpPr>
        <p:sp>
          <p:nvSpPr>
            <p:cNvPr id="21" name="Freeform 30">
              <a:extLst>
                <a:ext uri="{FF2B5EF4-FFF2-40B4-BE49-F238E27FC236}">
                  <a16:creationId xmlns:a16="http://schemas.microsoft.com/office/drawing/2014/main" id="{DE30F4F1-E666-4A59-A32D-ACF082EEE30B}"/>
                </a:ext>
              </a:extLst>
            </p:cNvPr>
            <p:cNvSpPr/>
            <p:nvPr/>
          </p:nvSpPr>
          <p:spPr>
            <a:xfrm>
              <a:off x="14167" y="0"/>
              <a:ext cx="6321665" cy="6350000"/>
            </a:xfrm>
            <a:custGeom>
              <a:avLst/>
              <a:gdLst/>
              <a:ahLst/>
              <a:cxnLst/>
              <a:rect l="l" t="t" r="r" b="b"/>
              <a:pathLst>
                <a:path w="6321665" h="6350000">
                  <a:moveTo>
                    <a:pt x="3160833" y="0"/>
                  </a:moveTo>
                  <a:lnTo>
                    <a:pt x="3160833" y="0"/>
                  </a:lnTo>
                  <a:cubicBezTo>
                    <a:pt x="4908795" y="7817"/>
                    <a:pt x="6321666" y="1427021"/>
                    <a:pt x="6321666" y="3175000"/>
                  </a:cubicBezTo>
                  <a:cubicBezTo>
                    <a:pt x="6321666" y="4922979"/>
                    <a:pt x="4908795" y="6342183"/>
                    <a:pt x="3160833" y="6350000"/>
                  </a:cubicBezTo>
                  <a:cubicBezTo>
                    <a:pt x="1412871" y="6342183"/>
                    <a:pt x="0" y="4922979"/>
                    <a:pt x="0" y="3175000"/>
                  </a:cubicBezTo>
                  <a:cubicBezTo>
                    <a:pt x="0" y="1427021"/>
                    <a:pt x="1412871" y="7817"/>
                    <a:pt x="3160833" y="0"/>
                  </a:cubicBezTo>
                  <a:close/>
                </a:path>
              </a:pathLst>
            </a:custGeom>
            <a:solidFill>
              <a:srgbClr val="F2FAFF"/>
            </a:solidFill>
          </p:spPr>
        </p:sp>
      </p:grpSp>
      <p:grpSp>
        <p:nvGrpSpPr>
          <p:cNvPr id="22" name="Group 31">
            <a:extLst>
              <a:ext uri="{FF2B5EF4-FFF2-40B4-BE49-F238E27FC236}">
                <a16:creationId xmlns:a16="http://schemas.microsoft.com/office/drawing/2014/main" id="{12E441B3-E864-4E6C-B0B8-D61F36E5E02D}"/>
              </a:ext>
            </a:extLst>
          </p:cNvPr>
          <p:cNvGrpSpPr/>
          <p:nvPr userDrawn="1"/>
        </p:nvGrpSpPr>
        <p:grpSpPr>
          <a:xfrm>
            <a:off x="4947796" y="3595752"/>
            <a:ext cx="194807" cy="194807"/>
            <a:chOff x="0" y="0"/>
            <a:chExt cx="6350000" cy="6350000"/>
          </a:xfrm>
        </p:grpSpPr>
        <p:sp>
          <p:nvSpPr>
            <p:cNvPr id="23" name="Freeform 32">
              <a:extLst>
                <a:ext uri="{FF2B5EF4-FFF2-40B4-BE49-F238E27FC236}">
                  <a16:creationId xmlns:a16="http://schemas.microsoft.com/office/drawing/2014/main" id="{E0551656-0296-444A-9A19-31C676F8CA0F}"/>
                </a:ext>
              </a:extLst>
            </p:cNvPr>
            <p:cNvSpPr/>
            <p:nvPr/>
          </p:nvSpPr>
          <p:spPr>
            <a:xfrm>
              <a:off x="14167" y="0"/>
              <a:ext cx="6321665" cy="6350000"/>
            </a:xfrm>
            <a:custGeom>
              <a:avLst/>
              <a:gdLst/>
              <a:ahLst/>
              <a:cxnLst/>
              <a:rect l="l" t="t" r="r" b="b"/>
              <a:pathLst>
                <a:path w="6321665" h="6350000">
                  <a:moveTo>
                    <a:pt x="3160833" y="0"/>
                  </a:moveTo>
                  <a:lnTo>
                    <a:pt x="3160833" y="0"/>
                  </a:lnTo>
                  <a:cubicBezTo>
                    <a:pt x="4908795" y="7817"/>
                    <a:pt x="6321666" y="1427021"/>
                    <a:pt x="6321666" y="3175000"/>
                  </a:cubicBezTo>
                  <a:cubicBezTo>
                    <a:pt x="6321666" y="4922979"/>
                    <a:pt x="4908795" y="6342183"/>
                    <a:pt x="3160833" y="6350000"/>
                  </a:cubicBezTo>
                  <a:cubicBezTo>
                    <a:pt x="1412871" y="6342183"/>
                    <a:pt x="0" y="4922979"/>
                    <a:pt x="0" y="3175000"/>
                  </a:cubicBezTo>
                  <a:cubicBezTo>
                    <a:pt x="0" y="1427021"/>
                    <a:pt x="1412871" y="7817"/>
                    <a:pt x="3160833" y="0"/>
                  </a:cubicBezTo>
                  <a:close/>
                </a:path>
              </a:pathLst>
            </a:custGeom>
            <a:solidFill>
              <a:srgbClr val="F2FAFF"/>
            </a:solidFill>
          </p:spPr>
        </p:sp>
      </p:grpSp>
      <p:grpSp>
        <p:nvGrpSpPr>
          <p:cNvPr id="24" name="Group 33">
            <a:extLst>
              <a:ext uri="{FF2B5EF4-FFF2-40B4-BE49-F238E27FC236}">
                <a16:creationId xmlns:a16="http://schemas.microsoft.com/office/drawing/2014/main" id="{9FF64A6E-2F0E-483D-B875-57BEF44EE62A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-2559306" y="1632208"/>
            <a:ext cx="3300413" cy="3300413"/>
            <a:chOff x="-2540" y="-2540"/>
            <a:chExt cx="6355080" cy="6355080"/>
          </a:xfrm>
          <a:solidFill>
            <a:srgbClr val="D6ECE9"/>
          </a:solidFill>
        </p:grpSpPr>
        <p:sp>
          <p:nvSpPr>
            <p:cNvPr id="25" name="Freeform 34">
              <a:extLst>
                <a:ext uri="{FF2B5EF4-FFF2-40B4-BE49-F238E27FC236}">
                  <a16:creationId xmlns:a16="http://schemas.microsoft.com/office/drawing/2014/main" id="{61AB618B-F07F-40CE-A486-1DC52F1ADA42}"/>
                </a:ext>
              </a:extLst>
            </p:cNvPr>
            <p:cNvSpPr/>
            <p:nvPr/>
          </p:nvSpPr>
          <p:spPr>
            <a:xfrm>
              <a:off x="-2540" y="-2540"/>
              <a:ext cx="6355080" cy="6355080"/>
            </a:xfrm>
            <a:custGeom>
              <a:avLst/>
              <a:gdLst/>
              <a:ahLst/>
              <a:cxnLst/>
              <a:rect l="l" t="t" r="r" b="b"/>
              <a:pathLst>
                <a:path w="6355080" h="6355080">
                  <a:moveTo>
                    <a:pt x="3177540" y="6355080"/>
                  </a:moveTo>
                  <a:cubicBezTo>
                    <a:pt x="2329180" y="6355080"/>
                    <a:pt x="1530350" y="6024880"/>
                    <a:pt x="930910" y="5424170"/>
                  </a:cubicBezTo>
                  <a:cubicBezTo>
                    <a:pt x="330200" y="4824730"/>
                    <a:pt x="0" y="4025900"/>
                    <a:pt x="0" y="3177540"/>
                  </a:cubicBezTo>
                  <a:cubicBezTo>
                    <a:pt x="0" y="2329180"/>
                    <a:pt x="330200" y="1530350"/>
                    <a:pt x="930910" y="930910"/>
                  </a:cubicBezTo>
                  <a:cubicBezTo>
                    <a:pt x="1530350" y="330200"/>
                    <a:pt x="2329180" y="0"/>
                    <a:pt x="3177540" y="0"/>
                  </a:cubicBezTo>
                  <a:cubicBezTo>
                    <a:pt x="4025900" y="0"/>
                    <a:pt x="4824730" y="330200"/>
                    <a:pt x="5424170" y="930910"/>
                  </a:cubicBezTo>
                  <a:cubicBezTo>
                    <a:pt x="6024880" y="1531620"/>
                    <a:pt x="6355080" y="2329180"/>
                    <a:pt x="6355080" y="3177540"/>
                  </a:cubicBezTo>
                  <a:cubicBezTo>
                    <a:pt x="6355080" y="4025900"/>
                    <a:pt x="6024880" y="4824730"/>
                    <a:pt x="5424170" y="5424170"/>
                  </a:cubicBezTo>
                  <a:cubicBezTo>
                    <a:pt x="4824730" y="6024880"/>
                    <a:pt x="4025900" y="6355080"/>
                    <a:pt x="3177540" y="6355080"/>
                  </a:cubicBezTo>
                  <a:close/>
                  <a:moveTo>
                    <a:pt x="3177540" y="190500"/>
                  </a:moveTo>
                  <a:cubicBezTo>
                    <a:pt x="2379980" y="190500"/>
                    <a:pt x="1629410" y="501650"/>
                    <a:pt x="1065530" y="1065530"/>
                  </a:cubicBezTo>
                  <a:cubicBezTo>
                    <a:pt x="501650" y="1629410"/>
                    <a:pt x="190500" y="2379980"/>
                    <a:pt x="190500" y="3177540"/>
                  </a:cubicBezTo>
                  <a:cubicBezTo>
                    <a:pt x="190500" y="3975100"/>
                    <a:pt x="501650" y="4725670"/>
                    <a:pt x="1065530" y="5289550"/>
                  </a:cubicBezTo>
                  <a:cubicBezTo>
                    <a:pt x="1629410" y="5853430"/>
                    <a:pt x="2379980" y="6164580"/>
                    <a:pt x="3177540" y="6164580"/>
                  </a:cubicBezTo>
                  <a:cubicBezTo>
                    <a:pt x="3975100" y="6164580"/>
                    <a:pt x="4725670" y="5853430"/>
                    <a:pt x="5289550" y="5289550"/>
                  </a:cubicBezTo>
                  <a:cubicBezTo>
                    <a:pt x="5853430" y="4725670"/>
                    <a:pt x="6164580" y="3975100"/>
                    <a:pt x="6164580" y="3177540"/>
                  </a:cubicBezTo>
                  <a:cubicBezTo>
                    <a:pt x="6164580" y="2379980"/>
                    <a:pt x="5853430" y="1629410"/>
                    <a:pt x="5289550" y="1065530"/>
                  </a:cubicBezTo>
                  <a:cubicBezTo>
                    <a:pt x="4725670" y="501650"/>
                    <a:pt x="3975100" y="190500"/>
                    <a:pt x="3177540" y="190500"/>
                  </a:cubicBezTo>
                  <a:close/>
                </a:path>
              </a:pathLst>
            </a:custGeom>
            <a:grpFill/>
          </p:spPr>
        </p:sp>
      </p:grpSp>
      <p:sp>
        <p:nvSpPr>
          <p:cNvPr id="28" name="Titre 24">
            <a:extLst>
              <a:ext uri="{FF2B5EF4-FFF2-40B4-BE49-F238E27FC236}">
                <a16:creationId xmlns:a16="http://schemas.microsoft.com/office/drawing/2014/main" id="{9E44BC14-9478-41C4-BB71-97F77126340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5460" y="313723"/>
            <a:ext cx="4070509" cy="539891"/>
          </a:xfrm>
        </p:spPr>
        <p:txBody>
          <a:bodyPr>
            <a:normAutofit/>
          </a:bodyPr>
          <a:lstStyle>
            <a:lvl1pPr>
              <a:defRPr sz="2100"/>
            </a:lvl1pPr>
          </a:lstStyle>
          <a:p>
            <a:r>
              <a:rPr lang="fr-FR" sz="2400">
                <a:solidFill>
                  <a:srgbClr val="F57A30"/>
                </a:solidFill>
                <a:latin typeface="Source Sans Pro Black" panose="020B0803030403020204" pitchFamily="34" charset="0"/>
              </a:rPr>
              <a:t>Titre</a:t>
            </a:r>
          </a:p>
        </p:txBody>
      </p:sp>
      <p:sp>
        <p:nvSpPr>
          <p:cNvPr id="26" name="Espace réservé du contenu 25" descr="Zone de texte&#10;">
            <a:extLst>
              <a:ext uri="{FF2B5EF4-FFF2-40B4-BE49-F238E27FC236}">
                <a16:creationId xmlns:a16="http://schemas.microsoft.com/office/drawing/2014/main" id="{B4398D8D-276D-42C4-B851-4BD3B22B03A4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1568531" y="1602340"/>
            <a:ext cx="2754610" cy="606752"/>
          </a:xfrm>
        </p:spPr>
        <p:txBody>
          <a:bodyPr anchor="ctr">
            <a:noAutofit/>
          </a:bodyPr>
          <a:lstStyle>
            <a:lvl1pPr marL="0" indent="0" algn="ctr">
              <a:buNone/>
              <a:defRPr sz="1800">
                <a:solidFill>
                  <a:schemeClr val="bg1"/>
                </a:solidFill>
                <a:latin typeface="Source Sans Pro" panose="020B0503030403020204" pitchFamily="34" charset="0"/>
              </a:defRPr>
            </a:lvl1pPr>
            <a:lvl2pPr>
              <a:defRPr sz="1500">
                <a:solidFill>
                  <a:schemeClr val="bg1"/>
                </a:solidFill>
                <a:latin typeface="Source Sans Pro" panose="020B0503030403020204" pitchFamily="34" charset="0"/>
              </a:defRPr>
            </a:lvl2pPr>
            <a:lvl3pPr>
              <a:defRPr sz="1350">
                <a:solidFill>
                  <a:schemeClr val="bg1"/>
                </a:solidFill>
                <a:latin typeface="Source Sans Pro" panose="020B0503030403020204" pitchFamily="34" charset="0"/>
              </a:defRPr>
            </a:lvl3pPr>
            <a:lvl4pPr>
              <a:defRPr sz="1200">
                <a:solidFill>
                  <a:schemeClr val="bg1"/>
                </a:solidFill>
                <a:latin typeface="Source Sans Pro" panose="020B0503030403020204" pitchFamily="34" charset="0"/>
              </a:defRPr>
            </a:lvl4pPr>
            <a:lvl5pPr>
              <a:defRPr sz="1200">
                <a:solidFill>
                  <a:schemeClr val="bg1"/>
                </a:solidFill>
                <a:latin typeface="Source Sans Pro" panose="020B0503030403020204" pitchFamily="34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7" name="Espace réservé du contenu 25" descr="Zone de texte&#10;">
            <a:extLst>
              <a:ext uri="{FF2B5EF4-FFF2-40B4-BE49-F238E27FC236}">
                <a16:creationId xmlns:a16="http://schemas.microsoft.com/office/drawing/2014/main" id="{2A10554B-17C1-4A67-AB73-8E46853248DD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5382276" y="1602340"/>
            <a:ext cx="2754610" cy="606752"/>
          </a:xfrm>
        </p:spPr>
        <p:txBody>
          <a:bodyPr anchor="ctr">
            <a:noAutofit/>
          </a:bodyPr>
          <a:lstStyle>
            <a:lvl1pPr marL="0" indent="0" algn="ctr">
              <a:buNone/>
              <a:defRPr sz="1800">
                <a:solidFill>
                  <a:schemeClr val="bg1"/>
                </a:solidFill>
                <a:latin typeface="Source Sans Pro" panose="020B0503030403020204" pitchFamily="34" charset="0"/>
              </a:defRPr>
            </a:lvl1pPr>
            <a:lvl2pPr>
              <a:defRPr sz="1500">
                <a:solidFill>
                  <a:schemeClr val="bg1"/>
                </a:solidFill>
                <a:latin typeface="Source Sans Pro" panose="020B0503030403020204" pitchFamily="34" charset="0"/>
              </a:defRPr>
            </a:lvl2pPr>
            <a:lvl3pPr>
              <a:defRPr sz="1350">
                <a:solidFill>
                  <a:schemeClr val="bg1"/>
                </a:solidFill>
                <a:latin typeface="Source Sans Pro" panose="020B0503030403020204" pitchFamily="34" charset="0"/>
              </a:defRPr>
            </a:lvl3pPr>
            <a:lvl4pPr>
              <a:defRPr sz="1200">
                <a:solidFill>
                  <a:schemeClr val="bg1"/>
                </a:solidFill>
                <a:latin typeface="Source Sans Pro" panose="020B0503030403020204" pitchFamily="34" charset="0"/>
              </a:defRPr>
            </a:lvl4pPr>
            <a:lvl5pPr>
              <a:defRPr sz="1200">
                <a:solidFill>
                  <a:schemeClr val="bg1"/>
                </a:solidFill>
                <a:latin typeface="Source Sans Pro" panose="020B0503030403020204" pitchFamily="34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9" name="Espace réservé du contenu 25" descr="Zone de texte&#10;">
            <a:extLst>
              <a:ext uri="{FF2B5EF4-FFF2-40B4-BE49-F238E27FC236}">
                <a16:creationId xmlns:a16="http://schemas.microsoft.com/office/drawing/2014/main" id="{0A7F1F19-43F7-4094-837E-496EBD80692A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551209" y="3389779"/>
            <a:ext cx="2754610" cy="606752"/>
          </a:xfrm>
        </p:spPr>
        <p:txBody>
          <a:bodyPr anchor="ctr">
            <a:noAutofit/>
          </a:bodyPr>
          <a:lstStyle>
            <a:lvl1pPr marL="0" indent="0" algn="ctr">
              <a:buNone/>
              <a:defRPr sz="1800">
                <a:solidFill>
                  <a:schemeClr val="bg1"/>
                </a:solidFill>
                <a:latin typeface="Source Sans Pro" panose="020B0503030403020204" pitchFamily="34" charset="0"/>
              </a:defRPr>
            </a:lvl1pPr>
            <a:lvl2pPr>
              <a:defRPr sz="1500">
                <a:solidFill>
                  <a:schemeClr val="bg1"/>
                </a:solidFill>
                <a:latin typeface="Source Sans Pro" panose="020B0503030403020204" pitchFamily="34" charset="0"/>
              </a:defRPr>
            </a:lvl2pPr>
            <a:lvl3pPr>
              <a:defRPr sz="1350">
                <a:solidFill>
                  <a:schemeClr val="bg1"/>
                </a:solidFill>
                <a:latin typeface="Source Sans Pro" panose="020B0503030403020204" pitchFamily="34" charset="0"/>
              </a:defRPr>
            </a:lvl3pPr>
            <a:lvl4pPr>
              <a:defRPr sz="1200">
                <a:solidFill>
                  <a:schemeClr val="bg1"/>
                </a:solidFill>
                <a:latin typeface="Source Sans Pro" panose="020B0503030403020204" pitchFamily="34" charset="0"/>
              </a:defRPr>
            </a:lvl4pPr>
            <a:lvl5pPr>
              <a:defRPr sz="1200">
                <a:solidFill>
                  <a:schemeClr val="bg1"/>
                </a:solidFill>
                <a:latin typeface="Source Sans Pro" panose="020B0503030403020204" pitchFamily="34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30" name="Espace réservé du contenu 25" descr="Zone de texte&#10;">
            <a:extLst>
              <a:ext uri="{FF2B5EF4-FFF2-40B4-BE49-F238E27FC236}">
                <a16:creationId xmlns:a16="http://schemas.microsoft.com/office/drawing/2014/main" id="{65678C30-D548-4D65-B446-A0D1F24EC387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414346" y="3372508"/>
            <a:ext cx="2754610" cy="606752"/>
          </a:xfrm>
        </p:spPr>
        <p:txBody>
          <a:bodyPr anchor="ctr">
            <a:noAutofit/>
          </a:bodyPr>
          <a:lstStyle>
            <a:lvl1pPr marL="0" indent="0" algn="ctr">
              <a:buNone/>
              <a:defRPr sz="1800">
                <a:solidFill>
                  <a:schemeClr val="bg1"/>
                </a:solidFill>
                <a:latin typeface="Source Sans Pro" panose="020B0503030403020204" pitchFamily="34" charset="0"/>
              </a:defRPr>
            </a:lvl1pPr>
            <a:lvl2pPr>
              <a:defRPr sz="1500">
                <a:solidFill>
                  <a:schemeClr val="bg1"/>
                </a:solidFill>
                <a:latin typeface="Source Sans Pro" panose="020B0503030403020204" pitchFamily="34" charset="0"/>
              </a:defRPr>
            </a:lvl2pPr>
            <a:lvl3pPr>
              <a:defRPr sz="1350">
                <a:solidFill>
                  <a:schemeClr val="bg1"/>
                </a:solidFill>
                <a:latin typeface="Source Sans Pro" panose="020B0503030403020204" pitchFamily="34" charset="0"/>
              </a:defRPr>
            </a:lvl3pPr>
            <a:lvl4pPr>
              <a:defRPr sz="1200">
                <a:solidFill>
                  <a:schemeClr val="bg1"/>
                </a:solidFill>
                <a:latin typeface="Source Sans Pro" panose="020B0503030403020204" pitchFamily="34" charset="0"/>
              </a:defRPr>
            </a:lvl4pPr>
            <a:lvl5pPr>
              <a:defRPr sz="1200">
                <a:solidFill>
                  <a:schemeClr val="bg1"/>
                </a:solidFill>
                <a:latin typeface="Source Sans Pro" panose="020B0503030403020204" pitchFamily="34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1019707847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E294BE3D-CC00-4264-BD78-67DBA4E50B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772F9716-2798-4E28-9707-79862A3501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48F244-30DD-438A-ADD2-DF4984FBCA8F}" type="slidenum">
              <a:rPr lang="fr-FR" smtClean="0"/>
              <a:t>‹#›</a:t>
            </a:fld>
            <a:endParaRPr lang="fr-FR"/>
          </a:p>
        </p:txBody>
      </p:sp>
      <p:sp>
        <p:nvSpPr>
          <p:cNvPr id="6" name="Rectangle : avec coins arrondis en diagonale 5">
            <a:extLst>
              <a:ext uri="{FF2B5EF4-FFF2-40B4-BE49-F238E27FC236}">
                <a16:creationId xmlns:a16="http://schemas.microsoft.com/office/drawing/2014/main" id="{01EE5F52-AE3B-4E25-A99E-2AC51887DD6E}"/>
              </a:ext>
            </a:extLst>
          </p:cNvPr>
          <p:cNvSpPr/>
          <p:nvPr userDrawn="1"/>
        </p:nvSpPr>
        <p:spPr>
          <a:xfrm>
            <a:off x="-180473" y="-477462"/>
            <a:ext cx="9324474" cy="5955632"/>
          </a:xfrm>
          <a:prstGeom prst="round2DiagRect">
            <a:avLst/>
          </a:prstGeom>
          <a:solidFill>
            <a:srgbClr val="D6EC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200"/>
          </a:p>
        </p:txBody>
      </p:sp>
      <p:grpSp>
        <p:nvGrpSpPr>
          <p:cNvPr id="8" name="Group 2">
            <a:extLst>
              <a:ext uri="{FF2B5EF4-FFF2-40B4-BE49-F238E27FC236}">
                <a16:creationId xmlns:a16="http://schemas.microsoft.com/office/drawing/2014/main" id="{A7C135D9-E2F5-4C9B-99E1-D0A5049F9075}"/>
              </a:ext>
            </a:extLst>
          </p:cNvPr>
          <p:cNvGrpSpPr/>
          <p:nvPr/>
        </p:nvGrpSpPr>
        <p:grpSpPr>
          <a:xfrm>
            <a:off x="1461301" y="0"/>
            <a:ext cx="7682700" cy="5143500"/>
            <a:chOff x="0" y="0"/>
            <a:chExt cx="18576045" cy="13716000"/>
          </a:xfrm>
        </p:grpSpPr>
        <p:sp>
          <p:nvSpPr>
            <p:cNvPr id="13" name="AutoShape 3">
              <a:extLst>
                <a:ext uri="{FF2B5EF4-FFF2-40B4-BE49-F238E27FC236}">
                  <a16:creationId xmlns:a16="http://schemas.microsoft.com/office/drawing/2014/main" id="{ACE5BC82-7B90-4848-B982-3AD204A30B49}"/>
                </a:ext>
              </a:extLst>
            </p:cNvPr>
            <p:cNvSpPr/>
            <p:nvPr/>
          </p:nvSpPr>
          <p:spPr>
            <a:xfrm>
              <a:off x="53709" y="0"/>
              <a:ext cx="18522335" cy="4330217"/>
            </a:xfrm>
            <a:prstGeom prst="rect">
              <a:avLst/>
            </a:prstGeom>
            <a:solidFill>
              <a:srgbClr val="00727A"/>
            </a:solidFill>
          </p:spPr>
        </p:sp>
        <p:sp>
          <p:nvSpPr>
            <p:cNvPr id="14" name="AutoShape 4">
              <a:extLst>
                <a:ext uri="{FF2B5EF4-FFF2-40B4-BE49-F238E27FC236}">
                  <a16:creationId xmlns:a16="http://schemas.microsoft.com/office/drawing/2014/main" id="{CC199EF0-FD51-428F-B83B-2292F782A031}"/>
                </a:ext>
              </a:extLst>
            </p:cNvPr>
            <p:cNvSpPr/>
            <p:nvPr/>
          </p:nvSpPr>
          <p:spPr>
            <a:xfrm>
              <a:off x="53709" y="4692892"/>
              <a:ext cx="18522335" cy="4330217"/>
            </a:xfrm>
            <a:prstGeom prst="rect">
              <a:avLst/>
            </a:prstGeom>
            <a:solidFill>
              <a:srgbClr val="00727A"/>
            </a:solidFill>
          </p:spPr>
        </p:sp>
        <p:sp>
          <p:nvSpPr>
            <p:cNvPr id="15" name="AutoShape 5">
              <a:extLst>
                <a:ext uri="{FF2B5EF4-FFF2-40B4-BE49-F238E27FC236}">
                  <a16:creationId xmlns:a16="http://schemas.microsoft.com/office/drawing/2014/main" id="{54701835-724E-40DC-A039-42C1EEA28378}"/>
                </a:ext>
              </a:extLst>
            </p:cNvPr>
            <p:cNvSpPr/>
            <p:nvPr/>
          </p:nvSpPr>
          <p:spPr>
            <a:xfrm>
              <a:off x="53709" y="9385783"/>
              <a:ext cx="18522335" cy="4330217"/>
            </a:xfrm>
            <a:prstGeom prst="rect">
              <a:avLst/>
            </a:prstGeom>
            <a:solidFill>
              <a:srgbClr val="00727A"/>
            </a:solidFill>
          </p:spPr>
        </p:sp>
        <p:grpSp>
          <p:nvGrpSpPr>
            <p:cNvPr id="16" name="Group 6">
              <a:extLst>
                <a:ext uri="{FF2B5EF4-FFF2-40B4-BE49-F238E27FC236}">
                  <a16:creationId xmlns:a16="http://schemas.microsoft.com/office/drawing/2014/main" id="{2E986824-7DE1-47F4-A6EF-001F4CD48BB4}"/>
                </a:ext>
              </a:extLst>
            </p:cNvPr>
            <p:cNvGrpSpPr/>
            <p:nvPr/>
          </p:nvGrpSpPr>
          <p:grpSpPr>
            <a:xfrm rot="5400000">
              <a:off x="-206067" y="1837555"/>
              <a:ext cx="1067241" cy="655106"/>
              <a:chOff x="0" y="0"/>
              <a:chExt cx="6350000" cy="5499100"/>
            </a:xfrm>
          </p:grpSpPr>
          <p:sp>
            <p:nvSpPr>
              <p:cNvPr id="21" name="Freeform 7">
                <a:extLst>
                  <a:ext uri="{FF2B5EF4-FFF2-40B4-BE49-F238E27FC236}">
                    <a16:creationId xmlns:a16="http://schemas.microsoft.com/office/drawing/2014/main" id="{4E74E66F-B3E3-4036-B333-15ADC6AC38F2}"/>
                  </a:ext>
                </a:extLst>
              </p:cNvPr>
              <p:cNvSpPr/>
              <p:nvPr/>
            </p:nvSpPr>
            <p:spPr>
              <a:xfrm>
                <a:off x="0" y="0"/>
                <a:ext cx="6350000" cy="5499100"/>
              </a:xfrm>
              <a:custGeom>
                <a:avLst/>
                <a:gdLst/>
                <a:ahLst/>
                <a:cxnLst/>
                <a:rect l="l" t="t" r="r" b="b"/>
                <a:pathLst>
                  <a:path w="6350000" h="5499100">
                    <a:moveTo>
                      <a:pt x="0" y="5499100"/>
                    </a:moveTo>
                    <a:lnTo>
                      <a:pt x="3175000" y="0"/>
                    </a:lnTo>
                    <a:lnTo>
                      <a:pt x="6350000" y="5499100"/>
                    </a:lnTo>
                    <a:close/>
                  </a:path>
                </a:pathLst>
              </a:custGeom>
              <a:solidFill>
                <a:srgbClr val="D6ECE9"/>
              </a:solidFill>
            </p:spPr>
          </p:sp>
        </p:grpSp>
        <p:grpSp>
          <p:nvGrpSpPr>
            <p:cNvPr id="17" name="Group 8">
              <a:extLst>
                <a:ext uri="{FF2B5EF4-FFF2-40B4-BE49-F238E27FC236}">
                  <a16:creationId xmlns:a16="http://schemas.microsoft.com/office/drawing/2014/main" id="{F5580A56-E0A2-4A20-BE50-E73D6E55458B}"/>
                </a:ext>
              </a:extLst>
            </p:cNvPr>
            <p:cNvGrpSpPr/>
            <p:nvPr/>
          </p:nvGrpSpPr>
          <p:grpSpPr>
            <a:xfrm rot="5400000">
              <a:off x="-206067" y="6530447"/>
              <a:ext cx="1067241" cy="655106"/>
              <a:chOff x="0" y="0"/>
              <a:chExt cx="6350000" cy="5499100"/>
            </a:xfrm>
          </p:grpSpPr>
          <p:sp>
            <p:nvSpPr>
              <p:cNvPr id="20" name="Freeform 9">
                <a:extLst>
                  <a:ext uri="{FF2B5EF4-FFF2-40B4-BE49-F238E27FC236}">
                    <a16:creationId xmlns:a16="http://schemas.microsoft.com/office/drawing/2014/main" id="{46A1A13B-0B2A-4785-9F74-2DBDDC430E11}"/>
                  </a:ext>
                </a:extLst>
              </p:cNvPr>
              <p:cNvSpPr/>
              <p:nvPr/>
            </p:nvSpPr>
            <p:spPr>
              <a:xfrm>
                <a:off x="0" y="0"/>
                <a:ext cx="6350000" cy="5499100"/>
              </a:xfrm>
              <a:custGeom>
                <a:avLst/>
                <a:gdLst/>
                <a:ahLst/>
                <a:cxnLst/>
                <a:rect l="l" t="t" r="r" b="b"/>
                <a:pathLst>
                  <a:path w="6350000" h="5499100">
                    <a:moveTo>
                      <a:pt x="0" y="5499100"/>
                    </a:moveTo>
                    <a:lnTo>
                      <a:pt x="3175000" y="0"/>
                    </a:lnTo>
                    <a:lnTo>
                      <a:pt x="6350000" y="5499100"/>
                    </a:lnTo>
                    <a:close/>
                  </a:path>
                </a:pathLst>
              </a:custGeom>
              <a:solidFill>
                <a:srgbClr val="D6ECE9"/>
              </a:solidFill>
            </p:spPr>
          </p:sp>
        </p:grpSp>
        <p:grpSp>
          <p:nvGrpSpPr>
            <p:cNvPr id="18" name="Group 10">
              <a:extLst>
                <a:ext uri="{FF2B5EF4-FFF2-40B4-BE49-F238E27FC236}">
                  <a16:creationId xmlns:a16="http://schemas.microsoft.com/office/drawing/2014/main" id="{546FA9FC-DDC6-40CB-A44D-4210652342DE}"/>
                </a:ext>
              </a:extLst>
            </p:cNvPr>
            <p:cNvGrpSpPr/>
            <p:nvPr/>
          </p:nvGrpSpPr>
          <p:grpSpPr>
            <a:xfrm rot="5400000">
              <a:off x="-206067" y="11223338"/>
              <a:ext cx="1067241" cy="655106"/>
              <a:chOff x="0" y="0"/>
              <a:chExt cx="6350000" cy="5499100"/>
            </a:xfrm>
          </p:grpSpPr>
          <p:sp>
            <p:nvSpPr>
              <p:cNvPr id="19" name="Freeform 11">
                <a:extLst>
                  <a:ext uri="{FF2B5EF4-FFF2-40B4-BE49-F238E27FC236}">
                    <a16:creationId xmlns:a16="http://schemas.microsoft.com/office/drawing/2014/main" id="{4FFEA4A4-A340-4ABA-BDE0-A3F920D45708}"/>
                  </a:ext>
                </a:extLst>
              </p:cNvPr>
              <p:cNvSpPr/>
              <p:nvPr/>
            </p:nvSpPr>
            <p:spPr>
              <a:xfrm>
                <a:off x="0" y="0"/>
                <a:ext cx="6350000" cy="5499100"/>
              </a:xfrm>
              <a:custGeom>
                <a:avLst/>
                <a:gdLst/>
                <a:ahLst/>
                <a:cxnLst/>
                <a:rect l="l" t="t" r="r" b="b"/>
                <a:pathLst>
                  <a:path w="6350000" h="5499100">
                    <a:moveTo>
                      <a:pt x="0" y="5499100"/>
                    </a:moveTo>
                    <a:lnTo>
                      <a:pt x="3175000" y="0"/>
                    </a:lnTo>
                    <a:lnTo>
                      <a:pt x="6350000" y="5499100"/>
                    </a:lnTo>
                    <a:close/>
                  </a:path>
                </a:pathLst>
              </a:custGeom>
              <a:solidFill>
                <a:srgbClr val="D6ECE9"/>
              </a:solidFill>
            </p:spPr>
          </p:sp>
        </p:grpSp>
      </p:grpSp>
      <p:sp>
        <p:nvSpPr>
          <p:cNvPr id="22" name="Titre 21">
            <a:extLst>
              <a:ext uri="{FF2B5EF4-FFF2-40B4-BE49-F238E27FC236}">
                <a16:creationId xmlns:a16="http://schemas.microsoft.com/office/drawing/2014/main" id="{3E11E5B4-7BC2-4000-98C6-82538034FB2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 rot="16200000">
            <a:off x="-952114" y="2003268"/>
            <a:ext cx="3304995" cy="994172"/>
          </a:xfrm>
        </p:spPr>
        <p:txBody>
          <a:bodyPr>
            <a:noAutofit/>
          </a:bodyPr>
          <a:lstStyle>
            <a:lvl1pPr algn="ctr">
              <a:defRPr sz="7200" b="1">
                <a:solidFill>
                  <a:srgbClr val="00727A"/>
                </a:solidFill>
                <a:latin typeface="Source Sans Pro" panose="020B0503030403020204" pitchFamily="34" charset="0"/>
              </a:defRPr>
            </a:lvl1pPr>
          </a:lstStyle>
          <a:p>
            <a:r>
              <a:rPr lang="fr-FR"/>
              <a:t>TITRE</a:t>
            </a:r>
          </a:p>
        </p:txBody>
      </p:sp>
      <p:sp>
        <p:nvSpPr>
          <p:cNvPr id="26" name="Espace réservé du contenu 25" descr="Zone de texte&#10;">
            <a:extLst>
              <a:ext uri="{FF2B5EF4-FFF2-40B4-BE49-F238E27FC236}">
                <a16:creationId xmlns:a16="http://schemas.microsoft.com/office/drawing/2014/main" id="{59FC454D-CD89-4F5E-8A8C-B4808A34E793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1969830" y="1889522"/>
            <a:ext cx="6936581" cy="1364456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Source Sans Pro" panose="020B0503030403020204" pitchFamily="34" charset="0"/>
              </a:defRPr>
            </a:lvl1pPr>
            <a:lvl2pPr>
              <a:defRPr sz="1500">
                <a:solidFill>
                  <a:schemeClr val="bg1"/>
                </a:solidFill>
                <a:latin typeface="Source Sans Pro" panose="020B0503030403020204" pitchFamily="34" charset="0"/>
              </a:defRPr>
            </a:lvl2pPr>
            <a:lvl3pPr>
              <a:defRPr sz="1350">
                <a:solidFill>
                  <a:schemeClr val="bg1"/>
                </a:solidFill>
                <a:latin typeface="Source Sans Pro" panose="020B0503030403020204" pitchFamily="34" charset="0"/>
              </a:defRPr>
            </a:lvl3pPr>
            <a:lvl4pPr>
              <a:defRPr sz="1200">
                <a:solidFill>
                  <a:schemeClr val="bg1"/>
                </a:solidFill>
                <a:latin typeface="Source Sans Pro" panose="020B0503030403020204" pitchFamily="34" charset="0"/>
              </a:defRPr>
            </a:lvl4pPr>
            <a:lvl5pPr>
              <a:defRPr sz="1200">
                <a:solidFill>
                  <a:schemeClr val="bg1"/>
                </a:solidFill>
                <a:latin typeface="Source Sans Pro" panose="020B0503030403020204" pitchFamily="34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7" name="Espace réservé du contenu 25" descr="Zone de texte&#10;">
            <a:extLst>
              <a:ext uri="{FF2B5EF4-FFF2-40B4-BE49-F238E27FC236}">
                <a16:creationId xmlns:a16="http://schemas.microsoft.com/office/drawing/2014/main" id="{2BB1B0BC-5C78-4D23-9E6F-D60E1F8A590F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2018284" y="129689"/>
            <a:ext cx="6936581" cy="1364456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Source Sans Pro" panose="020B0503030403020204" pitchFamily="34" charset="0"/>
              </a:defRPr>
            </a:lvl1pPr>
            <a:lvl2pPr>
              <a:defRPr sz="1500">
                <a:solidFill>
                  <a:schemeClr val="bg1"/>
                </a:solidFill>
                <a:latin typeface="Source Sans Pro" panose="020B0503030403020204" pitchFamily="34" charset="0"/>
              </a:defRPr>
            </a:lvl2pPr>
            <a:lvl3pPr>
              <a:defRPr sz="1350">
                <a:solidFill>
                  <a:schemeClr val="bg1"/>
                </a:solidFill>
                <a:latin typeface="Source Sans Pro" panose="020B0503030403020204" pitchFamily="34" charset="0"/>
              </a:defRPr>
            </a:lvl3pPr>
            <a:lvl4pPr>
              <a:defRPr sz="1200">
                <a:solidFill>
                  <a:schemeClr val="bg1"/>
                </a:solidFill>
                <a:latin typeface="Source Sans Pro" panose="020B0503030403020204" pitchFamily="34" charset="0"/>
              </a:defRPr>
            </a:lvl4pPr>
            <a:lvl5pPr>
              <a:defRPr sz="1200">
                <a:solidFill>
                  <a:schemeClr val="bg1"/>
                </a:solidFill>
                <a:latin typeface="Source Sans Pro" panose="020B0503030403020204" pitchFamily="34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8" name="Espace réservé du contenu 25" descr="Zone de texte&#10;">
            <a:extLst>
              <a:ext uri="{FF2B5EF4-FFF2-40B4-BE49-F238E27FC236}">
                <a16:creationId xmlns:a16="http://schemas.microsoft.com/office/drawing/2014/main" id="{FD5F26E8-B9F7-438D-992B-C5DFEB7F40A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996072" y="3649356"/>
            <a:ext cx="6936581" cy="1364456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Source Sans Pro" panose="020B0503030403020204" pitchFamily="34" charset="0"/>
              </a:defRPr>
            </a:lvl1pPr>
            <a:lvl2pPr>
              <a:defRPr sz="1500">
                <a:solidFill>
                  <a:schemeClr val="bg1"/>
                </a:solidFill>
                <a:latin typeface="Source Sans Pro" panose="020B0503030403020204" pitchFamily="34" charset="0"/>
              </a:defRPr>
            </a:lvl2pPr>
            <a:lvl3pPr>
              <a:defRPr sz="1350">
                <a:solidFill>
                  <a:schemeClr val="bg1"/>
                </a:solidFill>
                <a:latin typeface="Source Sans Pro" panose="020B0503030403020204" pitchFamily="34" charset="0"/>
              </a:defRPr>
            </a:lvl3pPr>
            <a:lvl4pPr>
              <a:defRPr sz="1200">
                <a:solidFill>
                  <a:schemeClr val="bg1"/>
                </a:solidFill>
                <a:latin typeface="Source Sans Pro" panose="020B0503030403020204" pitchFamily="34" charset="0"/>
              </a:defRPr>
            </a:lvl4pPr>
            <a:lvl5pPr>
              <a:defRPr sz="1200">
                <a:solidFill>
                  <a:schemeClr val="bg1"/>
                </a:solidFill>
                <a:latin typeface="Source Sans Pro" panose="020B0503030403020204" pitchFamily="34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1867781950"/>
      </p:ext>
    </p:extLst>
  </p:cSld>
  <p:clrMapOvr>
    <a:masterClrMapping/>
  </p:clrMapOvr>
</p:sldLayout>
</file>

<file path=ppt/slideLayouts/slideLayout6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E294BE3D-CC00-4264-BD78-67DBA4E50B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772F9716-2798-4E28-9707-79862A3501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48F244-30DD-438A-ADD2-DF4984FBCA8F}" type="slidenum">
              <a:rPr lang="fr-FR" smtClean="0"/>
              <a:t>‹#›</a:t>
            </a:fld>
            <a:endParaRPr lang="fr-FR"/>
          </a:p>
        </p:txBody>
      </p:sp>
      <p:sp>
        <p:nvSpPr>
          <p:cNvPr id="6" name="Rectangle : avec coins arrondis en diagonale 5">
            <a:extLst>
              <a:ext uri="{FF2B5EF4-FFF2-40B4-BE49-F238E27FC236}">
                <a16:creationId xmlns:a16="http://schemas.microsoft.com/office/drawing/2014/main" id="{01EE5F52-AE3B-4E25-A99E-2AC51887DD6E}"/>
              </a:ext>
            </a:extLst>
          </p:cNvPr>
          <p:cNvSpPr/>
          <p:nvPr userDrawn="1"/>
        </p:nvSpPr>
        <p:spPr>
          <a:xfrm>
            <a:off x="-180473" y="-477462"/>
            <a:ext cx="9324474" cy="5955632"/>
          </a:xfrm>
          <a:prstGeom prst="round2DiagRect">
            <a:avLst/>
          </a:prstGeom>
          <a:solidFill>
            <a:srgbClr val="D6EC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200"/>
          </a:p>
        </p:txBody>
      </p:sp>
      <p:grpSp>
        <p:nvGrpSpPr>
          <p:cNvPr id="8" name="Group 2">
            <a:extLst>
              <a:ext uri="{FF2B5EF4-FFF2-40B4-BE49-F238E27FC236}">
                <a16:creationId xmlns:a16="http://schemas.microsoft.com/office/drawing/2014/main" id="{A7C135D9-E2F5-4C9B-99E1-D0A5049F9075}"/>
              </a:ext>
            </a:extLst>
          </p:cNvPr>
          <p:cNvGrpSpPr/>
          <p:nvPr/>
        </p:nvGrpSpPr>
        <p:grpSpPr>
          <a:xfrm>
            <a:off x="1461301" y="0"/>
            <a:ext cx="7682700" cy="5143500"/>
            <a:chOff x="0" y="0"/>
            <a:chExt cx="18576045" cy="13716000"/>
          </a:xfrm>
        </p:grpSpPr>
        <p:sp>
          <p:nvSpPr>
            <p:cNvPr id="13" name="AutoShape 3">
              <a:extLst>
                <a:ext uri="{FF2B5EF4-FFF2-40B4-BE49-F238E27FC236}">
                  <a16:creationId xmlns:a16="http://schemas.microsoft.com/office/drawing/2014/main" id="{ACE5BC82-7B90-4848-B982-3AD204A30B49}"/>
                </a:ext>
              </a:extLst>
            </p:cNvPr>
            <p:cNvSpPr/>
            <p:nvPr/>
          </p:nvSpPr>
          <p:spPr>
            <a:xfrm>
              <a:off x="53709" y="0"/>
              <a:ext cx="18522335" cy="4330217"/>
            </a:xfrm>
            <a:prstGeom prst="rect">
              <a:avLst/>
            </a:prstGeom>
            <a:solidFill>
              <a:srgbClr val="00727A"/>
            </a:solidFill>
          </p:spPr>
        </p:sp>
        <p:sp>
          <p:nvSpPr>
            <p:cNvPr id="14" name="AutoShape 4">
              <a:extLst>
                <a:ext uri="{FF2B5EF4-FFF2-40B4-BE49-F238E27FC236}">
                  <a16:creationId xmlns:a16="http://schemas.microsoft.com/office/drawing/2014/main" id="{CC199EF0-FD51-428F-B83B-2292F782A031}"/>
                </a:ext>
              </a:extLst>
            </p:cNvPr>
            <p:cNvSpPr/>
            <p:nvPr/>
          </p:nvSpPr>
          <p:spPr>
            <a:xfrm>
              <a:off x="53709" y="4692892"/>
              <a:ext cx="18522335" cy="4330217"/>
            </a:xfrm>
            <a:prstGeom prst="rect">
              <a:avLst/>
            </a:prstGeom>
            <a:solidFill>
              <a:srgbClr val="00727A"/>
            </a:solidFill>
          </p:spPr>
        </p:sp>
        <p:sp>
          <p:nvSpPr>
            <p:cNvPr id="15" name="AutoShape 5">
              <a:extLst>
                <a:ext uri="{FF2B5EF4-FFF2-40B4-BE49-F238E27FC236}">
                  <a16:creationId xmlns:a16="http://schemas.microsoft.com/office/drawing/2014/main" id="{54701835-724E-40DC-A039-42C1EEA28378}"/>
                </a:ext>
              </a:extLst>
            </p:cNvPr>
            <p:cNvSpPr/>
            <p:nvPr/>
          </p:nvSpPr>
          <p:spPr>
            <a:xfrm>
              <a:off x="53709" y="9385783"/>
              <a:ext cx="18522335" cy="4330217"/>
            </a:xfrm>
            <a:prstGeom prst="rect">
              <a:avLst/>
            </a:prstGeom>
            <a:solidFill>
              <a:srgbClr val="00727A"/>
            </a:solidFill>
          </p:spPr>
        </p:sp>
        <p:grpSp>
          <p:nvGrpSpPr>
            <p:cNvPr id="16" name="Group 6">
              <a:extLst>
                <a:ext uri="{FF2B5EF4-FFF2-40B4-BE49-F238E27FC236}">
                  <a16:creationId xmlns:a16="http://schemas.microsoft.com/office/drawing/2014/main" id="{2E986824-7DE1-47F4-A6EF-001F4CD48BB4}"/>
                </a:ext>
              </a:extLst>
            </p:cNvPr>
            <p:cNvGrpSpPr/>
            <p:nvPr/>
          </p:nvGrpSpPr>
          <p:grpSpPr>
            <a:xfrm rot="5400000">
              <a:off x="-206067" y="1837555"/>
              <a:ext cx="1067241" cy="655106"/>
              <a:chOff x="0" y="0"/>
              <a:chExt cx="6350000" cy="5499100"/>
            </a:xfrm>
          </p:grpSpPr>
          <p:sp>
            <p:nvSpPr>
              <p:cNvPr id="21" name="Freeform 7">
                <a:extLst>
                  <a:ext uri="{FF2B5EF4-FFF2-40B4-BE49-F238E27FC236}">
                    <a16:creationId xmlns:a16="http://schemas.microsoft.com/office/drawing/2014/main" id="{4E74E66F-B3E3-4036-B333-15ADC6AC38F2}"/>
                  </a:ext>
                </a:extLst>
              </p:cNvPr>
              <p:cNvSpPr/>
              <p:nvPr/>
            </p:nvSpPr>
            <p:spPr>
              <a:xfrm>
                <a:off x="0" y="0"/>
                <a:ext cx="6350000" cy="5499100"/>
              </a:xfrm>
              <a:custGeom>
                <a:avLst/>
                <a:gdLst/>
                <a:ahLst/>
                <a:cxnLst/>
                <a:rect l="l" t="t" r="r" b="b"/>
                <a:pathLst>
                  <a:path w="6350000" h="5499100">
                    <a:moveTo>
                      <a:pt x="0" y="5499100"/>
                    </a:moveTo>
                    <a:lnTo>
                      <a:pt x="3175000" y="0"/>
                    </a:lnTo>
                    <a:lnTo>
                      <a:pt x="6350000" y="5499100"/>
                    </a:lnTo>
                    <a:close/>
                  </a:path>
                </a:pathLst>
              </a:custGeom>
              <a:solidFill>
                <a:srgbClr val="D6ECE9"/>
              </a:solidFill>
            </p:spPr>
          </p:sp>
        </p:grpSp>
        <p:grpSp>
          <p:nvGrpSpPr>
            <p:cNvPr id="17" name="Group 8">
              <a:extLst>
                <a:ext uri="{FF2B5EF4-FFF2-40B4-BE49-F238E27FC236}">
                  <a16:creationId xmlns:a16="http://schemas.microsoft.com/office/drawing/2014/main" id="{F5580A56-E0A2-4A20-BE50-E73D6E55458B}"/>
                </a:ext>
              </a:extLst>
            </p:cNvPr>
            <p:cNvGrpSpPr/>
            <p:nvPr/>
          </p:nvGrpSpPr>
          <p:grpSpPr>
            <a:xfrm rot="5400000">
              <a:off x="-206067" y="6530447"/>
              <a:ext cx="1067241" cy="655106"/>
              <a:chOff x="0" y="0"/>
              <a:chExt cx="6350000" cy="5499100"/>
            </a:xfrm>
          </p:grpSpPr>
          <p:sp>
            <p:nvSpPr>
              <p:cNvPr id="20" name="Freeform 9">
                <a:extLst>
                  <a:ext uri="{FF2B5EF4-FFF2-40B4-BE49-F238E27FC236}">
                    <a16:creationId xmlns:a16="http://schemas.microsoft.com/office/drawing/2014/main" id="{46A1A13B-0B2A-4785-9F74-2DBDDC430E11}"/>
                  </a:ext>
                </a:extLst>
              </p:cNvPr>
              <p:cNvSpPr/>
              <p:nvPr/>
            </p:nvSpPr>
            <p:spPr>
              <a:xfrm>
                <a:off x="0" y="0"/>
                <a:ext cx="6350000" cy="5499100"/>
              </a:xfrm>
              <a:custGeom>
                <a:avLst/>
                <a:gdLst/>
                <a:ahLst/>
                <a:cxnLst/>
                <a:rect l="l" t="t" r="r" b="b"/>
                <a:pathLst>
                  <a:path w="6350000" h="5499100">
                    <a:moveTo>
                      <a:pt x="0" y="5499100"/>
                    </a:moveTo>
                    <a:lnTo>
                      <a:pt x="3175000" y="0"/>
                    </a:lnTo>
                    <a:lnTo>
                      <a:pt x="6350000" y="5499100"/>
                    </a:lnTo>
                    <a:close/>
                  </a:path>
                </a:pathLst>
              </a:custGeom>
              <a:solidFill>
                <a:srgbClr val="D6ECE9"/>
              </a:solidFill>
            </p:spPr>
          </p:sp>
        </p:grpSp>
        <p:grpSp>
          <p:nvGrpSpPr>
            <p:cNvPr id="18" name="Group 10">
              <a:extLst>
                <a:ext uri="{FF2B5EF4-FFF2-40B4-BE49-F238E27FC236}">
                  <a16:creationId xmlns:a16="http://schemas.microsoft.com/office/drawing/2014/main" id="{546FA9FC-DDC6-40CB-A44D-4210652342DE}"/>
                </a:ext>
              </a:extLst>
            </p:cNvPr>
            <p:cNvGrpSpPr/>
            <p:nvPr/>
          </p:nvGrpSpPr>
          <p:grpSpPr>
            <a:xfrm rot="5400000">
              <a:off x="-206067" y="11223338"/>
              <a:ext cx="1067241" cy="655106"/>
              <a:chOff x="0" y="0"/>
              <a:chExt cx="6350000" cy="5499100"/>
            </a:xfrm>
          </p:grpSpPr>
          <p:sp>
            <p:nvSpPr>
              <p:cNvPr id="19" name="Freeform 11">
                <a:extLst>
                  <a:ext uri="{FF2B5EF4-FFF2-40B4-BE49-F238E27FC236}">
                    <a16:creationId xmlns:a16="http://schemas.microsoft.com/office/drawing/2014/main" id="{4FFEA4A4-A340-4ABA-BDE0-A3F920D45708}"/>
                  </a:ext>
                </a:extLst>
              </p:cNvPr>
              <p:cNvSpPr/>
              <p:nvPr/>
            </p:nvSpPr>
            <p:spPr>
              <a:xfrm>
                <a:off x="0" y="0"/>
                <a:ext cx="6350000" cy="5499100"/>
              </a:xfrm>
              <a:custGeom>
                <a:avLst/>
                <a:gdLst/>
                <a:ahLst/>
                <a:cxnLst/>
                <a:rect l="l" t="t" r="r" b="b"/>
                <a:pathLst>
                  <a:path w="6350000" h="5499100">
                    <a:moveTo>
                      <a:pt x="0" y="5499100"/>
                    </a:moveTo>
                    <a:lnTo>
                      <a:pt x="3175000" y="0"/>
                    </a:lnTo>
                    <a:lnTo>
                      <a:pt x="6350000" y="5499100"/>
                    </a:lnTo>
                    <a:close/>
                  </a:path>
                </a:pathLst>
              </a:custGeom>
              <a:solidFill>
                <a:srgbClr val="D6ECE9"/>
              </a:solidFill>
            </p:spPr>
          </p:sp>
        </p:grpSp>
      </p:grpSp>
      <p:sp>
        <p:nvSpPr>
          <p:cNvPr id="22" name="Titre 21">
            <a:extLst>
              <a:ext uri="{FF2B5EF4-FFF2-40B4-BE49-F238E27FC236}">
                <a16:creationId xmlns:a16="http://schemas.microsoft.com/office/drawing/2014/main" id="{3E11E5B4-7BC2-4000-98C6-82538034FB2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 rot="16200000">
            <a:off x="-952114" y="2003268"/>
            <a:ext cx="3304995" cy="994172"/>
          </a:xfrm>
        </p:spPr>
        <p:txBody>
          <a:bodyPr>
            <a:noAutofit/>
          </a:bodyPr>
          <a:lstStyle>
            <a:lvl1pPr algn="ctr">
              <a:defRPr sz="7200" b="1">
                <a:solidFill>
                  <a:srgbClr val="00727A"/>
                </a:solidFill>
                <a:latin typeface="Source Sans Pro" panose="020B0503030403020204" pitchFamily="34" charset="0"/>
              </a:defRPr>
            </a:lvl1pPr>
          </a:lstStyle>
          <a:p>
            <a:r>
              <a:rPr lang="fr-FR"/>
              <a:t>TITRE</a:t>
            </a:r>
          </a:p>
        </p:txBody>
      </p:sp>
      <p:sp>
        <p:nvSpPr>
          <p:cNvPr id="26" name="Espace réservé du contenu 25" descr="Zone de texte&#10;">
            <a:extLst>
              <a:ext uri="{FF2B5EF4-FFF2-40B4-BE49-F238E27FC236}">
                <a16:creationId xmlns:a16="http://schemas.microsoft.com/office/drawing/2014/main" id="{59FC454D-CD89-4F5E-8A8C-B4808A34E793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1969830" y="1889522"/>
            <a:ext cx="6936581" cy="1364456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Source Sans Pro" panose="020B0503030403020204" pitchFamily="34" charset="0"/>
              </a:defRPr>
            </a:lvl1pPr>
            <a:lvl2pPr>
              <a:defRPr sz="1500">
                <a:solidFill>
                  <a:schemeClr val="bg1"/>
                </a:solidFill>
                <a:latin typeface="Source Sans Pro" panose="020B0503030403020204" pitchFamily="34" charset="0"/>
              </a:defRPr>
            </a:lvl2pPr>
            <a:lvl3pPr>
              <a:defRPr sz="1350">
                <a:solidFill>
                  <a:schemeClr val="bg1"/>
                </a:solidFill>
                <a:latin typeface="Source Sans Pro" panose="020B0503030403020204" pitchFamily="34" charset="0"/>
              </a:defRPr>
            </a:lvl3pPr>
            <a:lvl4pPr>
              <a:defRPr sz="1200">
                <a:solidFill>
                  <a:schemeClr val="bg1"/>
                </a:solidFill>
                <a:latin typeface="Source Sans Pro" panose="020B0503030403020204" pitchFamily="34" charset="0"/>
              </a:defRPr>
            </a:lvl4pPr>
            <a:lvl5pPr>
              <a:defRPr sz="1200">
                <a:solidFill>
                  <a:schemeClr val="bg1"/>
                </a:solidFill>
                <a:latin typeface="Source Sans Pro" panose="020B0503030403020204" pitchFamily="34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7" name="Espace réservé du contenu 25" descr="Zone de texte&#10;">
            <a:extLst>
              <a:ext uri="{FF2B5EF4-FFF2-40B4-BE49-F238E27FC236}">
                <a16:creationId xmlns:a16="http://schemas.microsoft.com/office/drawing/2014/main" id="{2BB1B0BC-5C78-4D23-9E6F-D60E1F8A590F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2018284" y="129689"/>
            <a:ext cx="6936581" cy="1364456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Source Sans Pro" panose="020B0503030403020204" pitchFamily="34" charset="0"/>
              </a:defRPr>
            </a:lvl1pPr>
            <a:lvl2pPr>
              <a:defRPr sz="1500">
                <a:solidFill>
                  <a:schemeClr val="bg1"/>
                </a:solidFill>
                <a:latin typeface="Source Sans Pro" panose="020B0503030403020204" pitchFamily="34" charset="0"/>
              </a:defRPr>
            </a:lvl2pPr>
            <a:lvl3pPr>
              <a:defRPr sz="1350">
                <a:solidFill>
                  <a:schemeClr val="bg1"/>
                </a:solidFill>
                <a:latin typeface="Source Sans Pro" panose="020B0503030403020204" pitchFamily="34" charset="0"/>
              </a:defRPr>
            </a:lvl3pPr>
            <a:lvl4pPr>
              <a:defRPr sz="1200">
                <a:solidFill>
                  <a:schemeClr val="bg1"/>
                </a:solidFill>
                <a:latin typeface="Source Sans Pro" panose="020B0503030403020204" pitchFamily="34" charset="0"/>
              </a:defRPr>
            </a:lvl4pPr>
            <a:lvl5pPr>
              <a:defRPr sz="1200">
                <a:solidFill>
                  <a:schemeClr val="bg1"/>
                </a:solidFill>
                <a:latin typeface="Source Sans Pro" panose="020B0503030403020204" pitchFamily="34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8" name="Espace réservé du contenu 25" descr="Zone de texte&#10;">
            <a:extLst>
              <a:ext uri="{FF2B5EF4-FFF2-40B4-BE49-F238E27FC236}">
                <a16:creationId xmlns:a16="http://schemas.microsoft.com/office/drawing/2014/main" id="{FD5F26E8-B9F7-438D-992B-C5DFEB7F40A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996072" y="3649356"/>
            <a:ext cx="6936581" cy="1364456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Source Sans Pro" panose="020B0503030403020204" pitchFamily="34" charset="0"/>
              </a:defRPr>
            </a:lvl1pPr>
            <a:lvl2pPr>
              <a:defRPr sz="1500">
                <a:solidFill>
                  <a:schemeClr val="bg1"/>
                </a:solidFill>
                <a:latin typeface="Source Sans Pro" panose="020B0503030403020204" pitchFamily="34" charset="0"/>
              </a:defRPr>
            </a:lvl2pPr>
            <a:lvl3pPr>
              <a:defRPr sz="1350">
                <a:solidFill>
                  <a:schemeClr val="bg1"/>
                </a:solidFill>
                <a:latin typeface="Source Sans Pro" panose="020B0503030403020204" pitchFamily="34" charset="0"/>
              </a:defRPr>
            </a:lvl3pPr>
            <a:lvl4pPr>
              <a:defRPr sz="1200">
                <a:solidFill>
                  <a:schemeClr val="bg1"/>
                </a:solidFill>
                <a:latin typeface="Source Sans Pro" panose="020B0503030403020204" pitchFamily="34" charset="0"/>
              </a:defRPr>
            </a:lvl4pPr>
            <a:lvl5pPr>
              <a:defRPr sz="1200">
                <a:solidFill>
                  <a:schemeClr val="bg1"/>
                </a:solidFill>
                <a:latin typeface="Source Sans Pro" panose="020B0503030403020204" pitchFamily="34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1867781950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1A769B4B-239A-4E70-93A2-C245F77D1B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48F244-30DD-438A-ADD2-DF4984FBCA8F}" type="slidenum">
              <a:rPr lang="fr-FR" smtClean="0"/>
              <a:t>‹#›</a:t>
            </a:fld>
            <a:endParaRPr lang="fr-FR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C1A2BD31-D3B1-4CB8-B285-39D02D92F684}"/>
              </a:ext>
            </a:extLst>
          </p:cNvPr>
          <p:cNvSpPr/>
          <p:nvPr userDrawn="1"/>
        </p:nvSpPr>
        <p:spPr>
          <a:xfrm>
            <a:off x="-457200" y="-397042"/>
            <a:ext cx="9601200" cy="5540542"/>
          </a:xfrm>
          <a:prstGeom prst="rect">
            <a:avLst/>
          </a:prstGeom>
          <a:solidFill>
            <a:srgbClr val="00727A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200"/>
          </a:p>
        </p:txBody>
      </p:sp>
      <p:sp>
        <p:nvSpPr>
          <p:cNvPr id="7" name="AutoShape 2">
            <a:extLst>
              <a:ext uri="{FF2B5EF4-FFF2-40B4-BE49-F238E27FC236}">
                <a16:creationId xmlns:a16="http://schemas.microsoft.com/office/drawing/2014/main" id="{E5AAFC1B-1F88-424A-875C-A0FCC3A7ADC0}"/>
              </a:ext>
            </a:extLst>
          </p:cNvPr>
          <p:cNvSpPr/>
          <p:nvPr userDrawn="1"/>
        </p:nvSpPr>
        <p:spPr>
          <a:xfrm>
            <a:off x="1780344" y="1495119"/>
            <a:ext cx="5728914" cy="2776091"/>
          </a:xfrm>
          <a:prstGeom prst="rect">
            <a:avLst/>
          </a:prstGeom>
          <a:solidFill>
            <a:srgbClr val="F8F6F6">
              <a:alpha val="49803"/>
            </a:srgbClr>
          </a:solidFill>
        </p:spPr>
      </p:sp>
      <p:sp>
        <p:nvSpPr>
          <p:cNvPr id="8" name="AutoShape 3">
            <a:extLst>
              <a:ext uri="{FF2B5EF4-FFF2-40B4-BE49-F238E27FC236}">
                <a16:creationId xmlns:a16="http://schemas.microsoft.com/office/drawing/2014/main" id="{F1B666E0-5AED-4778-B482-791A8460064E}"/>
              </a:ext>
            </a:extLst>
          </p:cNvPr>
          <p:cNvSpPr/>
          <p:nvPr userDrawn="1"/>
        </p:nvSpPr>
        <p:spPr>
          <a:xfrm>
            <a:off x="1634742" y="1328237"/>
            <a:ext cx="5728914" cy="2776091"/>
          </a:xfrm>
          <a:prstGeom prst="rect">
            <a:avLst/>
          </a:prstGeom>
          <a:solidFill>
            <a:srgbClr val="D6ECE9"/>
          </a:solidFill>
        </p:spPr>
      </p:sp>
      <p:pic>
        <p:nvPicPr>
          <p:cNvPr id="10" name="Picture 2">
            <a:extLst>
              <a:ext uri="{FF2B5EF4-FFF2-40B4-BE49-F238E27FC236}">
                <a16:creationId xmlns:a16="http://schemas.microsoft.com/office/drawing/2014/main" id="{2BBD4BFC-1938-4E16-B504-E3811EF1E58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>
          <a:xfrm>
            <a:off x="6776517" y="2904009"/>
            <a:ext cx="2970286" cy="2862275"/>
          </a:xfrm>
          <a:prstGeom prst="rect">
            <a:avLst/>
          </a:prstGeom>
        </p:spPr>
      </p:pic>
      <p:sp>
        <p:nvSpPr>
          <p:cNvPr id="11" name="Titre 11">
            <a:extLst>
              <a:ext uri="{FF2B5EF4-FFF2-40B4-BE49-F238E27FC236}">
                <a16:creationId xmlns:a16="http://schemas.microsoft.com/office/drawing/2014/main" id="{4D821EBE-767A-4386-ADB5-EE8A0CE2EB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035295" y="2958299"/>
            <a:ext cx="5073410" cy="994172"/>
          </a:xfrm>
        </p:spPr>
        <p:txBody>
          <a:bodyPr/>
          <a:lstStyle>
            <a:lvl1pPr algn="ctr">
              <a:defRPr>
                <a:solidFill>
                  <a:srgbClr val="F57A30"/>
                </a:solidFill>
                <a:latin typeface="Source Sans Pro" panose="020B0503030403020204" pitchFamily="34" charset="0"/>
              </a:defRPr>
            </a:lvl1pPr>
          </a:lstStyle>
          <a:p>
            <a:r>
              <a:rPr lang="fr-FR"/>
              <a:t>TITRE</a:t>
            </a:r>
          </a:p>
        </p:txBody>
      </p:sp>
      <p:sp>
        <p:nvSpPr>
          <p:cNvPr id="12" name="Espace réservé du texte 12">
            <a:extLst>
              <a:ext uri="{FF2B5EF4-FFF2-40B4-BE49-F238E27FC236}">
                <a16:creationId xmlns:a16="http://schemas.microsoft.com/office/drawing/2014/main" id="{7FDA7546-0F66-4018-9664-E71D0E464E4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636941" y="1979247"/>
            <a:ext cx="3870118" cy="964280"/>
          </a:xfrm>
        </p:spPr>
        <p:txBody>
          <a:bodyPr>
            <a:noAutofit/>
          </a:bodyPr>
          <a:lstStyle>
            <a:lvl1pPr marL="0" indent="0" algn="ctr" defTabSz="685800" rtl="0" eaLnBrk="1" latinLnBrk="0" hangingPunct="1">
              <a:lnSpc>
                <a:spcPts val="6240"/>
              </a:lnSpc>
              <a:buNone/>
              <a:defRPr lang="fr-FR" sz="12450" kern="1200" spc="52" dirty="0" smtClean="0">
                <a:solidFill>
                  <a:srgbClr val="F57A30"/>
                </a:solidFill>
                <a:latin typeface="Source Sans Pro" panose="020B0503030403020204" pitchFamily="34" charset="0"/>
                <a:ea typeface="+mn-ea"/>
                <a:cs typeface="+mn-cs"/>
              </a:defRPr>
            </a:lvl1pPr>
            <a:lvl2pPr marL="0" algn="ctr" defTabSz="685800" rtl="0" eaLnBrk="1" latinLnBrk="0" hangingPunct="1">
              <a:lnSpc>
                <a:spcPts val="6240"/>
              </a:lnSpc>
              <a:defRPr lang="fr-FR" sz="12450" kern="1200" spc="52" dirty="0" smtClean="0">
                <a:solidFill>
                  <a:srgbClr val="F57A30"/>
                </a:solidFill>
                <a:latin typeface="Source Sans Pro" panose="020B0503030403020204" pitchFamily="34" charset="0"/>
                <a:ea typeface="+mn-ea"/>
                <a:cs typeface="+mn-cs"/>
              </a:defRPr>
            </a:lvl2pPr>
            <a:lvl3pPr marL="0" algn="ctr" defTabSz="685800" rtl="0" eaLnBrk="1" latinLnBrk="0" hangingPunct="1">
              <a:lnSpc>
                <a:spcPts val="6240"/>
              </a:lnSpc>
              <a:defRPr lang="fr-FR" sz="12450" kern="1200" spc="52" dirty="0" smtClean="0">
                <a:solidFill>
                  <a:srgbClr val="F57A30"/>
                </a:solidFill>
                <a:latin typeface="Source Sans Pro" panose="020B0503030403020204" pitchFamily="34" charset="0"/>
                <a:ea typeface="+mn-ea"/>
                <a:cs typeface="+mn-cs"/>
              </a:defRPr>
            </a:lvl3pPr>
            <a:lvl4pPr marL="0" algn="ctr" defTabSz="685800" rtl="0" eaLnBrk="1" latinLnBrk="0" hangingPunct="1">
              <a:lnSpc>
                <a:spcPts val="6240"/>
              </a:lnSpc>
              <a:defRPr lang="fr-FR" sz="12450" kern="1200" spc="52" dirty="0" smtClean="0">
                <a:solidFill>
                  <a:srgbClr val="F57A30"/>
                </a:solidFill>
                <a:latin typeface="Source Sans Pro" panose="020B0503030403020204" pitchFamily="34" charset="0"/>
                <a:ea typeface="+mn-ea"/>
                <a:cs typeface="+mn-cs"/>
              </a:defRPr>
            </a:lvl4pPr>
            <a:lvl5pPr marL="0" algn="ctr" defTabSz="685800" rtl="0" eaLnBrk="1" latinLnBrk="0" hangingPunct="1">
              <a:lnSpc>
                <a:spcPts val="6240"/>
              </a:lnSpc>
              <a:defRPr lang="fr-FR" sz="12450" kern="1200" spc="52" dirty="0">
                <a:solidFill>
                  <a:srgbClr val="F57A30"/>
                </a:solidFill>
                <a:latin typeface="Source Sans Pro" panose="020B0503030403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N°</a:t>
            </a:r>
          </a:p>
        </p:txBody>
      </p:sp>
    </p:spTree>
    <p:extLst>
      <p:ext uri="{BB962C8B-B14F-4D97-AF65-F5344CB8AC3E}">
        <p14:creationId xmlns:p14="http://schemas.microsoft.com/office/powerpoint/2010/main" val="4025241858"/>
      </p:ext>
    </p:extLst>
  </p:cSld>
  <p:clrMapOvr>
    <a:masterClrMapping/>
  </p:clrMapOvr>
</p:sldLayout>
</file>

<file path=ppt/slideLayouts/slideLayout6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1A769B4B-239A-4E70-93A2-C245F77D1B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48F244-30DD-438A-ADD2-DF4984FBCA8F}" type="slidenum">
              <a:rPr lang="fr-FR" smtClean="0"/>
              <a:t>‹#›</a:t>
            </a:fld>
            <a:endParaRPr lang="fr-FR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C1A2BD31-D3B1-4CB8-B285-39D02D92F684}"/>
              </a:ext>
            </a:extLst>
          </p:cNvPr>
          <p:cNvSpPr/>
          <p:nvPr userDrawn="1"/>
        </p:nvSpPr>
        <p:spPr>
          <a:xfrm>
            <a:off x="-457200" y="-397042"/>
            <a:ext cx="9601200" cy="5540542"/>
          </a:xfrm>
          <a:prstGeom prst="rect">
            <a:avLst/>
          </a:prstGeom>
          <a:solidFill>
            <a:srgbClr val="00727A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200"/>
          </a:p>
        </p:txBody>
      </p:sp>
      <p:sp>
        <p:nvSpPr>
          <p:cNvPr id="7" name="AutoShape 2">
            <a:extLst>
              <a:ext uri="{FF2B5EF4-FFF2-40B4-BE49-F238E27FC236}">
                <a16:creationId xmlns:a16="http://schemas.microsoft.com/office/drawing/2014/main" id="{E5AAFC1B-1F88-424A-875C-A0FCC3A7ADC0}"/>
              </a:ext>
            </a:extLst>
          </p:cNvPr>
          <p:cNvSpPr/>
          <p:nvPr userDrawn="1"/>
        </p:nvSpPr>
        <p:spPr>
          <a:xfrm>
            <a:off x="1780344" y="1495119"/>
            <a:ext cx="5728914" cy="2776091"/>
          </a:xfrm>
          <a:prstGeom prst="rect">
            <a:avLst/>
          </a:prstGeom>
          <a:solidFill>
            <a:srgbClr val="F8F6F6">
              <a:alpha val="49803"/>
            </a:srgbClr>
          </a:solidFill>
        </p:spPr>
      </p:sp>
      <p:sp>
        <p:nvSpPr>
          <p:cNvPr id="8" name="AutoShape 3">
            <a:extLst>
              <a:ext uri="{FF2B5EF4-FFF2-40B4-BE49-F238E27FC236}">
                <a16:creationId xmlns:a16="http://schemas.microsoft.com/office/drawing/2014/main" id="{F1B666E0-5AED-4778-B482-791A8460064E}"/>
              </a:ext>
            </a:extLst>
          </p:cNvPr>
          <p:cNvSpPr/>
          <p:nvPr userDrawn="1"/>
        </p:nvSpPr>
        <p:spPr>
          <a:xfrm>
            <a:off x="1634742" y="1328237"/>
            <a:ext cx="5728914" cy="2776091"/>
          </a:xfrm>
          <a:prstGeom prst="rect">
            <a:avLst/>
          </a:prstGeom>
          <a:solidFill>
            <a:srgbClr val="D6ECE9"/>
          </a:solidFill>
        </p:spPr>
      </p:sp>
      <p:pic>
        <p:nvPicPr>
          <p:cNvPr id="10" name="Picture 2">
            <a:extLst>
              <a:ext uri="{FF2B5EF4-FFF2-40B4-BE49-F238E27FC236}">
                <a16:creationId xmlns:a16="http://schemas.microsoft.com/office/drawing/2014/main" id="{2BBD4BFC-1938-4E16-B504-E3811EF1E58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>
          <a:xfrm>
            <a:off x="6776517" y="2904009"/>
            <a:ext cx="2970286" cy="2862275"/>
          </a:xfrm>
          <a:prstGeom prst="rect">
            <a:avLst/>
          </a:prstGeom>
        </p:spPr>
      </p:pic>
      <p:sp>
        <p:nvSpPr>
          <p:cNvPr id="11" name="Titre 11">
            <a:extLst>
              <a:ext uri="{FF2B5EF4-FFF2-40B4-BE49-F238E27FC236}">
                <a16:creationId xmlns:a16="http://schemas.microsoft.com/office/drawing/2014/main" id="{4D821EBE-767A-4386-ADB5-EE8A0CE2EB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035295" y="2958299"/>
            <a:ext cx="5073410" cy="994172"/>
          </a:xfrm>
        </p:spPr>
        <p:txBody>
          <a:bodyPr/>
          <a:lstStyle>
            <a:lvl1pPr algn="ctr">
              <a:defRPr>
                <a:solidFill>
                  <a:srgbClr val="F57A30"/>
                </a:solidFill>
                <a:latin typeface="Source Sans Pro" panose="020B0503030403020204" pitchFamily="34" charset="0"/>
              </a:defRPr>
            </a:lvl1pPr>
          </a:lstStyle>
          <a:p>
            <a:r>
              <a:rPr lang="fr-FR"/>
              <a:t>TITRE</a:t>
            </a:r>
          </a:p>
        </p:txBody>
      </p:sp>
      <p:sp>
        <p:nvSpPr>
          <p:cNvPr id="12" name="Espace réservé du texte 12">
            <a:extLst>
              <a:ext uri="{FF2B5EF4-FFF2-40B4-BE49-F238E27FC236}">
                <a16:creationId xmlns:a16="http://schemas.microsoft.com/office/drawing/2014/main" id="{7FDA7546-0F66-4018-9664-E71D0E464E4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636941" y="1979247"/>
            <a:ext cx="3870118" cy="964280"/>
          </a:xfrm>
        </p:spPr>
        <p:txBody>
          <a:bodyPr>
            <a:noAutofit/>
          </a:bodyPr>
          <a:lstStyle>
            <a:lvl1pPr marL="0" indent="0" algn="ctr" defTabSz="685800" rtl="0" eaLnBrk="1" latinLnBrk="0" hangingPunct="1">
              <a:lnSpc>
                <a:spcPts val="6240"/>
              </a:lnSpc>
              <a:buNone/>
              <a:defRPr lang="fr-FR" sz="12450" kern="1200" spc="52" dirty="0" smtClean="0">
                <a:solidFill>
                  <a:srgbClr val="F57A30"/>
                </a:solidFill>
                <a:latin typeface="Source Sans Pro" panose="020B0503030403020204" pitchFamily="34" charset="0"/>
                <a:ea typeface="+mn-ea"/>
                <a:cs typeface="+mn-cs"/>
              </a:defRPr>
            </a:lvl1pPr>
            <a:lvl2pPr marL="0" algn="ctr" defTabSz="685800" rtl="0" eaLnBrk="1" latinLnBrk="0" hangingPunct="1">
              <a:lnSpc>
                <a:spcPts val="6240"/>
              </a:lnSpc>
              <a:defRPr lang="fr-FR" sz="12450" kern="1200" spc="52" dirty="0" smtClean="0">
                <a:solidFill>
                  <a:srgbClr val="F57A30"/>
                </a:solidFill>
                <a:latin typeface="Source Sans Pro" panose="020B0503030403020204" pitchFamily="34" charset="0"/>
                <a:ea typeface="+mn-ea"/>
                <a:cs typeface="+mn-cs"/>
              </a:defRPr>
            </a:lvl2pPr>
            <a:lvl3pPr marL="0" algn="ctr" defTabSz="685800" rtl="0" eaLnBrk="1" latinLnBrk="0" hangingPunct="1">
              <a:lnSpc>
                <a:spcPts val="6240"/>
              </a:lnSpc>
              <a:defRPr lang="fr-FR" sz="12450" kern="1200" spc="52" dirty="0" smtClean="0">
                <a:solidFill>
                  <a:srgbClr val="F57A30"/>
                </a:solidFill>
                <a:latin typeface="Source Sans Pro" panose="020B0503030403020204" pitchFamily="34" charset="0"/>
                <a:ea typeface="+mn-ea"/>
                <a:cs typeface="+mn-cs"/>
              </a:defRPr>
            </a:lvl3pPr>
            <a:lvl4pPr marL="0" algn="ctr" defTabSz="685800" rtl="0" eaLnBrk="1" latinLnBrk="0" hangingPunct="1">
              <a:lnSpc>
                <a:spcPts val="6240"/>
              </a:lnSpc>
              <a:defRPr lang="fr-FR" sz="12450" kern="1200" spc="52" dirty="0" smtClean="0">
                <a:solidFill>
                  <a:srgbClr val="F57A30"/>
                </a:solidFill>
                <a:latin typeface="Source Sans Pro" panose="020B0503030403020204" pitchFamily="34" charset="0"/>
                <a:ea typeface="+mn-ea"/>
                <a:cs typeface="+mn-cs"/>
              </a:defRPr>
            </a:lvl4pPr>
            <a:lvl5pPr marL="0" algn="ctr" defTabSz="685800" rtl="0" eaLnBrk="1" latinLnBrk="0" hangingPunct="1">
              <a:lnSpc>
                <a:spcPts val="6240"/>
              </a:lnSpc>
              <a:defRPr lang="fr-FR" sz="12450" kern="1200" spc="52" dirty="0">
                <a:solidFill>
                  <a:srgbClr val="F57A30"/>
                </a:solidFill>
                <a:latin typeface="Source Sans Pro" panose="020B0503030403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N°</a:t>
            </a:r>
          </a:p>
        </p:txBody>
      </p:sp>
    </p:spTree>
    <p:extLst>
      <p:ext uri="{BB962C8B-B14F-4D97-AF65-F5344CB8AC3E}">
        <p14:creationId xmlns:p14="http://schemas.microsoft.com/office/powerpoint/2010/main" val="4025241858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8A4C5E33-3C42-40F8-B52C-D6D214168A7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15ADF45E-58EF-462C-B156-09F42EE8757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C40F468D-E68E-4D0D-BAAE-8525F7452C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48F244-30DD-438A-ADD2-DF4984FBCA8F}" type="slidenum">
              <a:rPr lang="fr-FR" smtClean="0"/>
              <a:t>‹#›</a:t>
            </a:fld>
            <a:endParaRPr lang="fr-FR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8356C16-7859-483E-A954-EC73BC42F461}"/>
              </a:ext>
            </a:extLst>
          </p:cNvPr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FFC8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200"/>
          </a:p>
        </p:txBody>
      </p:sp>
      <p:sp>
        <p:nvSpPr>
          <p:cNvPr id="19" name="AutoShape 17">
            <a:extLst>
              <a:ext uri="{FF2B5EF4-FFF2-40B4-BE49-F238E27FC236}">
                <a16:creationId xmlns:a16="http://schemas.microsoft.com/office/drawing/2014/main" id="{4166F4A3-083E-46A7-9267-4B69249F8A3A}"/>
              </a:ext>
            </a:extLst>
          </p:cNvPr>
          <p:cNvSpPr/>
          <p:nvPr userDrawn="1"/>
        </p:nvSpPr>
        <p:spPr>
          <a:xfrm>
            <a:off x="-100286" y="2365326"/>
            <a:ext cx="9358586" cy="63871"/>
          </a:xfrm>
          <a:prstGeom prst="rect">
            <a:avLst/>
          </a:prstGeom>
          <a:solidFill>
            <a:srgbClr val="EBFDFF"/>
          </a:solidFill>
        </p:spPr>
      </p:sp>
      <p:grpSp>
        <p:nvGrpSpPr>
          <p:cNvPr id="20" name="Group 18">
            <a:extLst>
              <a:ext uri="{FF2B5EF4-FFF2-40B4-BE49-F238E27FC236}">
                <a16:creationId xmlns:a16="http://schemas.microsoft.com/office/drawing/2014/main" id="{AC43398F-956B-4487-8BE7-80F268D415CD}"/>
              </a:ext>
            </a:extLst>
          </p:cNvPr>
          <p:cNvGrpSpPr/>
          <p:nvPr userDrawn="1"/>
        </p:nvGrpSpPr>
        <p:grpSpPr>
          <a:xfrm>
            <a:off x="1263536" y="2291933"/>
            <a:ext cx="210658" cy="210658"/>
            <a:chOff x="0" y="0"/>
            <a:chExt cx="6350000" cy="6350000"/>
          </a:xfrm>
        </p:grpSpPr>
        <p:sp>
          <p:nvSpPr>
            <p:cNvPr id="21" name="Freeform 19">
              <a:extLst>
                <a:ext uri="{FF2B5EF4-FFF2-40B4-BE49-F238E27FC236}">
                  <a16:creationId xmlns:a16="http://schemas.microsoft.com/office/drawing/2014/main" id="{8A07EBC8-91AF-42B4-A71D-5B3B3597928F}"/>
                </a:ext>
              </a:extLst>
            </p:cNvPr>
            <p:cNvSpPr/>
            <p:nvPr/>
          </p:nvSpPr>
          <p:spPr>
            <a:xfrm>
              <a:off x="14167" y="0"/>
              <a:ext cx="6321665" cy="6350000"/>
            </a:xfrm>
            <a:custGeom>
              <a:avLst/>
              <a:gdLst/>
              <a:ahLst/>
              <a:cxnLst/>
              <a:rect l="l" t="t" r="r" b="b"/>
              <a:pathLst>
                <a:path w="6321665" h="6350000">
                  <a:moveTo>
                    <a:pt x="3160833" y="0"/>
                  </a:moveTo>
                  <a:lnTo>
                    <a:pt x="3160833" y="0"/>
                  </a:lnTo>
                  <a:cubicBezTo>
                    <a:pt x="4908795" y="7817"/>
                    <a:pt x="6321666" y="1427021"/>
                    <a:pt x="6321666" y="3175000"/>
                  </a:cubicBezTo>
                  <a:cubicBezTo>
                    <a:pt x="6321666" y="4922979"/>
                    <a:pt x="4908795" y="6342183"/>
                    <a:pt x="3160833" y="6350000"/>
                  </a:cubicBezTo>
                  <a:cubicBezTo>
                    <a:pt x="1412871" y="6342183"/>
                    <a:pt x="0" y="4922979"/>
                    <a:pt x="0" y="3175000"/>
                  </a:cubicBezTo>
                  <a:cubicBezTo>
                    <a:pt x="0" y="1427021"/>
                    <a:pt x="1412871" y="7817"/>
                    <a:pt x="3160833" y="0"/>
                  </a:cubicBezTo>
                  <a:close/>
                </a:path>
              </a:pathLst>
            </a:custGeom>
            <a:solidFill>
              <a:srgbClr val="EBFDFF"/>
            </a:solidFill>
          </p:spPr>
        </p:sp>
      </p:grpSp>
      <p:grpSp>
        <p:nvGrpSpPr>
          <p:cNvPr id="22" name="Group 20">
            <a:extLst>
              <a:ext uri="{FF2B5EF4-FFF2-40B4-BE49-F238E27FC236}">
                <a16:creationId xmlns:a16="http://schemas.microsoft.com/office/drawing/2014/main" id="{741845F1-791E-48FE-BEDB-53A39CEEB977}"/>
              </a:ext>
            </a:extLst>
          </p:cNvPr>
          <p:cNvGrpSpPr/>
          <p:nvPr userDrawn="1"/>
        </p:nvGrpSpPr>
        <p:grpSpPr>
          <a:xfrm>
            <a:off x="3405006" y="2301458"/>
            <a:ext cx="210658" cy="210658"/>
            <a:chOff x="0" y="0"/>
            <a:chExt cx="6350000" cy="6350000"/>
          </a:xfrm>
        </p:grpSpPr>
        <p:sp>
          <p:nvSpPr>
            <p:cNvPr id="23" name="Freeform 21">
              <a:extLst>
                <a:ext uri="{FF2B5EF4-FFF2-40B4-BE49-F238E27FC236}">
                  <a16:creationId xmlns:a16="http://schemas.microsoft.com/office/drawing/2014/main" id="{043A603A-5DDA-4F57-AC59-25B6F1CACE13}"/>
                </a:ext>
              </a:extLst>
            </p:cNvPr>
            <p:cNvSpPr/>
            <p:nvPr/>
          </p:nvSpPr>
          <p:spPr>
            <a:xfrm>
              <a:off x="14167" y="0"/>
              <a:ext cx="6321665" cy="6350000"/>
            </a:xfrm>
            <a:custGeom>
              <a:avLst/>
              <a:gdLst/>
              <a:ahLst/>
              <a:cxnLst/>
              <a:rect l="l" t="t" r="r" b="b"/>
              <a:pathLst>
                <a:path w="6321665" h="6350000">
                  <a:moveTo>
                    <a:pt x="3160833" y="0"/>
                  </a:moveTo>
                  <a:lnTo>
                    <a:pt x="3160833" y="0"/>
                  </a:lnTo>
                  <a:cubicBezTo>
                    <a:pt x="4908795" y="7817"/>
                    <a:pt x="6321666" y="1427021"/>
                    <a:pt x="6321666" y="3175000"/>
                  </a:cubicBezTo>
                  <a:cubicBezTo>
                    <a:pt x="6321666" y="4922979"/>
                    <a:pt x="4908795" y="6342183"/>
                    <a:pt x="3160833" y="6350000"/>
                  </a:cubicBezTo>
                  <a:cubicBezTo>
                    <a:pt x="1412871" y="6342183"/>
                    <a:pt x="0" y="4922979"/>
                    <a:pt x="0" y="3175000"/>
                  </a:cubicBezTo>
                  <a:cubicBezTo>
                    <a:pt x="0" y="1427021"/>
                    <a:pt x="1412871" y="7817"/>
                    <a:pt x="3160833" y="0"/>
                  </a:cubicBezTo>
                  <a:close/>
                </a:path>
              </a:pathLst>
            </a:custGeom>
            <a:solidFill>
              <a:srgbClr val="EBFDFF"/>
            </a:solidFill>
          </p:spPr>
        </p:sp>
      </p:grpSp>
      <p:grpSp>
        <p:nvGrpSpPr>
          <p:cNvPr id="24" name="Group 22">
            <a:extLst>
              <a:ext uri="{FF2B5EF4-FFF2-40B4-BE49-F238E27FC236}">
                <a16:creationId xmlns:a16="http://schemas.microsoft.com/office/drawing/2014/main" id="{71879125-9874-4FDF-90D4-70F5D63C4811}"/>
              </a:ext>
            </a:extLst>
          </p:cNvPr>
          <p:cNvGrpSpPr/>
          <p:nvPr userDrawn="1"/>
        </p:nvGrpSpPr>
        <p:grpSpPr>
          <a:xfrm>
            <a:off x="5546477" y="2291933"/>
            <a:ext cx="210658" cy="210658"/>
            <a:chOff x="0" y="0"/>
            <a:chExt cx="6350000" cy="6350000"/>
          </a:xfrm>
        </p:grpSpPr>
        <p:sp>
          <p:nvSpPr>
            <p:cNvPr id="25" name="Freeform 23">
              <a:extLst>
                <a:ext uri="{FF2B5EF4-FFF2-40B4-BE49-F238E27FC236}">
                  <a16:creationId xmlns:a16="http://schemas.microsoft.com/office/drawing/2014/main" id="{D7D705F1-D7F1-4551-A064-6740BD586F59}"/>
                </a:ext>
              </a:extLst>
            </p:cNvPr>
            <p:cNvSpPr/>
            <p:nvPr/>
          </p:nvSpPr>
          <p:spPr>
            <a:xfrm>
              <a:off x="14167" y="0"/>
              <a:ext cx="6321665" cy="6350000"/>
            </a:xfrm>
            <a:custGeom>
              <a:avLst/>
              <a:gdLst/>
              <a:ahLst/>
              <a:cxnLst/>
              <a:rect l="l" t="t" r="r" b="b"/>
              <a:pathLst>
                <a:path w="6321665" h="6350000">
                  <a:moveTo>
                    <a:pt x="3160833" y="0"/>
                  </a:moveTo>
                  <a:lnTo>
                    <a:pt x="3160833" y="0"/>
                  </a:lnTo>
                  <a:cubicBezTo>
                    <a:pt x="4908795" y="7817"/>
                    <a:pt x="6321666" y="1427021"/>
                    <a:pt x="6321666" y="3175000"/>
                  </a:cubicBezTo>
                  <a:cubicBezTo>
                    <a:pt x="6321666" y="4922979"/>
                    <a:pt x="4908795" y="6342183"/>
                    <a:pt x="3160833" y="6350000"/>
                  </a:cubicBezTo>
                  <a:cubicBezTo>
                    <a:pt x="1412871" y="6342183"/>
                    <a:pt x="0" y="4922979"/>
                    <a:pt x="0" y="3175000"/>
                  </a:cubicBezTo>
                  <a:cubicBezTo>
                    <a:pt x="0" y="1427021"/>
                    <a:pt x="1412871" y="7817"/>
                    <a:pt x="3160833" y="0"/>
                  </a:cubicBezTo>
                  <a:close/>
                </a:path>
              </a:pathLst>
            </a:custGeom>
            <a:solidFill>
              <a:srgbClr val="EBFDFF"/>
            </a:solidFill>
          </p:spPr>
        </p:sp>
      </p:grpSp>
      <p:grpSp>
        <p:nvGrpSpPr>
          <p:cNvPr id="26" name="Group 24">
            <a:extLst>
              <a:ext uri="{FF2B5EF4-FFF2-40B4-BE49-F238E27FC236}">
                <a16:creationId xmlns:a16="http://schemas.microsoft.com/office/drawing/2014/main" id="{18C0EFBD-F6AF-4CC9-A3E9-3C4683141019}"/>
              </a:ext>
            </a:extLst>
          </p:cNvPr>
          <p:cNvGrpSpPr/>
          <p:nvPr userDrawn="1"/>
        </p:nvGrpSpPr>
        <p:grpSpPr>
          <a:xfrm>
            <a:off x="7687946" y="2291933"/>
            <a:ext cx="210658" cy="210658"/>
            <a:chOff x="0" y="0"/>
            <a:chExt cx="6350000" cy="6350000"/>
          </a:xfrm>
        </p:grpSpPr>
        <p:sp>
          <p:nvSpPr>
            <p:cNvPr id="27" name="Freeform 25">
              <a:extLst>
                <a:ext uri="{FF2B5EF4-FFF2-40B4-BE49-F238E27FC236}">
                  <a16:creationId xmlns:a16="http://schemas.microsoft.com/office/drawing/2014/main" id="{1899A9D2-5A9F-4246-BCAF-B014EDC2715E}"/>
                </a:ext>
              </a:extLst>
            </p:cNvPr>
            <p:cNvSpPr/>
            <p:nvPr/>
          </p:nvSpPr>
          <p:spPr>
            <a:xfrm>
              <a:off x="14167" y="0"/>
              <a:ext cx="6321665" cy="6350000"/>
            </a:xfrm>
            <a:custGeom>
              <a:avLst/>
              <a:gdLst/>
              <a:ahLst/>
              <a:cxnLst/>
              <a:rect l="l" t="t" r="r" b="b"/>
              <a:pathLst>
                <a:path w="6321665" h="6350000">
                  <a:moveTo>
                    <a:pt x="3160833" y="0"/>
                  </a:moveTo>
                  <a:lnTo>
                    <a:pt x="3160833" y="0"/>
                  </a:lnTo>
                  <a:cubicBezTo>
                    <a:pt x="4908795" y="7817"/>
                    <a:pt x="6321666" y="1427021"/>
                    <a:pt x="6321666" y="3175000"/>
                  </a:cubicBezTo>
                  <a:cubicBezTo>
                    <a:pt x="6321666" y="4922979"/>
                    <a:pt x="4908795" y="6342183"/>
                    <a:pt x="3160833" y="6350000"/>
                  </a:cubicBezTo>
                  <a:cubicBezTo>
                    <a:pt x="1412871" y="6342183"/>
                    <a:pt x="0" y="4922979"/>
                    <a:pt x="0" y="3175000"/>
                  </a:cubicBezTo>
                  <a:cubicBezTo>
                    <a:pt x="0" y="1427021"/>
                    <a:pt x="1412871" y="7817"/>
                    <a:pt x="3160833" y="0"/>
                  </a:cubicBezTo>
                  <a:close/>
                </a:path>
              </a:pathLst>
            </a:custGeom>
            <a:solidFill>
              <a:srgbClr val="EBFDFF"/>
            </a:solidFill>
          </p:spPr>
        </p:sp>
      </p:grpSp>
      <p:sp>
        <p:nvSpPr>
          <p:cNvPr id="30" name="Titre 24">
            <a:extLst>
              <a:ext uri="{FF2B5EF4-FFF2-40B4-BE49-F238E27FC236}">
                <a16:creationId xmlns:a16="http://schemas.microsoft.com/office/drawing/2014/main" id="{30D282FB-F65C-4179-8CF7-2E62DAD8641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5460" y="313723"/>
            <a:ext cx="4070509" cy="539891"/>
          </a:xfrm>
        </p:spPr>
        <p:txBody>
          <a:bodyPr>
            <a:normAutofit/>
          </a:bodyPr>
          <a:lstStyle>
            <a:lvl1pPr>
              <a:defRPr sz="2100"/>
            </a:lvl1pPr>
          </a:lstStyle>
          <a:p>
            <a:r>
              <a:rPr lang="fr-FR" sz="2400">
                <a:solidFill>
                  <a:srgbClr val="F57A30"/>
                </a:solidFill>
                <a:latin typeface="Source Sans Pro Black" panose="020B0803030403020204" pitchFamily="34" charset="0"/>
              </a:rPr>
              <a:t>Titre</a:t>
            </a:r>
          </a:p>
        </p:txBody>
      </p:sp>
      <p:sp>
        <p:nvSpPr>
          <p:cNvPr id="31" name="Espace réservé du contenu 25" descr="Zone de texte&#10;">
            <a:extLst>
              <a:ext uri="{FF2B5EF4-FFF2-40B4-BE49-F238E27FC236}">
                <a16:creationId xmlns:a16="http://schemas.microsoft.com/office/drawing/2014/main" id="{A610562D-5394-4767-807A-6D94C2B94CD6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503701" y="3071544"/>
            <a:ext cx="1730327" cy="494641"/>
          </a:xfrm>
        </p:spPr>
        <p:txBody>
          <a:bodyPr anchor="ctr">
            <a:normAutofit/>
          </a:bodyPr>
          <a:lstStyle>
            <a:lvl1pPr marL="0" indent="0" algn="ctr">
              <a:buNone/>
              <a:defRPr sz="1200">
                <a:solidFill>
                  <a:schemeClr val="bg1"/>
                </a:solidFill>
                <a:latin typeface="Source Sans Pro" panose="020B0503030403020204" pitchFamily="34" charset="0"/>
              </a:defRPr>
            </a:lvl1pPr>
            <a:lvl2pPr>
              <a:defRPr sz="1500">
                <a:solidFill>
                  <a:schemeClr val="bg1"/>
                </a:solidFill>
                <a:latin typeface="Source Sans Pro" panose="020B0503030403020204" pitchFamily="34" charset="0"/>
              </a:defRPr>
            </a:lvl2pPr>
            <a:lvl3pPr>
              <a:defRPr sz="1350">
                <a:solidFill>
                  <a:schemeClr val="bg1"/>
                </a:solidFill>
                <a:latin typeface="Source Sans Pro" panose="020B0503030403020204" pitchFamily="34" charset="0"/>
              </a:defRPr>
            </a:lvl3pPr>
            <a:lvl4pPr>
              <a:defRPr sz="1200">
                <a:solidFill>
                  <a:schemeClr val="bg1"/>
                </a:solidFill>
                <a:latin typeface="Source Sans Pro" panose="020B0503030403020204" pitchFamily="34" charset="0"/>
              </a:defRPr>
            </a:lvl4pPr>
            <a:lvl5pPr>
              <a:defRPr sz="1200">
                <a:solidFill>
                  <a:schemeClr val="bg1"/>
                </a:solidFill>
                <a:latin typeface="Source Sans Pro" panose="020B0503030403020204" pitchFamily="34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32" name="Espace réservé du contenu 25" descr="Zone de texte&#10;">
            <a:extLst>
              <a:ext uri="{FF2B5EF4-FFF2-40B4-BE49-F238E27FC236}">
                <a16:creationId xmlns:a16="http://schemas.microsoft.com/office/drawing/2014/main" id="{7BAD8DC9-498F-43A1-8CBD-6B69FC0489A3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639713" y="2593890"/>
            <a:ext cx="1458304" cy="273844"/>
          </a:xfrm>
        </p:spPr>
        <p:txBody>
          <a:bodyPr anchor="ctr">
            <a:noAutofit/>
          </a:bodyPr>
          <a:lstStyle>
            <a:lvl1pPr marL="0" indent="0" algn="ctr">
              <a:buNone/>
              <a:defRPr sz="1500" b="0" spc="225">
                <a:solidFill>
                  <a:srgbClr val="00727A"/>
                </a:solidFill>
                <a:latin typeface="Source Sans Pro" panose="020B0503030403020204" pitchFamily="34" charset="0"/>
              </a:defRPr>
            </a:lvl1pPr>
            <a:lvl2pPr>
              <a:defRPr sz="1500">
                <a:solidFill>
                  <a:schemeClr val="bg1"/>
                </a:solidFill>
                <a:latin typeface="Source Sans Pro" panose="020B0503030403020204" pitchFamily="34" charset="0"/>
              </a:defRPr>
            </a:lvl2pPr>
            <a:lvl3pPr>
              <a:defRPr sz="1350">
                <a:solidFill>
                  <a:schemeClr val="bg1"/>
                </a:solidFill>
                <a:latin typeface="Source Sans Pro" panose="020B0503030403020204" pitchFamily="34" charset="0"/>
              </a:defRPr>
            </a:lvl3pPr>
            <a:lvl4pPr>
              <a:defRPr sz="1200">
                <a:solidFill>
                  <a:schemeClr val="bg1"/>
                </a:solidFill>
                <a:latin typeface="Source Sans Pro" panose="020B0503030403020204" pitchFamily="34" charset="0"/>
              </a:defRPr>
            </a:lvl4pPr>
            <a:lvl5pPr>
              <a:defRPr sz="1200">
                <a:solidFill>
                  <a:schemeClr val="bg1"/>
                </a:solidFill>
                <a:latin typeface="Source Sans Pro" panose="020B0503030403020204" pitchFamily="34" charset="0"/>
              </a:defRPr>
            </a:lvl5pPr>
          </a:lstStyle>
          <a:p>
            <a:pPr lvl="0"/>
            <a:r>
              <a:rPr lang="fr-FR"/>
              <a:t>ETAPE 1</a:t>
            </a:r>
          </a:p>
        </p:txBody>
      </p:sp>
      <p:sp>
        <p:nvSpPr>
          <p:cNvPr id="33" name="Espace réservé du contenu 25" descr="Zone de texte&#10;">
            <a:extLst>
              <a:ext uri="{FF2B5EF4-FFF2-40B4-BE49-F238E27FC236}">
                <a16:creationId xmlns:a16="http://schemas.microsoft.com/office/drawing/2014/main" id="{10B0EAC6-428B-4124-B9C6-0E1DBFD4B40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2686051" y="3055834"/>
            <a:ext cx="1730327" cy="494641"/>
          </a:xfrm>
        </p:spPr>
        <p:txBody>
          <a:bodyPr anchor="ctr">
            <a:normAutofit/>
          </a:bodyPr>
          <a:lstStyle>
            <a:lvl1pPr marL="0" indent="0" algn="ctr">
              <a:buNone/>
              <a:defRPr sz="1200">
                <a:solidFill>
                  <a:schemeClr val="bg1"/>
                </a:solidFill>
                <a:latin typeface="Source Sans Pro" panose="020B0503030403020204" pitchFamily="34" charset="0"/>
              </a:defRPr>
            </a:lvl1pPr>
            <a:lvl2pPr>
              <a:defRPr sz="1500">
                <a:solidFill>
                  <a:schemeClr val="bg1"/>
                </a:solidFill>
                <a:latin typeface="Source Sans Pro" panose="020B0503030403020204" pitchFamily="34" charset="0"/>
              </a:defRPr>
            </a:lvl2pPr>
            <a:lvl3pPr>
              <a:defRPr sz="1350">
                <a:solidFill>
                  <a:schemeClr val="bg1"/>
                </a:solidFill>
                <a:latin typeface="Source Sans Pro" panose="020B0503030403020204" pitchFamily="34" charset="0"/>
              </a:defRPr>
            </a:lvl3pPr>
            <a:lvl4pPr>
              <a:defRPr sz="1200">
                <a:solidFill>
                  <a:schemeClr val="bg1"/>
                </a:solidFill>
                <a:latin typeface="Source Sans Pro" panose="020B0503030403020204" pitchFamily="34" charset="0"/>
              </a:defRPr>
            </a:lvl4pPr>
            <a:lvl5pPr>
              <a:defRPr sz="1200">
                <a:solidFill>
                  <a:schemeClr val="bg1"/>
                </a:solidFill>
                <a:latin typeface="Source Sans Pro" panose="020B0503030403020204" pitchFamily="34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34" name="Espace réservé du contenu 25" descr="Zone de texte&#10;">
            <a:extLst>
              <a:ext uri="{FF2B5EF4-FFF2-40B4-BE49-F238E27FC236}">
                <a16:creationId xmlns:a16="http://schemas.microsoft.com/office/drawing/2014/main" id="{05311E3E-228E-440F-B695-447E3CFB0C94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2839930" y="2593890"/>
            <a:ext cx="1458304" cy="273844"/>
          </a:xfrm>
        </p:spPr>
        <p:txBody>
          <a:bodyPr anchor="ctr">
            <a:noAutofit/>
          </a:bodyPr>
          <a:lstStyle>
            <a:lvl1pPr marL="0" indent="0" algn="ctr">
              <a:buNone/>
              <a:defRPr sz="1500" b="0" spc="225">
                <a:solidFill>
                  <a:srgbClr val="00727A"/>
                </a:solidFill>
                <a:latin typeface="Source Sans Pro" panose="020B0503030403020204" pitchFamily="34" charset="0"/>
              </a:defRPr>
            </a:lvl1pPr>
            <a:lvl2pPr>
              <a:defRPr sz="1500">
                <a:solidFill>
                  <a:schemeClr val="bg1"/>
                </a:solidFill>
                <a:latin typeface="Source Sans Pro" panose="020B0503030403020204" pitchFamily="34" charset="0"/>
              </a:defRPr>
            </a:lvl2pPr>
            <a:lvl3pPr>
              <a:defRPr sz="1350">
                <a:solidFill>
                  <a:schemeClr val="bg1"/>
                </a:solidFill>
                <a:latin typeface="Source Sans Pro" panose="020B0503030403020204" pitchFamily="34" charset="0"/>
              </a:defRPr>
            </a:lvl3pPr>
            <a:lvl4pPr>
              <a:defRPr sz="1200">
                <a:solidFill>
                  <a:schemeClr val="bg1"/>
                </a:solidFill>
                <a:latin typeface="Source Sans Pro" panose="020B0503030403020204" pitchFamily="34" charset="0"/>
              </a:defRPr>
            </a:lvl4pPr>
            <a:lvl5pPr>
              <a:defRPr sz="1200">
                <a:solidFill>
                  <a:schemeClr val="bg1"/>
                </a:solidFill>
                <a:latin typeface="Source Sans Pro" panose="020B0503030403020204" pitchFamily="34" charset="0"/>
              </a:defRPr>
            </a:lvl5pPr>
          </a:lstStyle>
          <a:p>
            <a:pPr lvl="0"/>
            <a:r>
              <a:rPr lang="fr-FR"/>
              <a:t>ETAPE 2</a:t>
            </a:r>
          </a:p>
        </p:txBody>
      </p:sp>
      <p:sp>
        <p:nvSpPr>
          <p:cNvPr id="35" name="Espace réservé du contenu 25" descr="Zone de texte&#10;">
            <a:extLst>
              <a:ext uri="{FF2B5EF4-FFF2-40B4-BE49-F238E27FC236}">
                <a16:creationId xmlns:a16="http://schemas.microsoft.com/office/drawing/2014/main" id="{CB996FC1-FBF1-490A-B678-2E249DCC3C33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727625" y="3060735"/>
            <a:ext cx="1730327" cy="494641"/>
          </a:xfrm>
        </p:spPr>
        <p:txBody>
          <a:bodyPr anchor="ctr">
            <a:normAutofit/>
          </a:bodyPr>
          <a:lstStyle>
            <a:lvl1pPr marL="0" indent="0" algn="ctr">
              <a:buNone/>
              <a:defRPr sz="1200">
                <a:solidFill>
                  <a:schemeClr val="bg1"/>
                </a:solidFill>
                <a:latin typeface="Source Sans Pro" panose="020B0503030403020204" pitchFamily="34" charset="0"/>
              </a:defRPr>
            </a:lvl1pPr>
            <a:lvl2pPr>
              <a:defRPr sz="1500">
                <a:solidFill>
                  <a:schemeClr val="bg1"/>
                </a:solidFill>
                <a:latin typeface="Source Sans Pro" panose="020B0503030403020204" pitchFamily="34" charset="0"/>
              </a:defRPr>
            </a:lvl2pPr>
            <a:lvl3pPr>
              <a:defRPr sz="1350">
                <a:solidFill>
                  <a:schemeClr val="bg1"/>
                </a:solidFill>
                <a:latin typeface="Source Sans Pro" panose="020B0503030403020204" pitchFamily="34" charset="0"/>
              </a:defRPr>
            </a:lvl3pPr>
            <a:lvl4pPr>
              <a:defRPr sz="1200">
                <a:solidFill>
                  <a:schemeClr val="bg1"/>
                </a:solidFill>
                <a:latin typeface="Source Sans Pro" panose="020B0503030403020204" pitchFamily="34" charset="0"/>
              </a:defRPr>
            </a:lvl4pPr>
            <a:lvl5pPr>
              <a:defRPr sz="1200">
                <a:solidFill>
                  <a:schemeClr val="bg1"/>
                </a:solidFill>
                <a:latin typeface="Source Sans Pro" panose="020B0503030403020204" pitchFamily="34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36" name="Espace réservé du contenu 25" descr="Zone de texte&#10;">
            <a:extLst>
              <a:ext uri="{FF2B5EF4-FFF2-40B4-BE49-F238E27FC236}">
                <a16:creationId xmlns:a16="http://schemas.microsoft.com/office/drawing/2014/main" id="{BA6E210A-F13F-4AB5-B83D-B0E18473259B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4881504" y="2598791"/>
            <a:ext cx="1458304" cy="273844"/>
          </a:xfrm>
        </p:spPr>
        <p:txBody>
          <a:bodyPr anchor="ctr">
            <a:noAutofit/>
          </a:bodyPr>
          <a:lstStyle>
            <a:lvl1pPr marL="0" indent="0" algn="ctr">
              <a:buNone/>
              <a:defRPr sz="1500" b="0" spc="225">
                <a:solidFill>
                  <a:srgbClr val="00727A"/>
                </a:solidFill>
                <a:latin typeface="Source Sans Pro" panose="020B0503030403020204" pitchFamily="34" charset="0"/>
              </a:defRPr>
            </a:lvl1pPr>
            <a:lvl2pPr>
              <a:defRPr sz="1500">
                <a:solidFill>
                  <a:schemeClr val="bg1"/>
                </a:solidFill>
                <a:latin typeface="Source Sans Pro" panose="020B0503030403020204" pitchFamily="34" charset="0"/>
              </a:defRPr>
            </a:lvl2pPr>
            <a:lvl3pPr>
              <a:defRPr sz="1350">
                <a:solidFill>
                  <a:schemeClr val="bg1"/>
                </a:solidFill>
                <a:latin typeface="Source Sans Pro" panose="020B0503030403020204" pitchFamily="34" charset="0"/>
              </a:defRPr>
            </a:lvl3pPr>
            <a:lvl4pPr>
              <a:defRPr sz="1200">
                <a:solidFill>
                  <a:schemeClr val="bg1"/>
                </a:solidFill>
                <a:latin typeface="Source Sans Pro" panose="020B0503030403020204" pitchFamily="34" charset="0"/>
              </a:defRPr>
            </a:lvl4pPr>
            <a:lvl5pPr>
              <a:defRPr sz="1200">
                <a:solidFill>
                  <a:schemeClr val="bg1"/>
                </a:solidFill>
                <a:latin typeface="Source Sans Pro" panose="020B0503030403020204" pitchFamily="34" charset="0"/>
              </a:defRPr>
            </a:lvl5pPr>
          </a:lstStyle>
          <a:p>
            <a:pPr lvl="0"/>
            <a:r>
              <a:rPr lang="fr-FR"/>
              <a:t>ETAPE 3</a:t>
            </a:r>
          </a:p>
        </p:txBody>
      </p:sp>
      <p:sp>
        <p:nvSpPr>
          <p:cNvPr id="37" name="Espace réservé du contenu 25" descr="Zone de texte&#10;">
            <a:extLst>
              <a:ext uri="{FF2B5EF4-FFF2-40B4-BE49-F238E27FC236}">
                <a16:creationId xmlns:a16="http://schemas.microsoft.com/office/drawing/2014/main" id="{4B9805A0-A597-4741-AF15-C3472F172DBE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6823252" y="3064367"/>
            <a:ext cx="1730327" cy="494641"/>
          </a:xfrm>
        </p:spPr>
        <p:txBody>
          <a:bodyPr anchor="ctr">
            <a:normAutofit/>
          </a:bodyPr>
          <a:lstStyle>
            <a:lvl1pPr marL="0" indent="0" algn="ctr">
              <a:buNone/>
              <a:defRPr sz="1200">
                <a:solidFill>
                  <a:schemeClr val="bg1"/>
                </a:solidFill>
                <a:latin typeface="Source Sans Pro" panose="020B0503030403020204" pitchFamily="34" charset="0"/>
              </a:defRPr>
            </a:lvl1pPr>
            <a:lvl2pPr>
              <a:defRPr sz="1500">
                <a:solidFill>
                  <a:schemeClr val="bg1"/>
                </a:solidFill>
                <a:latin typeface="Source Sans Pro" panose="020B0503030403020204" pitchFamily="34" charset="0"/>
              </a:defRPr>
            </a:lvl2pPr>
            <a:lvl3pPr>
              <a:defRPr sz="1350">
                <a:solidFill>
                  <a:schemeClr val="bg1"/>
                </a:solidFill>
                <a:latin typeface="Source Sans Pro" panose="020B0503030403020204" pitchFamily="34" charset="0"/>
              </a:defRPr>
            </a:lvl3pPr>
            <a:lvl4pPr>
              <a:defRPr sz="1200">
                <a:solidFill>
                  <a:schemeClr val="bg1"/>
                </a:solidFill>
                <a:latin typeface="Source Sans Pro" panose="020B0503030403020204" pitchFamily="34" charset="0"/>
              </a:defRPr>
            </a:lvl4pPr>
            <a:lvl5pPr>
              <a:defRPr sz="1200">
                <a:solidFill>
                  <a:schemeClr val="bg1"/>
                </a:solidFill>
                <a:latin typeface="Source Sans Pro" panose="020B0503030403020204" pitchFamily="34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38" name="Espace réservé du contenu 25" descr="Zone de texte&#10;">
            <a:extLst>
              <a:ext uri="{FF2B5EF4-FFF2-40B4-BE49-F238E27FC236}">
                <a16:creationId xmlns:a16="http://schemas.microsoft.com/office/drawing/2014/main" id="{61A86302-6C42-47CD-B7B7-3D946964DBDC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6977132" y="2602422"/>
            <a:ext cx="1458304" cy="273844"/>
          </a:xfrm>
        </p:spPr>
        <p:txBody>
          <a:bodyPr anchor="ctr">
            <a:noAutofit/>
          </a:bodyPr>
          <a:lstStyle>
            <a:lvl1pPr marL="0" indent="0" algn="ctr">
              <a:buNone/>
              <a:defRPr sz="1500" b="0" spc="225">
                <a:solidFill>
                  <a:srgbClr val="00727A"/>
                </a:solidFill>
                <a:latin typeface="Source Sans Pro" panose="020B0503030403020204" pitchFamily="34" charset="0"/>
              </a:defRPr>
            </a:lvl1pPr>
            <a:lvl2pPr>
              <a:defRPr sz="1500">
                <a:solidFill>
                  <a:schemeClr val="bg1"/>
                </a:solidFill>
                <a:latin typeface="Source Sans Pro" panose="020B0503030403020204" pitchFamily="34" charset="0"/>
              </a:defRPr>
            </a:lvl2pPr>
            <a:lvl3pPr>
              <a:defRPr sz="1350">
                <a:solidFill>
                  <a:schemeClr val="bg1"/>
                </a:solidFill>
                <a:latin typeface="Source Sans Pro" panose="020B0503030403020204" pitchFamily="34" charset="0"/>
              </a:defRPr>
            </a:lvl3pPr>
            <a:lvl4pPr>
              <a:defRPr sz="1200">
                <a:solidFill>
                  <a:schemeClr val="bg1"/>
                </a:solidFill>
                <a:latin typeface="Source Sans Pro" panose="020B0503030403020204" pitchFamily="34" charset="0"/>
              </a:defRPr>
            </a:lvl4pPr>
            <a:lvl5pPr>
              <a:defRPr sz="1200">
                <a:solidFill>
                  <a:schemeClr val="bg1"/>
                </a:solidFill>
                <a:latin typeface="Source Sans Pro" panose="020B0503030403020204" pitchFamily="34" charset="0"/>
              </a:defRPr>
            </a:lvl5pPr>
          </a:lstStyle>
          <a:p>
            <a:pPr lvl="0"/>
            <a:r>
              <a:rPr lang="fr-FR"/>
              <a:t>ETAPE 4</a:t>
            </a:r>
          </a:p>
        </p:txBody>
      </p:sp>
    </p:spTree>
    <p:extLst>
      <p:ext uri="{BB962C8B-B14F-4D97-AF65-F5344CB8AC3E}">
        <p14:creationId xmlns:p14="http://schemas.microsoft.com/office/powerpoint/2010/main" val="3085516880"/>
      </p:ext>
    </p:extLst>
  </p:cSld>
  <p:clrMapOvr>
    <a:masterClrMapping/>
  </p:clrMapOvr>
</p:sldLayout>
</file>

<file path=ppt/slideLayouts/slideLayout6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8A4C5E33-3C42-40F8-B52C-D6D214168A7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15ADF45E-58EF-462C-B156-09F42EE8757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C40F468D-E68E-4D0D-BAAE-8525F7452C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48F244-30DD-438A-ADD2-DF4984FBCA8F}" type="slidenum">
              <a:rPr lang="fr-FR" smtClean="0"/>
              <a:t>‹#›</a:t>
            </a:fld>
            <a:endParaRPr lang="fr-FR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8356C16-7859-483E-A954-EC73BC42F461}"/>
              </a:ext>
            </a:extLst>
          </p:cNvPr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FFC8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200"/>
          </a:p>
        </p:txBody>
      </p:sp>
      <p:sp>
        <p:nvSpPr>
          <p:cNvPr id="19" name="AutoShape 17">
            <a:extLst>
              <a:ext uri="{FF2B5EF4-FFF2-40B4-BE49-F238E27FC236}">
                <a16:creationId xmlns:a16="http://schemas.microsoft.com/office/drawing/2014/main" id="{4166F4A3-083E-46A7-9267-4B69249F8A3A}"/>
              </a:ext>
            </a:extLst>
          </p:cNvPr>
          <p:cNvSpPr/>
          <p:nvPr userDrawn="1"/>
        </p:nvSpPr>
        <p:spPr>
          <a:xfrm>
            <a:off x="-100286" y="2365326"/>
            <a:ext cx="9358586" cy="63871"/>
          </a:xfrm>
          <a:prstGeom prst="rect">
            <a:avLst/>
          </a:prstGeom>
          <a:solidFill>
            <a:srgbClr val="EBFDFF"/>
          </a:solidFill>
        </p:spPr>
      </p:sp>
      <p:grpSp>
        <p:nvGrpSpPr>
          <p:cNvPr id="20" name="Group 18">
            <a:extLst>
              <a:ext uri="{FF2B5EF4-FFF2-40B4-BE49-F238E27FC236}">
                <a16:creationId xmlns:a16="http://schemas.microsoft.com/office/drawing/2014/main" id="{AC43398F-956B-4487-8BE7-80F268D415CD}"/>
              </a:ext>
            </a:extLst>
          </p:cNvPr>
          <p:cNvGrpSpPr/>
          <p:nvPr userDrawn="1"/>
        </p:nvGrpSpPr>
        <p:grpSpPr>
          <a:xfrm>
            <a:off x="1263536" y="2291933"/>
            <a:ext cx="210658" cy="210658"/>
            <a:chOff x="0" y="0"/>
            <a:chExt cx="6350000" cy="6350000"/>
          </a:xfrm>
        </p:grpSpPr>
        <p:sp>
          <p:nvSpPr>
            <p:cNvPr id="21" name="Freeform 19">
              <a:extLst>
                <a:ext uri="{FF2B5EF4-FFF2-40B4-BE49-F238E27FC236}">
                  <a16:creationId xmlns:a16="http://schemas.microsoft.com/office/drawing/2014/main" id="{8A07EBC8-91AF-42B4-A71D-5B3B3597928F}"/>
                </a:ext>
              </a:extLst>
            </p:cNvPr>
            <p:cNvSpPr/>
            <p:nvPr/>
          </p:nvSpPr>
          <p:spPr>
            <a:xfrm>
              <a:off x="14167" y="0"/>
              <a:ext cx="6321665" cy="6350000"/>
            </a:xfrm>
            <a:custGeom>
              <a:avLst/>
              <a:gdLst/>
              <a:ahLst/>
              <a:cxnLst/>
              <a:rect l="l" t="t" r="r" b="b"/>
              <a:pathLst>
                <a:path w="6321665" h="6350000">
                  <a:moveTo>
                    <a:pt x="3160833" y="0"/>
                  </a:moveTo>
                  <a:lnTo>
                    <a:pt x="3160833" y="0"/>
                  </a:lnTo>
                  <a:cubicBezTo>
                    <a:pt x="4908795" y="7817"/>
                    <a:pt x="6321666" y="1427021"/>
                    <a:pt x="6321666" y="3175000"/>
                  </a:cubicBezTo>
                  <a:cubicBezTo>
                    <a:pt x="6321666" y="4922979"/>
                    <a:pt x="4908795" y="6342183"/>
                    <a:pt x="3160833" y="6350000"/>
                  </a:cubicBezTo>
                  <a:cubicBezTo>
                    <a:pt x="1412871" y="6342183"/>
                    <a:pt x="0" y="4922979"/>
                    <a:pt x="0" y="3175000"/>
                  </a:cubicBezTo>
                  <a:cubicBezTo>
                    <a:pt x="0" y="1427021"/>
                    <a:pt x="1412871" y="7817"/>
                    <a:pt x="3160833" y="0"/>
                  </a:cubicBezTo>
                  <a:close/>
                </a:path>
              </a:pathLst>
            </a:custGeom>
            <a:solidFill>
              <a:srgbClr val="EBFDFF"/>
            </a:solidFill>
          </p:spPr>
        </p:sp>
      </p:grpSp>
      <p:grpSp>
        <p:nvGrpSpPr>
          <p:cNvPr id="22" name="Group 20">
            <a:extLst>
              <a:ext uri="{FF2B5EF4-FFF2-40B4-BE49-F238E27FC236}">
                <a16:creationId xmlns:a16="http://schemas.microsoft.com/office/drawing/2014/main" id="{741845F1-791E-48FE-BEDB-53A39CEEB977}"/>
              </a:ext>
            </a:extLst>
          </p:cNvPr>
          <p:cNvGrpSpPr/>
          <p:nvPr userDrawn="1"/>
        </p:nvGrpSpPr>
        <p:grpSpPr>
          <a:xfrm>
            <a:off x="3405006" y="2301458"/>
            <a:ext cx="210658" cy="210658"/>
            <a:chOff x="0" y="0"/>
            <a:chExt cx="6350000" cy="6350000"/>
          </a:xfrm>
        </p:grpSpPr>
        <p:sp>
          <p:nvSpPr>
            <p:cNvPr id="23" name="Freeform 21">
              <a:extLst>
                <a:ext uri="{FF2B5EF4-FFF2-40B4-BE49-F238E27FC236}">
                  <a16:creationId xmlns:a16="http://schemas.microsoft.com/office/drawing/2014/main" id="{043A603A-5DDA-4F57-AC59-25B6F1CACE13}"/>
                </a:ext>
              </a:extLst>
            </p:cNvPr>
            <p:cNvSpPr/>
            <p:nvPr/>
          </p:nvSpPr>
          <p:spPr>
            <a:xfrm>
              <a:off x="14167" y="0"/>
              <a:ext cx="6321665" cy="6350000"/>
            </a:xfrm>
            <a:custGeom>
              <a:avLst/>
              <a:gdLst/>
              <a:ahLst/>
              <a:cxnLst/>
              <a:rect l="l" t="t" r="r" b="b"/>
              <a:pathLst>
                <a:path w="6321665" h="6350000">
                  <a:moveTo>
                    <a:pt x="3160833" y="0"/>
                  </a:moveTo>
                  <a:lnTo>
                    <a:pt x="3160833" y="0"/>
                  </a:lnTo>
                  <a:cubicBezTo>
                    <a:pt x="4908795" y="7817"/>
                    <a:pt x="6321666" y="1427021"/>
                    <a:pt x="6321666" y="3175000"/>
                  </a:cubicBezTo>
                  <a:cubicBezTo>
                    <a:pt x="6321666" y="4922979"/>
                    <a:pt x="4908795" y="6342183"/>
                    <a:pt x="3160833" y="6350000"/>
                  </a:cubicBezTo>
                  <a:cubicBezTo>
                    <a:pt x="1412871" y="6342183"/>
                    <a:pt x="0" y="4922979"/>
                    <a:pt x="0" y="3175000"/>
                  </a:cubicBezTo>
                  <a:cubicBezTo>
                    <a:pt x="0" y="1427021"/>
                    <a:pt x="1412871" y="7817"/>
                    <a:pt x="3160833" y="0"/>
                  </a:cubicBezTo>
                  <a:close/>
                </a:path>
              </a:pathLst>
            </a:custGeom>
            <a:solidFill>
              <a:srgbClr val="EBFDFF"/>
            </a:solidFill>
          </p:spPr>
        </p:sp>
      </p:grpSp>
      <p:grpSp>
        <p:nvGrpSpPr>
          <p:cNvPr id="24" name="Group 22">
            <a:extLst>
              <a:ext uri="{FF2B5EF4-FFF2-40B4-BE49-F238E27FC236}">
                <a16:creationId xmlns:a16="http://schemas.microsoft.com/office/drawing/2014/main" id="{71879125-9874-4FDF-90D4-70F5D63C4811}"/>
              </a:ext>
            </a:extLst>
          </p:cNvPr>
          <p:cNvGrpSpPr/>
          <p:nvPr userDrawn="1"/>
        </p:nvGrpSpPr>
        <p:grpSpPr>
          <a:xfrm>
            <a:off x="5546477" y="2291933"/>
            <a:ext cx="210658" cy="210658"/>
            <a:chOff x="0" y="0"/>
            <a:chExt cx="6350000" cy="6350000"/>
          </a:xfrm>
        </p:grpSpPr>
        <p:sp>
          <p:nvSpPr>
            <p:cNvPr id="25" name="Freeform 23">
              <a:extLst>
                <a:ext uri="{FF2B5EF4-FFF2-40B4-BE49-F238E27FC236}">
                  <a16:creationId xmlns:a16="http://schemas.microsoft.com/office/drawing/2014/main" id="{D7D705F1-D7F1-4551-A064-6740BD586F59}"/>
                </a:ext>
              </a:extLst>
            </p:cNvPr>
            <p:cNvSpPr/>
            <p:nvPr/>
          </p:nvSpPr>
          <p:spPr>
            <a:xfrm>
              <a:off x="14167" y="0"/>
              <a:ext cx="6321665" cy="6350000"/>
            </a:xfrm>
            <a:custGeom>
              <a:avLst/>
              <a:gdLst/>
              <a:ahLst/>
              <a:cxnLst/>
              <a:rect l="l" t="t" r="r" b="b"/>
              <a:pathLst>
                <a:path w="6321665" h="6350000">
                  <a:moveTo>
                    <a:pt x="3160833" y="0"/>
                  </a:moveTo>
                  <a:lnTo>
                    <a:pt x="3160833" y="0"/>
                  </a:lnTo>
                  <a:cubicBezTo>
                    <a:pt x="4908795" y="7817"/>
                    <a:pt x="6321666" y="1427021"/>
                    <a:pt x="6321666" y="3175000"/>
                  </a:cubicBezTo>
                  <a:cubicBezTo>
                    <a:pt x="6321666" y="4922979"/>
                    <a:pt x="4908795" y="6342183"/>
                    <a:pt x="3160833" y="6350000"/>
                  </a:cubicBezTo>
                  <a:cubicBezTo>
                    <a:pt x="1412871" y="6342183"/>
                    <a:pt x="0" y="4922979"/>
                    <a:pt x="0" y="3175000"/>
                  </a:cubicBezTo>
                  <a:cubicBezTo>
                    <a:pt x="0" y="1427021"/>
                    <a:pt x="1412871" y="7817"/>
                    <a:pt x="3160833" y="0"/>
                  </a:cubicBezTo>
                  <a:close/>
                </a:path>
              </a:pathLst>
            </a:custGeom>
            <a:solidFill>
              <a:srgbClr val="EBFDFF"/>
            </a:solidFill>
          </p:spPr>
        </p:sp>
      </p:grpSp>
      <p:grpSp>
        <p:nvGrpSpPr>
          <p:cNvPr id="26" name="Group 24">
            <a:extLst>
              <a:ext uri="{FF2B5EF4-FFF2-40B4-BE49-F238E27FC236}">
                <a16:creationId xmlns:a16="http://schemas.microsoft.com/office/drawing/2014/main" id="{18C0EFBD-F6AF-4CC9-A3E9-3C4683141019}"/>
              </a:ext>
            </a:extLst>
          </p:cNvPr>
          <p:cNvGrpSpPr/>
          <p:nvPr userDrawn="1"/>
        </p:nvGrpSpPr>
        <p:grpSpPr>
          <a:xfrm>
            <a:off x="7687946" y="2291933"/>
            <a:ext cx="210658" cy="210658"/>
            <a:chOff x="0" y="0"/>
            <a:chExt cx="6350000" cy="6350000"/>
          </a:xfrm>
        </p:grpSpPr>
        <p:sp>
          <p:nvSpPr>
            <p:cNvPr id="27" name="Freeform 25">
              <a:extLst>
                <a:ext uri="{FF2B5EF4-FFF2-40B4-BE49-F238E27FC236}">
                  <a16:creationId xmlns:a16="http://schemas.microsoft.com/office/drawing/2014/main" id="{1899A9D2-5A9F-4246-BCAF-B014EDC2715E}"/>
                </a:ext>
              </a:extLst>
            </p:cNvPr>
            <p:cNvSpPr/>
            <p:nvPr/>
          </p:nvSpPr>
          <p:spPr>
            <a:xfrm>
              <a:off x="14167" y="0"/>
              <a:ext cx="6321665" cy="6350000"/>
            </a:xfrm>
            <a:custGeom>
              <a:avLst/>
              <a:gdLst/>
              <a:ahLst/>
              <a:cxnLst/>
              <a:rect l="l" t="t" r="r" b="b"/>
              <a:pathLst>
                <a:path w="6321665" h="6350000">
                  <a:moveTo>
                    <a:pt x="3160833" y="0"/>
                  </a:moveTo>
                  <a:lnTo>
                    <a:pt x="3160833" y="0"/>
                  </a:lnTo>
                  <a:cubicBezTo>
                    <a:pt x="4908795" y="7817"/>
                    <a:pt x="6321666" y="1427021"/>
                    <a:pt x="6321666" y="3175000"/>
                  </a:cubicBezTo>
                  <a:cubicBezTo>
                    <a:pt x="6321666" y="4922979"/>
                    <a:pt x="4908795" y="6342183"/>
                    <a:pt x="3160833" y="6350000"/>
                  </a:cubicBezTo>
                  <a:cubicBezTo>
                    <a:pt x="1412871" y="6342183"/>
                    <a:pt x="0" y="4922979"/>
                    <a:pt x="0" y="3175000"/>
                  </a:cubicBezTo>
                  <a:cubicBezTo>
                    <a:pt x="0" y="1427021"/>
                    <a:pt x="1412871" y="7817"/>
                    <a:pt x="3160833" y="0"/>
                  </a:cubicBezTo>
                  <a:close/>
                </a:path>
              </a:pathLst>
            </a:custGeom>
            <a:solidFill>
              <a:srgbClr val="EBFDFF"/>
            </a:solidFill>
          </p:spPr>
        </p:sp>
      </p:grpSp>
      <p:sp>
        <p:nvSpPr>
          <p:cNvPr id="30" name="Titre 24">
            <a:extLst>
              <a:ext uri="{FF2B5EF4-FFF2-40B4-BE49-F238E27FC236}">
                <a16:creationId xmlns:a16="http://schemas.microsoft.com/office/drawing/2014/main" id="{30D282FB-F65C-4179-8CF7-2E62DAD8641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5460" y="313723"/>
            <a:ext cx="4070509" cy="539891"/>
          </a:xfrm>
        </p:spPr>
        <p:txBody>
          <a:bodyPr>
            <a:normAutofit/>
          </a:bodyPr>
          <a:lstStyle>
            <a:lvl1pPr>
              <a:defRPr sz="2100"/>
            </a:lvl1pPr>
          </a:lstStyle>
          <a:p>
            <a:r>
              <a:rPr lang="fr-FR" sz="2400">
                <a:solidFill>
                  <a:srgbClr val="F57A30"/>
                </a:solidFill>
                <a:latin typeface="Source Sans Pro Black" panose="020B0803030403020204" pitchFamily="34" charset="0"/>
              </a:rPr>
              <a:t>Titre</a:t>
            </a:r>
          </a:p>
        </p:txBody>
      </p:sp>
      <p:sp>
        <p:nvSpPr>
          <p:cNvPr id="31" name="Espace réservé du contenu 25" descr="Zone de texte&#10;">
            <a:extLst>
              <a:ext uri="{FF2B5EF4-FFF2-40B4-BE49-F238E27FC236}">
                <a16:creationId xmlns:a16="http://schemas.microsoft.com/office/drawing/2014/main" id="{A610562D-5394-4767-807A-6D94C2B94CD6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503701" y="3071544"/>
            <a:ext cx="1730327" cy="494641"/>
          </a:xfrm>
        </p:spPr>
        <p:txBody>
          <a:bodyPr anchor="ctr">
            <a:normAutofit/>
          </a:bodyPr>
          <a:lstStyle>
            <a:lvl1pPr marL="0" indent="0" algn="ctr">
              <a:buNone/>
              <a:defRPr sz="1200">
                <a:solidFill>
                  <a:schemeClr val="bg1"/>
                </a:solidFill>
                <a:latin typeface="Source Sans Pro" panose="020B0503030403020204" pitchFamily="34" charset="0"/>
              </a:defRPr>
            </a:lvl1pPr>
            <a:lvl2pPr>
              <a:defRPr sz="1500">
                <a:solidFill>
                  <a:schemeClr val="bg1"/>
                </a:solidFill>
                <a:latin typeface="Source Sans Pro" panose="020B0503030403020204" pitchFamily="34" charset="0"/>
              </a:defRPr>
            </a:lvl2pPr>
            <a:lvl3pPr>
              <a:defRPr sz="1350">
                <a:solidFill>
                  <a:schemeClr val="bg1"/>
                </a:solidFill>
                <a:latin typeface="Source Sans Pro" panose="020B0503030403020204" pitchFamily="34" charset="0"/>
              </a:defRPr>
            </a:lvl3pPr>
            <a:lvl4pPr>
              <a:defRPr sz="1200">
                <a:solidFill>
                  <a:schemeClr val="bg1"/>
                </a:solidFill>
                <a:latin typeface="Source Sans Pro" panose="020B0503030403020204" pitchFamily="34" charset="0"/>
              </a:defRPr>
            </a:lvl4pPr>
            <a:lvl5pPr>
              <a:defRPr sz="1200">
                <a:solidFill>
                  <a:schemeClr val="bg1"/>
                </a:solidFill>
                <a:latin typeface="Source Sans Pro" panose="020B0503030403020204" pitchFamily="34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32" name="Espace réservé du contenu 25" descr="Zone de texte&#10;">
            <a:extLst>
              <a:ext uri="{FF2B5EF4-FFF2-40B4-BE49-F238E27FC236}">
                <a16:creationId xmlns:a16="http://schemas.microsoft.com/office/drawing/2014/main" id="{7BAD8DC9-498F-43A1-8CBD-6B69FC0489A3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639713" y="2593890"/>
            <a:ext cx="1458304" cy="273844"/>
          </a:xfrm>
        </p:spPr>
        <p:txBody>
          <a:bodyPr anchor="ctr">
            <a:noAutofit/>
          </a:bodyPr>
          <a:lstStyle>
            <a:lvl1pPr marL="0" indent="0" algn="ctr">
              <a:buNone/>
              <a:defRPr sz="1500" b="0" spc="225">
                <a:solidFill>
                  <a:srgbClr val="00727A"/>
                </a:solidFill>
                <a:latin typeface="Source Sans Pro" panose="020B0503030403020204" pitchFamily="34" charset="0"/>
              </a:defRPr>
            </a:lvl1pPr>
            <a:lvl2pPr>
              <a:defRPr sz="1500">
                <a:solidFill>
                  <a:schemeClr val="bg1"/>
                </a:solidFill>
                <a:latin typeface="Source Sans Pro" panose="020B0503030403020204" pitchFamily="34" charset="0"/>
              </a:defRPr>
            </a:lvl2pPr>
            <a:lvl3pPr>
              <a:defRPr sz="1350">
                <a:solidFill>
                  <a:schemeClr val="bg1"/>
                </a:solidFill>
                <a:latin typeface="Source Sans Pro" panose="020B0503030403020204" pitchFamily="34" charset="0"/>
              </a:defRPr>
            </a:lvl3pPr>
            <a:lvl4pPr>
              <a:defRPr sz="1200">
                <a:solidFill>
                  <a:schemeClr val="bg1"/>
                </a:solidFill>
                <a:latin typeface="Source Sans Pro" panose="020B0503030403020204" pitchFamily="34" charset="0"/>
              </a:defRPr>
            </a:lvl4pPr>
            <a:lvl5pPr>
              <a:defRPr sz="1200">
                <a:solidFill>
                  <a:schemeClr val="bg1"/>
                </a:solidFill>
                <a:latin typeface="Source Sans Pro" panose="020B0503030403020204" pitchFamily="34" charset="0"/>
              </a:defRPr>
            </a:lvl5pPr>
          </a:lstStyle>
          <a:p>
            <a:pPr lvl="0"/>
            <a:r>
              <a:rPr lang="fr-FR"/>
              <a:t>ETAPE 1</a:t>
            </a:r>
          </a:p>
        </p:txBody>
      </p:sp>
      <p:sp>
        <p:nvSpPr>
          <p:cNvPr id="33" name="Espace réservé du contenu 25" descr="Zone de texte&#10;">
            <a:extLst>
              <a:ext uri="{FF2B5EF4-FFF2-40B4-BE49-F238E27FC236}">
                <a16:creationId xmlns:a16="http://schemas.microsoft.com/office/drawing/2014/main" id="{10B0EAC6-428B-4124-B9C6-0E1DBFD4B40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2686051" y="3055834"/>
            <a:ext cx="1730327" cy="494641"/>
          </a:xfrm>
        </p:spPr>
        <p:txBody>
          <a:bodyPr anchor="ctr">
            <a:normAutofit/>
          </a:bodyPr>
          <a:lstStyle>
            <a:lvl1pPr marL="0" indent="0" algn="ctr">
              <a:buNone/>
              <a:defRPr sz="1200">
                <a:solidFill>
                  <a:schemeClr val="bg1"/>
                </a:solidFill>
                <a:latin typeface="Source Sans Pro" panose="020B0503030403020204" pitchFamily="34" charset="0"/>
              </a:defRPr>
            </a:lvl1pPr>
            <a:lvl2pPr>
              <a:defRPr sz="1500">
                <a:solidFill>
                  <a:schemeClr val="bg1"/>
                </a:solidFill>
                <a:latin typeface="Source Sans Pro" panose="020B0503030403020204" pitchFamily="34" charset="0"/>
              </a:defRPr>
            </a:lvl2pPr>
            <a:lvl3pPr>
              <a:defRPr sz="1350">
                <a:solidFill>
                  <a:schemeClr val="bg1"/>
                </a:solidFill>
                <a:latin typeface="Source Sans Pro" panose="020B0503030403020204" pitchFamily="34" charset="0"/>
              </a:defRPr>
            </a:lvl3pPr>
            <a:lvl4pPr>
              <a:defRPr sz="1200">
                <a:solidFill>
                  <a:schemeClr val="bg1"/>
                </a:solidFill>
                <a:latin typeface="Source Sans Pro" panose="020B0503030403020204" pitchFamily="34" charset="0"/>
              </a:defRPr>
            </a:lvl4pPr>
            <a:lvl5pPr>
              <a:defRPr sz="1200">
                <a:solidFill>
                  <a:schemeClr val="bg1"/>
                </a:solidFill>
                <a:latin typeface="Source Sans Pro" panose="020B0503030403020204" pitchFamily="34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34" name="Espace réservé du contenu 25" descr="Zone de texte&#10;">
            <a:extLst>
              <a:ext uri="{FF2B5EF4-FFF2-40B4-BE49-F238E27FC236}">
                <a16:creationId xmlns:a16="http://schemas.microsoft.com/office/drawing/2014/main" id="{05311E3E-228E-440F-B695-447E3CFB0C94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2839930" y="2593890"/>
            <a:ext cx="1458304" cy="273844"/>
          </a:xfrm>
        </p:spPr>
        <p:txBody>
          <a:bodyPr anchor="ctr">
            <a:noAutofit/>
          </a:bodyPr>
          <a:lstStyle>
            <a:lvl1pPr marL="0" indent="0" algn="ctr">
              <a:buNone/>
              <a:defRPr sz="1500" b="0" spc="225">
                <a:solidFill>
                  <a:srgbClr val="00727A"/>
                </a:solidFill>
                <a:latin typeface="Source Sans Pro" panose="020B0503030403020204" pitchFamily="34" charset="0"/>
              </a:defRPr>
            </a:lvl1pPr>
            <a:lvl2pPr>
              <a:defRPr sz="1500">
                <a:solidFill>
                  <a:schemeClr val="bg1"/>
                </a:solidFill>
                <a:latin typeface="Source Sans Pro" panose="020B0503030403020204" pitchFamily="34" charset="0"/>
              </a:defRPr>
            </a:lvl2pPr>
            <a:lvl3pPr>
              <a:defRPr sz="1350">
                <a:solidFill>
                  <a:schemeClr val="bg1"/>
                </a:solidFill>
                <a:latin typeface="Source Sans Pro" panose="020B0503030403020204" pitchFamily="34" charset="0"/>
              </a:defRPr>
            </a:lvl3pPr>
            <a:lvl4pPr>
              <a:defRPr sz="1200">
                <a:solidFill>
                  <a:schemeClr val="bg1"/>
                </a:solidFill>
                <a:latin typeface="Source Sans Pro" panose="020B0503030403020204" pitchFamily="34" charset="0"/>
              </a:defRPr>
            </a:lvl4pPr>
            <a:lvl5pPr>
              <a:defRPr sz="1200">
                <a:solidFill>
                  <a:schemeClr val="bg1"/>
                </a:solidFill>
                <a:latin typeface="Source Sans Pro" panose="020B0503030403020204" pitchFamily="34" charset="0"/>
              </a:defRPr>
            </a:lvl5pPr>
          </a:lstStyle>
          <a:p>
            <a:pPr lvl="0"/>
            <a:r>
              <a:rPr lang="fr-FR"/>
              <a:t>ETAPE 2</a:t>
            </a:r>
          </a:p>
        </p:txBody>
      </p:sp>
      <p:sp>
        <p:nvSpPr>
          <p:cNvPr id="35" name="Espace réservé du contenu 25" descr="Zone de texte&#10;">
            <a:extLst>
              <a:ext uri="{FF2B5EF4-FFF2-40B4-BE49-F238E27FC236}">
                <a16:creationId xmlns:a16="http://schemas.microsoft.com/office/drawing/2014/main" id="{CB996FC1-FBF1-490A-B678-2E249DCC3C33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727625" y="3060735"/>
            <a:ext cx="1730327" cy="494641"/>
          </a:xfrm>
        </p:spPr>
        <p:txBody>
          <a:bodyPr anchor="ctr">
            <a:normAutofit/>
          </a:bodyPr>
          <a:lstStyle>
            <a:lvl1pPr marL="0" indent="0" algn="ctr">
              <a:buNone/>
              <a:defRPr sz="1200">
                <a:solidFill>
                  <a:schemeClr val="bg1"/>
                </a:solidFill>
                <a:latin typeface="Source Sans Pro" panose="020B0503030403020204" pitchFamily="34" charset="0"/>
              </a:defRPr>
            </a:lvl1pPr>
            <a:lvl2pPr>
              <a:defRPr sz="1500">
                <a:solidFill>
                  <a:schemeClr val="bg1"/>
                </a:solidFill>
                <a:latin typeface="Source Sans Pro" panose="020B0503030403020204" pitchFamily="34" charset="0"/>
              </a:defRPr>
            </a:lvl2pPr>
            <a:lvl3pPr>
              <a:defRPr sz="1350">
                <a:solidFill>
                  <a:schemeClr val="bg1"/>
                </a:solidFill>
                <a:latin typeface="Source Sans Pro" panose="020B0503030403020204" pitchFamily="34" charset="0"/>
              </a:defRPr>
            </a:lvl3pPr>
            <a:lvl4pPr>
              <a:defRPr sz="1200">
                <a:solidFill>
                  <a:schemeClr val="bg1"/>
                </a:solidFill>
                <a:latin typeface="Source Sans Pro" panose="020B0503030403020204" pitchFamily="34" charset="0"/>
              </a:defRPr>
            </a:lvl4pPr>
            <a:lvl5pPr>
              <a:defRPr sz="1200">
                <a:solidFill>
                  <a:schemeClr val="bg1"/>
                </a:solidFill>
                <a:latin typeface="Source Sans Pro" panose="020B0503030403020204" pitchFamily="34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36" name="Espace réservé du contenu 25" descr="Zone de texte&#10;">
            <a:extLst>
              <a:ext uri="{FF2B5EF4-FFF2-40B4-BE49-F238E27FC236}">
                <a16:creationId xmlns:a16="http://schemas.microsoft.com/office/drawing/2014/main" id="{BA6E210A-F13F-4AB5-B83D-B0E18473259B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4881504" y="2598791"/>
            <a:ext cx="1458304" cy="273844"/>
          </a:xfrm>
        </p:spPr>
        <p:txBody>
          <a:bodyPr anchor="ctr">
            <a:noAutofit/>
          </a:bodyPr>
          <a:lstStyle>
            <a:lvl1pPr marL="0" indent="0" algn="ctr">
              <a:buNone/>
              <a:defRPr sz="1500" b="0" spc="225">
                <a:solidFill>
                  <a:srgbClr val="00727A"/>
                </a:solidFill>
                <a:latin typeface="Source Sans Pro" panose="020B0503030403020204" pitchFamily="34" charset="0"/>
              </a:defRPr>
            </a:lvl1pPr>
            <a:lvl2pPr>
              <a:defRPr sz="1500">
                <a:solidFill>
                  <a:schemeClr val="bg1"/>
                </a:solidFill>
                <a:latin typeface="Source Sans Pro" panose="020B0503030403020204" pitchFamily="34" charset="0"/>
              </a:defRPr>
            </a:lvl2pPr>
            <a:lvl3pPr>
              <a:defRPr sz="1350">
                <a:solidFill>
                  <a:schemeClr val="bg1"/>
                </a:solidFill>
                <a:latin typeface="Source Sans Pro" panose="020B0503030403020204" pitchFamily="34" charset="0"/>
              </a:defRPr>
            </a:lvl3pPr>
            <a:lvl4pPr>
              <a:defRPr sz="1200">
                <a:solidFill>
                  <a:schemeClr val="bg1"/>
                </a:solidFill>
                <a:latin typeface="Source Sans Pro" panose="020B0503030403020204" pitchFamily="34" charset="0"/>
              </a:defRPr>
            </a:lvl4pPr>
            <a:lvl5pPr>
              <a:defRPr sz="1200">
                <a:solidFill>
                  <a:schemeClr val="bg1"/>
                </a:solidFill>
                <a:latin typeface="Source Sans Pro" panose="020B0503030403020204" pitchFamily="34" charset="0"/>
              </a:defRPr>
            </a:lvl5pPr>
          </a:lstStyle>
          <a:p>
            <a:pPr lvl="0"/>
            <a:r>
              <a:rPr lang="fr-FR"/>
              <a:t>ETAPE 3</a:t>
            </a:r>
          </a:p>
        </p:txBody>
      </p:sp>
      <p:sp>
        <p:nvSpPr>
          <p:cNvPr id="37" name="Espace réservé du contenu 25" descr="Zone de texte&#10;">
            <a:extLst>
              <a:ext uri="{FF2B5EF4-FFF2-40B4-BE49-F238E27FC236}">
                <a16:creationId xmlns:a16="http://schemas.microsoft.com/office/drawing/2014/main" id="{4B9805A0-A597-4741-AF15-C3472F172DBE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6823252" y="3064367"/>
            <a:ext cx="1730327" cy="494641"/>
          </a:xfrm>
        </p:spPr>
        <p:txBody>
          <a:bodyPr anchor="ctr">
            <a:normAutofit/>
          </a:bodyPr>
          <a:lstStyle>
            <a:lvl1pPr marL="0" indent="0" algn="ctr">
              <a:buNone/>
              <a:defRPr sz="1200">
                <a:solidFill>
                  <a:schemeClr val="bg1"/>
                </a:solidFill>
                <a:latin typeface="Source Sans Pro" panose="020B0503030403020204" pitchFamily="34" charset="0"/>
              </a:defRPr>
            </a:lvl1pPr>
            <a:lvl2pPr>
              <a:defRPr sz="1500">
                <a:solidFill>
                  <a:schemeClr val="bg1"/>
                </a:solidFill>
                <a:latin typeface="Source Sans Pro" panose="020B0503030403020204" pitchFamily="34" charset="0"/>
              </a:defRPr>
            </a:lvl2pPr>
            <a:lvl3pPr>
              <a:defRPr sz="1350">
                <a:solidFill>
                  <a:schemeClr val="bg1"/>
                </a:solidFill>
                <a:latin typeface="Source Sans Pro" panose="020B0503030403020204" pitchFamily="34" charset="0"/>
              </a:defRPr>
            </a:lvl3pPr>
            <a:lvl4pPr>
              <a:defRPr sz="1200">
                <a:solidFill>
                  <a:schemeClr val="bg1"/>
                </a:solidFill>
                <a:latin typeface="Source Sans Pro" panose="020B0503030403020204" pitchFamily="34" charset="0"/>
              </a:defRPr>
            </a:lvl4pPr>
            <a:lvl5pPr>
              <a:defRPr sz="1200">
                <a:solidFill>
                  <a:schemeClr val="bg1"/>
                </a:solidFill>
                <a:latin typeface="Source Sans Pro" panose="020B0503030403020204" pitchFamily="34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38" name="Espace réservé du contenu 25" descr="Zone de texte&#10;">
            <a:extLst>
              <a:ext uri="{FF2B5EF4-FFF2-40B4-BE49-F238E27FC236}">
                <a16:creationId xmlns:a16="http://schemas.microsoft.com/office/drawing/2014/main" id="{61A86302-6C42-47CD-B7B7-3D946964DBDC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6977132" y="2602422"/>
            <a:ext cx="1458304" cy="273844"/>
          </a:xfrm>
        </p:spPr>
        <p:txBody>
          <a:bodyPr anchor="ctr">
            <a:noAutofit/>
          </a:bodyPr>
          <a:lstStyle>
            <a:lvl1pPr marL="0" indent="0" algn="ctr">
              <a:buNone/>
              <a:defRPr sz="1500" b="0" spc="225">
                <a:solidFill>
                  <a:srgbClr val="00727A"/>
                </a:solidFill>
                <a:latin typeface="Source Sans Pro" panose="020B0503030403020204" pitchFamily="34" charset="0"/>
              </a:defRPr>
            </a:lvl1pPr>
            <a:lvl2pPr>
              <a:defRPr sz="1500">
                <a:solidFill>
                  <a:schemeClr val="bg1"/>
                </a:solidFill>
                <a:latin typeface="Source Sans Pro" panose="020B0503030403020204" pitchFamily="34" charset="0"/>
              </a:defRPr>
            </a:lvl2pPr>
            <a:lvl3pPr>
              <a:defRPr sz="1350">
                <a:solidFill>
                  <a:schemeClr val="bg1"/>
                </a:solidFill>
                <a:latin typeface="Source Sans Pro" panose="020B0503030403020204" pitchFamily="34" charset="0"/>
              </a:defRPr>
            </a:lvl3pPr>
            <a:lvl4pPr>
              <a:defRPr sz="1200">
                <a:solidFill>
                  <a:schemeClr val="bg1"/>
                </a:solidFill>
                <a:latin typeface="Source Sans Pro" panose="020B0503030403020204" pitchFamily="34" charset="0"/>
              </a:defRPr>
            </a:lvl4pPr>
            <a:lvl5pPr>
              <a:defRPr sz="1200">
                <a:solidFill>
                  <a:schemeClr val="bg1"/>
                </a:solidFill>
                <a:latin typeface="Source Sans Pro" panose="020B0503030403020204" pitchFamily="34" charset="0"/>
              </a:defRPr>
            </a:lvl5pPr>
          </a:lstStyle>
          <a:p>
            <a:pPr lvl="0"/>
            <a:r>
              <a:rPr lang="fr-FR"/>
              <a:t>ETAPE 4</a:t>
            </a:r>
          </a:p>
        </p:txBody>
      </p:sp>
    </p:spTree>
    <p:extLst>
      <p:ext uri="{BB962C8B-B14F-4D97-AF65-F5344CB8AC3E}">
        <p14:creationId xmlns:p14="http://schemas.microsoft.com/office/powerpoint/2010/main" val="3085516880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01ECB762-E1D1-489C-A369-EAF2DF26C88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6402167C-5FBB-4F1A-A700-46FACDAE74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FACE2C89-85B1-4901-9F91-33225B57D9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48F244-30DD-438A-ADD2-DF4984FBCA8F}" type="slidenum">
              <a:rPr lang="fr-FR" smtClean="0"/>
              <a:t>‹#›</a:t>
            </a:fld>
            <a:endParaRPr lang="fr-FR"/>
          </a:p>
        </p:txBody>
      </p:sp>
      <p:sp>
        <p:nvSpPr>
          <p:cNvPr id="6" name="Rectangle : avec coins arrondis en diagonale 5">
            <a:extLst>
              <a:ext uri="{FF2B5EF4-FFF2-40B4-BE49-F238E27FC236}">
                <a16:creationId xmlns:a16="http://schemas.microsoft.com/office/drawing/2014/main" id="{5450CF1C-6A68-4171-B104-1DA62077DB34}"/>
              </a:ext>
            </a:extLst>
          </p:cNvPr>
          <p:cNvSpPr/>
          <p:nvPr userDrawn="1"/>
        </p:nvSpPr>
        <p:spPr>
          <a:xfrm>
            <a:off x="-358849" y="-525309"/>
            <a:ext cx="9856382" cy="5955632"/>
          </a:xfrm>
          <a:prstGeom prst="round2DiagRect">
            <a:avLst/>
          </a:prstGeom>
          <a:solidFill>
            <a:srgbClr val="D6EC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2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EF42673-DD2E-46DC-914B-D34C2AB0F781}"/>
              </a:ext>
            </a:extLst>
          </p:cNvPr>
          <p:cNvSpPr/>
          <p:nvPr userDrawn="1"/>
        </p:nvSpPr>
        <p:spPr>
          <a:xfrm>
            <a:off x="2248786" y="1174512"/>
            <a:ext cx="6895214" cy="940982"/>
          </a:xfrm>
          <a:prstGeom prst="rect">
            <a:avLst/>
          </a:prstGeom>
          <a:solidFill>
            <a:srgbClr val="0072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20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AE46D28-F705-41BE-81E6-BC7D285EF2E9}"/>
              </a:ext>
            </a:extLst>
          </p:cNvPr>
          <p:cNvSpPr/>
          <p:nvPr userDrawn="1"/>
        </p:nvSpPr>
        <p:spPr>
          <a:xfrm>
            <a:off x="-180473" y="2150669"/>
            <a:ext cx="6895214" cy="940982"/>
          </a:xfrm>
          <a:prstGeom prst="rect">
            <a:avLst/>
          </a:prstGeom>
          <a:solidFill>
            <a:srgbClr val="0072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20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7845561-C267-4147-9405-F5C3F37AAE2F}"/>
              </a:ext>
            </a:extLst>
          </p:cNvPr>
          <p:cNvSpPr/>
          <p:nvPr userDrawn="1"/>
        </p:nvSpPr>
        <p:spPr>
          <a:xfrm>
            <a:off x="2248786" y="3134800"/>
            <a:ext cx="6895214" cy="940982"/>
          </a:xfrm>
          <a:prstGeom prst="rect">
            <a:avLst/>
          </a:prstGeom>
          <a:solidFill>
            <a:srgbClr val="0072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200"/>
          </a:p>
        </p:txBody>
      </p:sp>
      <p:pic>
        <p:nvPicPr>
          <p:cNvPr id="12" name="Picture 4">
            <a:extLst>
              <a:ext uri="{FF2B5EF4-FFF2-40B4-BE49-F238E27FC236}">
                <a16:creationId xmlns:a16="http://schemas.microsoft.com/office/drawing/2014/main" id="{D869B682-3FD7-4CD8-8F29-5184B5DDEB5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</a:extLst>
          </a:blip>
          <a:srcRect t="20016" b="25809"/>
          <a:stretch/>
        </p:blipFill>
        <p:spPr>
          <a:xfrm>
            <a:off x="-180473" y="1174512"/>
            <a:ext cx="2429259" cy="940982"/>
          </a:xfrm>
          <a:prstGeom prst="rect">
            <a:avLst/>
          </a:prstGeom>
        </p:spPr>
      </p:pic>
      <p:pic>
        <p:nvPicPr>
          <p:cNvPr id="13" name="Picture 5">
            <a:extLst>
              <a:ext uri="{FF2B5EF4-FFF2-40B4-BE49-F238E27FC236}">
                <a16:creationId xmlns:a16="http://schemas.microsoft.com/office/drawing/2014/main" id="{B3F9F2D9-8636-471B-A274-E2E57F92138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aturation sat="0"/>
                    </a14:imgEffect>
                  </a14:imgLayer>
                </a14:imgProps>
              </a:ext>
            </a:extLst>
          </a:blip>
          <a:srcRect t="8227" b="33687"/>
          <a:stretch/>
        </p:blipFill>
        <p:spPr>
          <a:xfrm>
            <a:off x="-180473" y="3134800"/>
            <a:ext cx="2429259" cy="940982"/>
          </a:xfrm>
          <a:prstGeom prst="rect">
            <a:avLst/>
          </a:prstGeom>
        </p:spPr>
      </p:pic>
      <p:pic>
        <p:nvPicPr>
          <p:cNvPr id="14" name="Picture 8">
            <a:extLst>
              <a:ext uri="{FF2B5EF4-FFF2-40B4-BE49-F238E27FC236}">
                <a16:creationId xmlns:a16="http://schemas.microsoft.com/office/drawing/2014/main" id="{FD817788-EF42-4763-9E60-EB466687FBE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0"/>
                    </a14:imgEffect>
                  </a14:imgLayer>
                </a14:imgProps>
              </a:ext>
            </a:extLst>
          </a:blip>
          <a:srcRect l="14467" t="31585" r="10866" b="16768"/>
          <a:stretch/>
        </p:blipFill>
        <p:spPr>
          <a:xfrm>
            <a:off x="6714741" y="2150670"/>
            <a:ext cx="2429259" cy="940982"/>
          </a:xfrm>
          <a:prstGeom prst="rect">
            <a:avLst/>
          </a:prstGeom>
        </p:spPr>
      </p:pic>
      <p:sp>
        <p:nvSpPr>
          <p:cNvPr id="19" name="Titre 18">
            <a:extLst>
              <a:ext uri="{FF2B5EF4-FFF2-40B4-BE49-F238E27FC236}">
                <a16:creationId xmlns:a16="http://schemas.microsoft.com/office/drawing/2014/main" id="{9CCE22BB-6AF9-409C-9F16-2CB9BF5C888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-180473" y="-27936"/>
            <a:ext cx="7886700" cy="994172"/>
          </a:xfrm>
        </p:spPr>
        <p:txBody>
          <a:bodyPr>
            <a:normAutofit/>
          </a:bodyPr>
          <a:lstStyle>
            <a:lvl1pPr>
              <a:defRPr sz="2400" b="1">
                <a:solidFill>
                  <a:srgbClr val="00727A"/>
                </a:solidFill>
                <a:latin typeface="Source Sans Pro Black" panose="020B0803030403020204" pitchFamily="34" charset="0"/>
              </a:defRPr>
            </a:lvl1pPr>
          </a:lstStyle>
          <a:p>
            <a:r>
              <a:rPr lang="fr-FR"/>
              <a:t>Titre</a:t>
            </a:r>
          </a:p>
        </p:txBody>
      </p:sp>
      <p:sp>
        <p:nvSpPr>
          <p:cNvPr id="20" name="Espace réservé du contenu 25" descr="Zone de texte&#10;">
            <a:extLst>
              <a:ext uri="{FF2B5EF4-FFF2-40B4-BE49-F238E27FC236}">
                <a16:creationId xmlns:a16="http://schemas.microsoft.com/office/drawing/2014/main" id="{BC2B42E5-BB29-49FC-9771-EC21DEDF1DBD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-180473" y="2286403"/>
            <a:ext cx="6936581" cy="669515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Source Sans Pro" panose="020B0503030403020204" pitchFamily="34" charset="0"/>
              </a:defRPr>
            </a:lvl1pPr>
            <a:lvl2pPr>
              <a:defRPr sz="1500">
                <a:solidFill>
                  <a:schemeClr val="bg1"/>
                </a:solidFill>
                <a:latin typeface="Source Sans Pro" panose="020B0503030403020204" pitchFamily="34" charset="0"/>
              </a:defRPr>
            </a:lvl2pPr>
            <a:lvl3pPr>
              <a:defRPr sz="1350">
                <a:solidFill>
                  <a:schemeClr val="bg1"/>
                </a:solidFill>
                <a:latin typeface="Source Sans Pro" panose="020B0503030403020204" pitchFamily="34" charset="0"/>
              </a:defRPr>
            </a:lvl3pPr>
            <a:lvl4pPr>
              <a:defRPr sz="1200">
                <a:solidFill>
                  <a:schemeClr val="bg1"/>
                </a:solidFill>
                <a:latin typeface="Source Sans Pro" panose="020B0503030403020204" pitchFamily="34" charset="0"/>
              </a:defRPr>
            </a:lvl4pPr>
            <a:lvl5pPr>
              <a:defRPr sz="1200">
                <a:solidFill>
                  <a:schemeClr val="bg1"/>
                </a:solidFill>
                <a:latin typeface="Source Sans Pro" panose="020B0503030403020204" pitchFamily="34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1" name="Espace réservé du contenu 25" descr="Zone de texte&#10;">
            <a:extLst>
              <a:ext uri="{FF2B5EF4-FFF2-40B4-BE49-F238E27FC236}">
                <a16:creationId xmlns:a16="http://schemas.microsoft.com/office/drawing/2014/main" id="{B0059E4A-92A9-446C-9438-93D9897B098C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2248786" y="1322959"/>
            <a:ext cx="6936581" cy="669515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Source Sans Pro" panose="020B0503030403020204" pitchFamily="34" charset="0"/>
              </a:defRPr>
            </a:lvl1pPr>
            <a:lvl2pPr>
              <a:defRPr sz="1500">
                <a:solidFill>
                  <a:schemeClr val="bg1"/>
                </a:solidFill>
                <a:latin typeface="Source Sans Pro" panose="020B0503030403020204" pitchFamily="34" charset="0"/>
              </a:defRPr>
            </a:lvl2pPr>
            <a:lvl3pPr>
              <a:defRPr sz="1350">
                <a:solidFill>
                  <a:schemeClr val="bg1"/>
                </a:solidFill>
                <a:latin typeface="Source Sans Pro" panose="020B0503030403020204" pitchFamily="34" charset="0"/>
              </a:defRPr>
            </a:lvl3pPr>
            <a:lvl4pPr>
              <a:defRPr sz="1200">
                <a:solidFill>
                  <a:schemeClr val="bg1"/>
                </a:solidFill>
                <a:latin typeface="Source Sans Pro" panose="020B0503030403020204" pitchFamily="34" charset="0"/>
              </a:defRPr>
            </a:lvl4pPr>
            <a:lvl5pPr>
              <a:defRPr sz="1200">
                <a:solidFill>
                  <a:schemeClr val="bg1"/>
                </a:solidFill>
                <a:latin typeface="Source Sans Pro" panose="020B0503030403020204" pitchFamily="34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2" name="Espace réservé du contenu 25" descr="Zone de texte&#10;">
            <a:extLst>
              <a:ext uri="{FF2B5EF4-FFF2-40B4-BE49-F238E27FC236}">
                <a16:creationId xmlns:a16="http://schemas.microsoft.com/office/drawing/2014/main" id="{1FC23075-482F-45D0-80E1-3D400D668CFB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2248786" y="3270534"/>
            <a:ext cx="6936581" cy="669515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Source Sans Pro" panose="020B0503030403020204" pitchFamily="34" charset="0"/>
              </a:defRPr>
            </a:lvl1pPr>
            <a:lvl2pPr>
              <a:defRPr sz="1500">
                <a:solidFill>
                  <a:schemeClr val="bg1"/>
                </a:solidFill>
                <a:latin typeface="Source Sans Pro" panose="020B0503030403020204" pitchFamily="34" charset="0"/>
              </a:defRPr>
            </a:lvl2pPr>
            <a:lvl3pPr>
              <a:defRPr sz="1350">
                <a:solidFill>
                  <a:schemeClr val="bg1"/>
                </a:solidFill>
                <a:latin typeface="Source Sans Pro" panose="020B0503030403020204" pitchFamily="34" charset="0"/>
              </a:defRPr>
            </a:lvl3pPr>
            <a:lvl4pPr>
              <a:defRPr sz="1200">
                <a:solidFill>
                  <a:schemeClr val="bg1"/>
                </a:solidFill>
                <a:latin typeface="Source Sans Pro" panose="020B0503030403020204" pitchFamily="34" charset="0"/>
              </a:defRPr>
            </a:lvl4pPr>
            <a:lvl5pPr>
              <a:defRPr sz="1200">
                <a:solidFill>
                  <a:schemeClr val="bg1"/>
                </a:solidFill>
                <a:latin typeface="Source Sans Pro" panose="020B0503030403020204" pitchFamily="34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1209127840"/>
      </p:ext>
    </p:extLst>
  </p:cSld>
  <p:clrMapOvr>
    <a:masterClrMapping/>
  </p:clrMapOvr>
</p:sldLayout>
</file>

<file path=ppt/slideLayouts/slideLayout6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01ECB762-E1D1-489C-A369-EAF2DF26C88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6402167C-5FBB-4F1A-A700-46FACDAE74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FACE2C89-85B1-4901-9F91-33225B57D9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48F244-30DD-438A-ADD2-DF4984FBCA8F}" type="slidenum">
              <a:rPr lang="fr-FR" smtClean="0"/>
              <a:t>‹#›</a:t>
            </a:fld>
            <a:endParaRPr lang="fr-FR"/>
          </a:p>
        </p:txBody>
      </p:sp>
      <p:sp>
        <p:nvSpPr>
          <p:cNvPr id="6" name="Rectangle : avec coins arrondis en diagonale 5">
            <a:extLst>
              <a:ext uri="{FF2B5EF4-FFF2-40B4-BE49-F238E27FC236}">
                <a16:creationId xmlns:a16="http://schemas.microsoft.com/office/drawing/2014/main" id="{5450CF1C-6A68-4171-B104-1DA62077DB34}"/>
              </a:ext>
            </a:extLst>
          </p:cNvPr>
          <p:cNvSpPr/>
          <p:nvPr userDrawn="1"/>
        </p:nvSpPr>
        <p:spPr>
          <a:xfrm>
            <a:off x="-358849" y="-525309"/>
            <a:ext cx="9856382" cy="5955632"/>
          </a:xfrm>
          <a:prstGeom prst="round2DiagRect">
            <a:avLst/>
          </a:prstGeom>
          <a:solidFill>
            <a:srgbClr val="D6EC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2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EF42673-DD2E-46DC-914B-D34C2AB0F781}"/>
              </a:ext>
            </a:extLst>
          </p:cNvPr>
          <p:cNvSpPr/>
          <p:nvPr userDrawn="1"/>
        </p:nvSpPr>
        <p:spPr>
          <a:xfrm>
            <a:off x="2248786" y="1174512"/>
            <a:ext cx="6895214" cy="940982"/>
          </a:xfrm>
          <a:prstGeom prst="rect">
            <a:avLst/>
          </a:prstGeom>
          <a:solidFill>
            <a:srgbClr val="0072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20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AE46D28-F705-41BE-81E6-BC7D285EF2E9}"/>
              </a:ext>
            </a:extLst>
          </p:cNvPr>
          <p:cNvSpPr/>
          <p:nvPr userDrawn="1"/>
        </p:nvSpPr>
        <p:spPr>
          <a:xfrm>
            <a:off x="-180473" y="2150669"/>
            <a:ext cx="6895214" cy="940982"/>
          </a:xfrm>
          <a:prstGeom prst="rect">
            <a:avLst/>
          </a:prstGeom>
          <a:solidFill>
            <a:srgbClr val="0072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20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7845561-C267-4147-9405-F5C3F37AAE2F}"/>
              </a:ext>
            </a:extLst>
          </p:cNvPr>
          <p:cNvSpPr/>
          <p:nvPr userDrawn="1"/>
        </p:nvSpPr>
        <p:spPr>
          <a:xfrm>
            <a:off x="2248786" y="3134800"/>
            <a:ext cx="6895214" cy="940982"/>
          </a:xfrm>
          <a:prstGeom prst="rect">
            <a:avLst/>
          </a:prstGeom>
          <a:solidFill>
            <a:srgbClr val="0072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200"/>
          </a:p>
        </p:txBody>
      </p:sp>
      <p:pic>
        <p:nvPicPr>
          <p:cNvPr id="12" name="Picture 4">
            <a:extLst>
              <a:ext uri="{FF2B5EF4-FFF2-40B4-BE49-F238E27FC236}">
                <a16:creationId xmlns:a16="http://schemas.microsoft.com/office/drawing/2014/main" id="{D869B682-3FD7-4CD8-8F29-5184B5DDEB5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</a:extLst>
          </a:blip>
          <a:srcRect t="20016" b="25809"/>
          <a:stretch/>
        </p:blipFill>
        <p:spPr>
          <a:xfrm>
            <a:off x="-180473" y="1174512"/>
            <a:ext cx="2429259" cy="940982"/>
          </a:xfrm>
          <a:prstGeom prst="rect">
            <a:avLst/>
          </a:prstGeom>
        </p:spPr>
      </p:pic>
      <p:pic>
        <p:nvPicPr>
          <p:cNvPr id="13" name="Picture 5">
            <a:extLst>
              <a:ext uri="{FF2B5EF4-FFF2-40B4-BE49-F238E27FC236}">
                <a16:creationId xmlns:a16="http://schemas.microsoft.com/office/drawing/2014/main" id="{B3F9F2D9-8636-471B-A274-E2E57F92138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aturation sat="0"/>
                    </a14:imgEffect>
                  </a14:imgLayer>
                </a14:imgProps>
              </a:ext>
            </a:extLst>
          </a:blip>
          <a:srcRect t="8227" b="33687"/>
          <a:stretch/>
        </p:blipFill>
        <p:spPr>
          <a:xfrm>
            <a:off x="-180473" y="3134800"/>
            <a:ext cx="2429259" cy="940982"/>
          </a:xfrm>
          <a:prstGeom prst="rect">
            <a:avLst/>
          </a:prstGeom>
        </p:spPr>
      </p:pic>
      <p:pic>
        <p:nvPicPr>
          <p:cNvPr id="14" name="Picture 8">
            <a:extLst>
              <a:ext uri="{FF2B5EF4-FFF2-40B4-BE49-F238E27FC236}">
                <a16:creationId xmlns:a16="http://schemas.microsoft.com/office/drawing/2014/main" id="{FD817788-EF42-4763-9E60-EB466687FBE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0"/>
                    </a14:imgEffect>
                  </a14:imgLayer>
                </a14:imgProps>
              </a:ext>
            </a:extLst>
          </a:blip>
          <a:srcRect l="14467" t="31585" r="10866" b="16768"/>
          <a:stretch/>
        </p:blipFill>
        <p:spPr>
          <a:xfrm>
            <a:off x="6714741" y="2150670"/>
            <a:ext cx="2429259" cy="940982"/>
          </a:xfrm>
          <a:prstGeom prst="rect">
            <a:avLst/>
          </a:prstGeom>
        </p:spPr>
      </p:pic>
      <p:sp>
        <p:nvSpPr>
          <p:cNvPr id="19" name="Titre 18">
            <a:extLst>
              <a:ext uri="{FF2B5EF4-FFF2-40B4-BE49-F238E27FC236}">
                <a16:creationId xmlns:a16="http://schemas.microsoft.com/office/drawing/2014/main" id="{9CCE22BB-6AF9-409C-9F16-2CB9BF5C888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-180473" y="-27936"/>
            <a:ext cx="7886700" cy="994172"/>
          </a:xfrm>
        </p:spPr>
        <p:txBody>
          <a:bodyPr>
            <a:normAutofit/>
          </a:bodyPr>
          <a:lstStyle>
            <a:lvl1pPr>
              <a:defRPr sz="2400" b="1">
                <a:solidFill>
                  <a:srgbClr val="00727A"/>
                </a:solidFill>
                <a:latin typeface="Source Sans Pro Black" panose="020B0803030403020204" pitchFamily="34" charset="0"/>
              </a:defRPr>
            </a:lvl1pPr>
          </a:lstStyle>
          <a:p>
            <a:r>
              <a:rPr lang="fr-FR"/>
              <a:t>Titre</a:t>
            </a:r>
          </a:p>
        </p:txBody>
      </p:sp>
      <p:sp>
        <p:nvSpPr>
          <p:cNvPr id="20" name="Espace réservé du contenu 25" descr="Zone de texte&#10;">
            <a:extLst>
              <a:ext uri="{FF2B5EF4-FFF2-40B4-BE49-F238E27FC236}">
                <a16:creationId xmlns:a16="http://schemas.microsoft.com/office/drawing/2014/main" id="{BC2B42E5-BB29-49FC-9771-EC21DEDF1DBD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-180473" y="2286403"/>
            <a:ext cx="6936581" cy="669515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Source Sans Pro" panose="020B0503030403020204" pitchFamily="34" charset="0"/>
              </a:defRPr>
            </a:lvl1pPr>
            <a:lvl2pPr>
              <a:defRPr sz="1500">
                <a:solidFill>
                  <a:schemeClr val="bg1"/>
                </a:solidFill>
                <a:latin typeface="Source Sans Pro" panose="020B0503030403020204" pitchFamily="34" charset="0"/>
              </a:defRPr>
            </a:lvl2pPr>
            <a:lvl3pPr>
              <a:defRPr sz="1350">
                <a:solidFill>
                  <a:schemeClr val="bg1"/>
                </a:solidFill>
                <a:latin typeface="Source Sans Pro" panose="020B0503030403020204" pitchFamily="34" charset="0"/>
              </a:defRPr>
            </a:lvl3pPr>
            <a:lvl4pPr>
              <a:defRPr sz="1200">
                <a:solidFill>
                  <a:schemeClr val="bg1"/>
                </a:solidFill>
                <a:latin typeface="Source Sans Pro" panose="020B0503030403020204" pitchFamily="34" charset="0"/>
              </a:defRPr>
            </a:lvl4pPr>
            <a:lvl5pPr>
              <a:defRPr sz="1200">
                <a:solidFill>
                  <a:schemeClr val="bg1"/>
                </a:solidFill>
                <a:latin typeface="Source Sans Pro" panose="020B0503030403020204" pitchFamily="34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1" name="Espace réservé du contenu 25" descr="Zone de texte&#10;">
            <a:extLst>
              <a:ext uri="{FF2B5EF4-FFF2-40B4-BE49-F238E27FC236}">
                <a16:creationId xmlns:a16="http://schemas.microsoft.com/office/drawing/2014/main" id="{B0059E4A-92A9-446C-9438-93D9897B098C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2248786" y="1322959"/>
            <a:ext cx="6936581" cy="669515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Source Sans Pro" panose="020B0503030403020204" pitchFamily="34" charset="0"/>
              </a:defRPr>
            </a:lvl1pPr>
            <a:lvl2pPr>
              <a:defRPr sz="1500">
                <a:solidFill>
                  <a:schemeClr val="bg1"/>
                </a:solidFill>
                <a:latin typeface="Source Sans Pro" panose="020B0503030403020204" pitchFamily="34" charset="0"/>
              </a:defRPr>
            </a:lvl2pPr>
            <a:lvl3pPr>
              <a:defRPr sz="1350">
                <a:solidFill>
                  <a:schemeClr val="bg1"/>
                </a:solidFill>
                <a:latin typeface="Source Sans Pro" panose="020B0503030403020204" pitchFamily="34" charset="0"/>
              </a:defRPr>
            </a:lvl3pPr>
            <a:lvl4pPr>
              <a:defRPr sz="1200">
                <a:solidFill>
                  <a:schemeClr val="bg1"/>
                </a:solidFill>
                <a:latin typeface="Source Sans Pro" panose="020B0503030403020204" pitchFamily="34" charset="0"/>
              </a:defRPr>
            </a:lvl4pPr>
            <a:lvl5pPr>
              <a:defRPr sz="1200">
                <a:solidFill>
                  <a:schemeClr val="bg1"/>
                </a:solidFill>
                <a:latin typeface="Source Sans Pro" panose="020B0503030403020204" pitchFamily="34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2" name="Espace réservé du contenu 25" descr="Zone de texte&#10;">
            <a:extLst>
              <a:ext uri="{FF2B5EF4-FFF2-40B4-BE49-F238E27FC236}">
                <a16:creationId xmlns:a16="http://schemas.microsoft.com/office/drawing/2014/main" id="{1FC23075-482F-45D0-80E1-3D400D668CFB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2248786" y="3270534"/>
            <a:ext cx="6936581" cy="669515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Source Sans Pro" panose="020B0503030403020204" pitchFamily="34" charset="0"/>
              </a:defRPr>
            </a:lvl1pPr>
            <a:lvl2pPr>
              <a:defRPr sz="1500">
                <a:solidFill>
                  <a:schemeClr val="bg1"/>
                </a:solidFill>
                <a:latin typeface="Source Sans Pro" panose="020B0503030403020204" pitchFamily="34" charset="0"/>
              </a:defRPr>
            </a:lvl2pPr>
            <a:lvl3pPr>
              <a:defRPr sz="1350">
                <a:solidFill>
                  <a:schemeClr val="bg1"/>
                </a:solidFill>
                <a:latin typeface="Source Sans Pro" panose="020B0503030403020204" pitchFamily="34" charset="0"/>
              </a:defRPr>
            </a:lvl3pPr>
            <a:lvl4pPr>
              <a:defRPr sz="1200">
                <a:solidFill>
                  <a:schemeClr val="bg1"/>
                </a:solidFill>
                <a:latin typeface="Source Sans Pro" panose="020B0503030403020204" pitchFamily="34" charset="0"/>
              </a:defRPr>
            </a:lvl4pPr>
            <a:lvl5pPr>
              <a:defRPr sz="1200">
                <a:solidFill>
                  <a:schemeClr val="bg1"/>
                </a:solidFill>
                <a:latin typeface="Source Sans Pro" panose="020B0503030403020204" pitchFamily="34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1209127840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02E41768-F8A0-4935-9587-56097048E0B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17F095AB-761A-4D16-A49F-4B5FD88A8A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48F244-30DD-438A-ADD2-DF4984FBCA8F}" type="slidenum">
              <a:rPr lang="fr-FR" smtClean="0"/>
              <a:t>‹#›</a:t>
            </a:fld>
            <a:endParaRPr lang="fr-FR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C0958D61-216E-4653-ADD7-BF46B75D5170}"/>
              </a:ext>
            </a:extLst>
          </p:cNvPr>
          <p:cNvSpPr/>
          <p:nvPr userDrawn="1"/>
        </p:nvSpPr>
        <p:spPr>
          <a:xfrm>
            <a:off x="1501140" y="899160"/>
            <a:ext cx="2918460" cy="4244340"/>
          </a:xfrm>
          <a:prstGeom prst="rect">
            <a:avLst/>
          </a:prstGeom>
          <a:solidFill>
            <a:srgbClr val="D6EC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20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EC12020-30B1-4DF2-B277-202612B03475}"/>
              </a:ext>
            </a:extLst>
          </p:cNvPr>
          <p:cNvSpPr/>
          <p:nvPr userDrawn="1"/>
        </p:nvSpPr>
        <p:spPr>
          <a:xfrm>
            <a:off x="4989860" y="899160"/>
            <a:ext cx="2918460" cy="4244340"/>
          </a:xfrm>
          <a:prstGeom prst="rect">
            <a:avLst/>
          </a:prstGeom>
          <a:solidFill>
            <a:srgbClr val="F57A3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200"/>
          </a:p>
        </p:txBody>
      </p:sp>
      <p:sp>
        <p:nvSpPr>
          <p:cNvPr id="10" name="Google Shape;592;p39">
            <a:extLst>
              <a:ext uri="{FF2B5EF4-FFF2-40B4-BE49-F238E27FC236}">
                <a16:creationId xmlns:a16="http://schemas.microsoft.com/office/drawing/2014/main" id="{F89FD7A8-C86B-49F3-85A5-13D1D2AF5ADF}"/>
              </a:ext>
            </a:extLst>
          </p:cNvPr>
          <p:cNvSpPr/>
          <p:nvPr userDrawn="1"/>
        </p:nvSpPr>
        <p:spPr>
          <a:xfrm>
            <a:off x="4046977" y="525491"/>
            <a:ext cx="838727" cy="838779"/>
          </a:xfrm>
          <a:custGeom>
            <a:avLst/>
            <a:gdLst/>
            <a:ahLst/>
            <a:cxnLst/>
            <a:rect l="l" t="t" r="r" b="b"/>
            <a:pathLst>
              <a:path w="16221" h="16222" fill="none" extrusionOk="0">
                <a:moveTo>
                  <a:pt x="0" y="8111"/>
                </a:moveTo>
                <a:lnTo>
                  <a:pt x="0" y="8111"/>
                </a:lnTo>
                <a:lnTo>
                  <a:pt x="0" y="7697"/>
                </a:lnTo>
                <a:lnTo>
                  <a:pt x="49" y="7283"/>
                </a:lnTo>
                <a:lnTo>
                  <a:pt x="98" y="6869"/>
                </a:lnTo>
                <a:lnTo>
                  <a:pt x="171" y="6479"/>
                </a:lnTo>
                <a:lnTo>
                  <a:pt x="244" y="6090"/>
                </a:lnTo>
                <a:lnTo>
                  <a:pt x="366" y="5700"/>
                </a:lnTo>
                <a:lnTo>
                  <a:pt x="487" y="5335"/>
                </a:lnTo>
                <a:lnTo>
                  <a:pt x="634" y="4945"/>
                </a:lnTo>
                <a:lnTo>
                  <a:pt x="804" y="4604"/>
                </a:lnTo>
                <a:lnTo>
                  <a:pt x="975" y="4239"/>
                </a:lnTo>
                <a:lnTo>
                  <a:pt x="1169" y="3898"/>
                </a:lnTo>
                <a:lnTo>
                  <a:pt x="1389" y="3581"/>
                </a:lnTo>
                <a:lnTo>
                  <a:pt x="1608" y="3264"/>
                </a:lnTo>
                <a:lnTo>
                  <a:pt x="1851" y="2948"/>
                </a:lnTo>
                <a:lnTo>
                  <a:pt x="2119" y="2656"/>
                </a:lnTo>
                <a:lnTo>
                  <a:pt x="2387" y="2388"/>
                </a:lnTo>
                <a:lnTo>
                  <a:pt x="2655" y="2120"/>
                </a:lnTo>
                <a:lnTo>
                  <a:pt x="2947" y="1852"/>
                </a:lnTo>
                <a:lnTo>
                  <a:pt x="3264" y="1608"/>
                </a:lnTo>
                <a:lnTo>
                  <a:pt x="3581" y="1389"/>
                </a:lnTo>
                <a:lnTo>
                  <a:pt x="3897" y="1170"/>
                </a:lnTo>
                <a:lnTo>
                  <a:pt x="4238" y="975"/>
                </a:lnTo>
                <a:lnTo>
                  <a:pt x="4603" y="805"/>
                </a:lnTo>
                <a:lnTo>
                  <a:pt x="4944" y="634"/>
                </a:lnTo>
                <a:lnTo>
                  <a:pt x="5334" y="488"/>
                </a:lnTo>
                <a:lnTo>
                  <a:pt x="5699" y="366"/>
                </a:lnTo>
                <a:lnTo>
                  <a:pt x="6089" y="244"/>
                </a:lnTo>
                <a:lnTo>
                  <a:pt x="6479" y="171"/>
                </a:lnTo>
                <a:lnTo>
                  <a:pt x="6868" y="98"/>
                </a:lnTo>
                <a:lnTo>
                  <a:pt x="7282" y="50"/>
                </a:lnTo>
                <a:lnTo>
                  <a:pt x="7696" y="1"/>
                </a:lnTo>
                <a:lnTo>
                  <a:pt x="8111" y="1"/>
                </a:lnTo>
                <a:lnTo>
                  <a:pt x="8111" y="1"/>
                </a:lnTo>
                <a:lnTo>
                  <a:pt x="8525" y="1"/>
                </a:lnTo>
                <a:lnTo>
                  <a:pt x="8939" y="50"/>
                </a:lnTo>
                <a:lnTo>
                  <a:pt x="9353" y="98"/>
                </a:lnTo>
                <a:lnTo>
                  <a:pt x="9742" y="171"/>
                </a:lnTo>
                <a:lnTo>
                  <a:pt x="10132" y="244"/>
                </a:lnTo>
                <a:lnTo>
                  <a:pt x="10522" y="366"/>
                </a:lnTo>
                <a:lnTo>
                  <a:pt x="10911" y="488"/>
                </a:lnTo>
                <a:lnTo>
                  <a:pt x="11277" y="634"/>
                </a:lnTo>
                <a:lnTo>
                  <a:pt x="11618" y="805"/>
                </a:lnTo>
                <a:lnTo>
                  <a:pt x="11983" y="975"/>
                </a:lnTo>
                <a:lnTo>
                  <a:pt x="12324" y="1170"/>
                </a:lnTo>
                <a:lnTo>
                  <a:pt x="12641" y="1389"/>
                </a:lnTo>
                <a:lnTo>
                  <a:pt x="12957" y="1608"/>
                </a:lnTo>
                <a:lnTo>
                  <a:pt x="13274" y="1852"/>
                </a:lnTo>
                <a:lnTo>
                  <a:pt x="13566" y="2120"/>
                </a:lnTo>
                <a:lnTo>
                  <a:pt x="13834" y="2388"/>
                </a:lnTo>
                <a:lnTo>
                  <a:pt x="14126" y="2656"/>
                </a:lnTo>
                <a:lnTo>
                  <a:pt x="14370" y="2948"/>
                </a:lnTo>
                <a:lnTo>
                  <a:pt x="14613" y="3264"/>
                </a:lnTo>
                <a:lnTo>
                  <a:pt x="14832" y="3581"/>
                </a:lnTo>
                <a:lnTo>
                  <a:pt x="15052" y="3898"/>
                </a:lnTo>
                <a:lnTo>
                  <a:pt x="15247" y="4239"/>
                </a:lnTo>
                <a:lnTo>
                  <a:pt x="15417" y="4604"/>
                </a:lnTo>
                <a:lnTo>
                  <a:pt x="15587" y="4945"/>
                </a:lnTo>
                <a:lnTo>
                  <a:pt x="15734" y="5335"/>
                </a:lnTo>
                <a:lnTo>
                  <a:pt x="15855" y="5700"/>
                </a:lnTo>
                <a:lnTo>
                  <a:pt x="15977" y="6090"/>
                </a:lnTo>
                <a:lnTo>
                  <a:pt x="16050" y="6479"/>
                </a:lnTo>
                <a:lnTo>
                  <a:pt x="16123" y="6869"/>
                </a:lnTo>
                <a:lnTo>
                  <a:pt x="16172" y="7283"/>
                </a:lnTo>
                <a:lnTo>
                  <a:pt x="16221" y="7697"/>
                </a:lnTo>
                <a:lnTo>
                  <a:pt x="16221" y="8111"/>
                </a:lnTo>
                <a:lnTo>
                  <a:pt x="16221" y="8111"/>
                </a:lnTo>
                <a:lnTo>
                  <a:pt x="16221" y="8525"/>
                </a:lnTo>
                <a:lnTo>
                  <a:pt x="16172" y="8939"/>
                </a:lnTo>
                <a:lnTo>
                  <a:pt x="16123" y="9353"/>
                </a:lnTo>
                <a:lnTo>
                  <a:pt x="16050" y="9743"/>
                </a:lnTo>
                <a:lnTo>
                  <a:pt x="15977" y="10133"/>
                </a:lnTo>
                <a:lnTo>
                  <a:pt x="15855" y="10522"/>
                </a:lnTo>
                <a:lnTo>
                  <a:pt x="15734" y="10888"/>
                </a:lnTo>
                <a:lnTo>
                  <a:pt x="15587" y="11277"/>
                </a:lnTo>
                <a:lnTo>
                  <a:pt x="15417" y="11618"/>
                </a:lnTo>
                <a:lnTo>
                  <a:pt x="15247" y="11984"/>
                </a:lnTo>
                <a:lnTo>
                  <a:pt x="15052" y="12324"/>
                </a:lnTo>
                <a:lnTo>
                  <a:pt x="14832" y="12641"/>
                </a:lnTo>
                <a:lnTo>
                  <a:pt x="14613" y="12958"/>
                </a:lnTo>
                <a:lnTo>
                  <a:pt x="14370" y="13274"/>
                </a:lnTo>
                <a:lnTo>
                  <a:pt x="14126" y="13567"/>
                </a:lnTo>
                <a:lnTo>
                  <a:pt x="13834" y="13835"/>
                </a:lnTo>
                <a:lnTo>
                  <a:pt x="13566" y="14102"/>
                </a:lnTo>
                <a:lnTo>
                  <a:pt x="13274" y="14370"/>
                </a:lnTo>
                <a:lnTo>
                  <a:pt x="12957" y="14614"/>
                </a:lnTo>
                <a:lnTo>
                  <a:pt x="12641" y="14833"/>
                </a:lnTo>
                <a:lnTo>
                  <a:pt x="12324" y="15052"/>
                </a:lnTo>
                <a:lnTo>
                  <a:pt x="11983" y="15247"/>
                </a:lnTo>
                <a:lnTo>
                  <a:pt x="11618" y="15418"/>
                </a:lnTo>
                <a:lnTo>
                  <a:pt x="11277" y="15588"/>
                </a:lnTo>
                <a:lnTo>
                  <a:pt x="10911" y="15734"/>
                </a:lnTo>
                <a:lnTo>
                  <a:pt x="10522" y="15856"/>
                </a:lnTo>
                <a:lnTo>
                  <a:pt x="10132" y="15978"/>
                </a:lnTo>
                <a:lnTo>
                  <a:pt x="9742" y="16051"/>
                </a:lnTo>
                <a:lnTo>
                  <a:pt x="9353" y="16124"/>
                </a:lnTo>
                <a:lnTo>
                  <a:pt x="8939" y="16173"/>
                </a:lnTo>
                <a:lnTo>
                  <a:pt x="8525" y="16221"/>
                </a:lnTo>
                <a:lnTo>
                  <a:pt x="8111" y="16221"/>
                </a:lnTo>
                <a:lnTo>
                  <a:pt x="8111" y="16221"/>
                </a:lnTo>
                <a:lnTo>
                  <a:pt x="7696" y="16221"/>
                </a:lnTo>
                <a:lnTo>
                  <a:pt x="7282" y="16173"/>
                </a:lnTo>
                <a:lnTo>
                  <a:pt x="6868" y="16124"/>
                </a:lnTo>
                <a:lnTo>
                  <a:pt x="6479" y="16051"/>
                </a:lnTo>
                <a:lnTo>
                  <a:pt x="6089" y="15978"/>
                </a:lnTo>
                <a:lnTo>
                  <a:pt x="5699" y="15856"/>
                </a:lnTo>
                <a:lnTo>
                  <a:pt x="5334" y="15734"/>
                </a:lnTo>
                <a:lnTo>
                  <a:pt x="4944" y="15588"/>
                </a:lnTo>
                <a:lnTo>
                  <a:pt x="4603" y="15418"/>
                </a:lnTo>
                <a:lnTo>
                  <a:pt x="4238" y="15247"/>
                </a:lnTo>
                <a:lnTo>
                  <a:pt x="3897" y="15052"/>
                </a:lnTo>
                <a:lnTo>
                  <a:pt x="3581" y="14833"/>
                </a:lnTo>
                <a:lnTo>
                  <a:pt x="3264" y="14614"/>
                </a:lnTo>
                <a:lnTo>
                  <a:pt x="2947" y="14370"/>
                </a:lnTo>
                <a:lnTo>
                  <a:pt x="2655" y="14102"/>
                </a:lnTo>
                <a:lnTo>
                  <a:pt x="2387" y="13835"/>
                </a:lnTo>
                <a:lnTo>
                  <a:pt x="2119" y="13567"/>
                </a:lnTo>
                <a:lnTo>
                  <a:pt x="1851" y="13274"/>
                </a:lnTo>
                <a:lnTo>
                  <a:pt x="1608" y="12958"/>
                </a:lnTo>
                <a:lnTo>
                  <a:pt x="1389" y="12641"/>
                </a:lnTo>
                <a:lnTo>
                  <a:pt x="1169" y="12324"/>
                </a:lnTo>
                <a:lnTo>
                  <a:pt x="975" y="11984"/>
                </a:lnTo>
                <a:lnTo>
                  <a:pt x="804" y="11618"/>
                </a:lnTo>
                <a:lnTo>
                  <a:pt x="634" y="11277"/>
                </a:lnTo>
                <a:lnTo>
                  <a:pt x="487" y="10888"/>
                </a:lnTo>
                <a:lnTo>
                  <a:pt x="366" y="10522"/>
                </a:lnTo>
                <a:lnTo>
                  <a:pt x="244" y="10133"/>
                </a:lnTo>
                <a:lnTo>
                  <a:pt x="171" y="9743"/>
                </a:lnTo>
                <a:lnTo>
                  <a:pt x="98" y="9353"/>
                </a:lnTo>
                <a:lnTo>
                  <a:pt x="49" y="8939"/>
                </a:lnTo>
                <a:lnTo>
                  <a:pt x="0" y="8525"/>
                </a:lnTo>
                <a:lnTo>
                  <a:pt x="0" y="8111"/>
                </a:lnTo>
                <a:lnTo>
                  <a:pt x="0" y="8111"/>
                </a:lnTo>
                <a:close/>
                <a:moveTo>
                  <a:pt x="7234" y="11180"/>
                </a:moveTo>
                <a:lnTo>
                  <a:pt x="7234" y="11180"/>
                </a:lnTo>
                <a:lnTo>
                  <a:pt x="7282" y="11180"/>
                </a:lnTo>
                <a:lnTo>
                  <a:pt x="7282" y="11180"/>
                </a:lnTo>
                <a:lnTo>
                  <a:pt x="7453" y="11155"/>
                </a:lnTo>
                <a:lnTo>
                  <a:pt x="7623" y="11082"/>
                </a:lnTo>
                <a:lnTo>
                  <a:pt x="7794" y="10985"/>
                </a:lnTo>
                <a:lnTo>
                  <a:pt x="7916" y="10863"/>
                </a:lnTo>
                <a:lnTo>
                  <a:pt x="12007" y="6747"/>
                </a:lnTo>
                <a:lnTo>
                  <a:pt x="12007" y="6747"/>
                </a:lnTo>
                <a:lnTo>
                  <a:pt x="12105" y="6625"/>
                </a:lnTo>
                <a:lnTo>
                  <a:pt x="12153" y="6504"/>
                </a:lnTo>
                <a:lnTo>
                  <a:pt x="12202" y="6358"/>
                </a:lnTo>
                <a:lnTo>
                  <a:pt x="12202" y="6211"/>
                </a:lnTo>
                <a:lnTo>
                  <a:pt x="12202" y="6211"/>
                </a:lnTo>
                <a:lnTo>
                  <a:pt x="12178" y="6017"/>
                </a:lnTo>
                <a:lnTo>
                  <a:pt x="12129" y="5822"/>
                </a:lnTo>
                <a:lnTo>
                  <a:pt x="12032" y="5676"/>
                </a:lnTo>
                <a:lnTo>
                  <a:pt x="11886" y="5529"/>
                </a:lnTo>
                <a:lnTo>
                  <a:pt x="11886" y="5529"/>
                </a:lnTo>
                <a:lnTo>
                  <a:pt x="11764" y="5432"/>
                </a:lnTo>
                <a:lnTo>
                  <a:pt x="11618" y="5383"/>
                </a:lnTo>
                <a:lnTo>
                  <a:pt x="11472" y="5335"/>
                </a:lnTo>
                <a:lnTo>
                  <a:pt x="11325" y="5335"/>
                </a:lnTo>
                <a:lnTo>
                  <a:pt x="11325" y="5335"/>
                </a:lnTo>
                <a:lnTo>
                  <a:pt x="11131" y="5359"/>
                </a:lnTo>
                <a:lnTo>
                  <a:pt x="10960" y="5408"/>
                </a:lnTo>
                <a:lnTo>
                  <a:pt x="10790" y="5505"/>
                </a:lnTo>
                <a:lnTo>
                  <a:pt x="10643" y="5651"/>
                </a:lnTo>
                <a:lnTo>
                  <a:pt x="7161" y="8988"/>
                </a:lnTo>
                <a:lnTo>
                  <a:pt x="5797" y="7648"/>
                </a:lnTo>
                <a:lnTo>
                  <a:pt x="5797" y="7648"/>
                </a:lnTo>
                <a:lnTo>
                  <a:pt x="5675" y="7527"/>
                </a:lnTo>
                <a:lnTo>
                  <a:pt x="5505" y="7454"/>
                </a:lnTo>
                <a:lnTo>
                  <a:pt x="5358" y="7405"/>
                </a:lnTo>
                <a:lnTo>
                  <a:pt x="5188" y="7380"/>
                </a:lnTo>
                <a:lnTo>
                  <a:pt x="5188" y="7380"/>
                </a:lnTo>
                <a:lnTo>
                  <a:pt x="5017" y="7405"/>
                </a:lnTo>
                <a:lnTo>
                  <a:pt x="4847" y="7454"/>
                </a:lnTo>
                <a:lnTo>
                  <a:pt x="4701" y="7527"/>
                </a:lnTo>
                <a:lnTo>
                  <a:pt x="4555" y="7648"/>
                </a:lnTo>
                <a:lnTo>
                  <a:pt x="4555" y="7648"/>
                </a:lnTo>
                <a:lnTo>
                  <a:pt x="4457" y="7770"/>
                </a:lnTo>
                <a:lnTo>
                  <a:pt x="4360" y="7916"/>
                </a:lnTo>
                <a:lnTo>
                  <a:pt x="4311" y="8087"/>
                </a:lnTo>
                <a:lnTo>
                  <a:pt x="4311" y="8257"/>
                </a:lnTo>
                <a:lnTo>
                  <a:pt x="4311" y="8257"/>
                </a:lnTo>
                <a:lnTo>
                  <a:pt x="4311" y="8428"/>
                </a:lnTo>
                <a:lnTo>
                  <a:pt x="4360" y="8598"/>
                </a:lnTo>
                <a:lnTo>
                  <a:pt x="4457" y="8744"/>
                </a:lnTo>
                <a:lnTo>
                  <a:pt x="4555" y="8890"/>
                </a:lnTo>
                <a:lnTo>
                  <a:pt x="6601" y="10936"/>
                </a:lnTo>
                <a:lnTo>
                  <a:pt x="6601" y="10936"/>
                </a:lnTo>
                <a:lnTo>
                  <a:pt x="6747" y="11034"/>
                </a:lnTo>
                <a:lnTo>
                  <a:pt x="6893" y="11131"/>
                </a:lnTo>
                <a:lnTo>
                  <a:pt x="7063" y="11180"/>
                </a:lnTo>
                <a:lnTo>
                  <a:pt x="7234" y="11180"/>
                </a:lnTo>
                <a:lnTo>
                  <a:pt x="7234" y="11180"/>
                </a:lnTo>
                <a:close/>
              </a:path>
            </a:pathLst>
          </a:custGeom>
          <a:noFill/>
          <a:ln w="12175" cap="rnd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68569" tIns="68569" rIns="68569" bIns="68569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200"/>
          </a:p>
        </p:txBody>
      </p:sp>
      <p:sp>
        <p:nvSpPr>
          <p:cNvPr id="11" name="Google Shape;594;p39">
            <a:extLst>
              <a:ext uri="{FF2B5EF4-FFF2-40B4-BE49-F238E27FC236}">
                <a16:creationId xmlns:a16="http://schemas.microsoft.com/office/drawing/2014/main" id="{A36AEF50-C630-4272-9995-82ADA877B368}"/>
              </a:ext>
            </a:extLst>
          </p:cNvPr>
          <p:cNvSpPr/>
          <p:nvPr userDrawn="1"/>
        </p:nvSpPr>
        <p:spPr>
          <a:xfrm>
            <a:off x="7607329" y="505398"/>
            <a:ext cx="731210" cy="731255"/>
          </a:xfrm>
          <a:custGeom>
            <a:avLst/>
            <a:gdLst/>
            <a:ahLst/>
            <a:cxnLst/>
            <a:rect l="l" t="t" r="r" b="b"/>
            <a:pathLst>
              <a:path w="16367" h="16368" fill="none" extrusionOk="0">
                <a:moveTo>
                  <a:pt x="16074" y="4385"/>
                </a:moveTo>
                <a:lnTo>
                  <a:pt x="11983" y="293"/>
                </a:lnTo>
                <a:lnTo>
                  <a:pt x="11983" y="293"/>
                </a:lnTo>
                <a:lnTo>
                  <a:pt x="11812" y="171"/>
                </a:lnTo>
                <a:lnTo>
                  <a:pt x="11642" y="74"/>
                </a:lnTo>
                <a:lnTo>
                  <a:pt x="11447" y="25"/>
                </a:lnTo>
                <a:lnTo>
                  <a:pt x="11252" y="1"/>
                </a:lnTo>
                <a:lnTo>
                  <a:pt x="5115" y="1"/>
                </a:lnTo>
                <a:lnTo>
                  <a:pt x="5115" y="1"/>
                </a:lnTo>
                <a:lnTo>
                  <a:pt x="4920" y="25"/>
                </a:lnTo>
                <a:lnTo>
                  <a:pt x="4725" y="74"/>
                </a:lnTo>
                <a:lnTo>
                  <a:pt x="4554" y="171"/>
                </a:lnTo>
                <a:lnTo>
                  <a:pt x="4384" y="293"/>
                </a:lnTo>
                <a:lnTo>
                  <a:pt x="292" y="4385"/>
                </a:lnTo>
                <a:lnTo>
                  <a:pt x="292" y="4385"/>
                </a:lnTo>
                <a:lnTo>
                  <a:pt x="171" y="4555"/>
                </a:lnTo>
                <a:lnTo>
                  <a:pt x="73" y="4726"/>
                </a:lnTo>
                <a:lnTo>
                  <a:pt x="24" y="4921"/>
                </a:lnTo>
                <a:lnTo>
                  <a:pt x="0" y="5115"/>
                </a:lnTo>
                <a:lnTo>
                  <a:pt x="0" y="11253"/>
                </a:lnTo>
                <a:lnTo>
                  <a:pt x="0" y="11253"/>
                </a:lnTo>
                <a:lnTo>
                  <a:pt x="24" y="11448"/>
                </a:lnTo>
                <a:lnTo>
                  <a:pt x="73" y="11642"/>
                </a:lnTo>
                <a:lnTo>
                  <a:pt x="171" y="11813"/>
                </a:lnTo>
                <a:lnTo>
                  <a:pt x="292" y="11983"/>
                </a:lnTo>
                <a:lnTo>
                  <a:pt x="4384" y="16075"/>
                </a:lnTo>
                <a:lnTo>
                  <a:pt x="4384" y="16075"/>
                </a:lnTo>
                <a:lnTo>
                  <a:pt x="4554" y="16197"/>
                </a:lnTo>
                <a:lnTo>
                  <a:pt x="4725" y="16294"/>
                </a:lnTo>
                <a:lnTo>
                  <a:pt x="4920" y="16343"/>
                </a:lnTo>
                <a:lnTo>
                  <a:pt x="5115" y="16367"/>
                </a:lnTo>
                <a:lnTo>
                  <a:pt x="11252" y="16367"/>
                </a:lnTo>
                <a:lnTo>
                  <a:pt x="11252" y="16367"/>
                </a:lnTo>
                <a:lnTo>
                  <a:pt x="11447" y="16343"/>
                </a:lnTo>
                <a:lnTo>
                  <a:pt x="11642" y="16294"/>
                </a:lnTo>
                <a:lnTo>
                  <a:pt x="11812" y="16197"/>
                </a:lnTo>
                <a:lnTo>
                  <a:pt x="11983" y="16075"/>
                </a:lnTo>
                <a:lnTo>
                  <a:pt x="16074" y="11983"/>
                </a:lnTo>
                <a:lnTo>
                  <a:pt x="16074" y="11983"/>
                </a:lnTo>
                <a:lnTo>
                  <a:pt x="16196" y="11813"/>
                </a:lnTo>
                <a:lnTo>
                  <a:pt x="16294" y="11642"/>
                </a:lnTo>
                <a:lnTo>
                  <a:pt x="16342" y="11448"/>
                </a:lnTo>
                <a:lnTo>
                  <a:pt x="16367" y="11253"/>
                </a:lnTo>
                <a:lnTo>
                  <a:pt x="16367" y="5115"/>
                </a:lnTo>
                <a:lnTo>
                  <a:pt x="16367" y="5115"/>
                </a:lnTo>
                <a:lnTo>
                  <a:pt x="16342" y="4921"/>
                </a:lnTo>
                <a:lnTo>
                  <a:pt x="16294" y="4726"/>
                </a:lnTo>
                <a:lnTo>
                  <a:pt x="16196" y="4555"/>
                </a:lnTo>
                <a:lnTo>
                  <a:pt x="16074" y="4385"/>
                </a:lnTo>
                <a:lnTo>
                  <a:pt x="16074" y="4385"/>
                </a:lnTo>
                <a:close/>
                <a:moveTo>
                  <a:pt x="9864" y="8452"/>
                </a:moveTo>
                <a:lnTo>
                  <a:pt x="11203" y="9792"/>
                </a:lnTo>
                <a:lnTo>
                  <a:pt x="11203" y="9792"/>
                </a:lnTo>
                <a:lnTo>
                  <a:pt x="11252" y="9840"/>
                </a:lnTo>
                <a:lnTo>
                  <a:pt x="11276" y="9913"/>
                </a:lnTo>
                <a:lnTo>
                  <a:pt x="11301" y="10059"/>
                </a:lnTo>
                <a:lnTo>
                  <a:pt x="11276" y="10206"/>
                </a:lnTo>
                <a:lnTo>
                  <a:pt x="11252" y="10279"/>
                </a:lnTo>
                <a:lnTo>
                  <a:pt x="11203" y="10327"/>
                </a:lnTo>
                <a:lnTo>
                  <a:pt x="10327" y="11204"/>
                </a:lnTo>
                <a:lnTo>
                  <a:pt x="10327" y="11204"/>
                </a:lnTo>
                <a:lnTo>
                  <a:pt x="10278" y="11253"/>
                </a:lnTo>
                <a:lnTo>
                  <a:pt x="10205" y="11277"/>
                </a:lnTo>
                <a:lnTo>
                  <a:pt x="10059" y="11302"/>
                </a:lnTo>
                <a:lnTo>
                  <a:pt x="9913" y="11277"/>
                </a:lnTo>
                <a:lnTo>
                  <a:pt x="9840" y="11253"/>
                </a:lnTo>
                <a:lnTo>
                  <a:pt x="9791" y="11204"/>
                </a:lnTo>
                <a:lnTo>
                  <a:pt x="8451" y="9865"/>
                </a:lnTo>
                <a:lnTo>
                  <a:pt x="8451" y="9865"/>
                </a:lnTo>
                <a:lnTo>
                  <a:pt x="8403" y="9816"/>
                </a:lnTo>
                <a:lnTo>
                  <a:pt x="8330" y="9792"/>
                </a:lnTo>
                <a:lnTo>
                  <a:pt x="8183" y="9767"/>
                </a:lnTo>
                <a:lnTo>
                  <a:pt x="8037" y="9792"/>
                </a:lnTo>
                <a:lnTo>
                  <a:pt x="7964" y="9816"/>
                </a:lnTo>
                <a:lnTo>
                  <a:pt x="7915" y="9865"/>
                </a:lnTo>
                <a:lnTo>
                  <a:pt x="6576" y="11204"/>
                </a:lnTo>
                <a:lnTo>
                  <a:pt x="6576" y="11204"/>
                </a:lnTo>
                <a:lnTo>
                  <a:pt x="6527" y="11253"/>
                </a:lnTo>
                <a:lnTo>
                  <a:pt x="6454" y="11277"/>
                </a:lnTo>
                <a:lnTo>
                  <a:pt x="6308" y="11302"/>
                </a:lnTo>
                <a:lnTo>
                  <a:pt x="6162" y="11277"/>
                </a:lnTo>
                <a:lnTo>
                  <a:pt x="6089" y="11253"/>
                </a:lnTo>
                <a:lnTo>
                  <a:pt x="6040" y="11204"/>
                </a:lnTo>
                <a:lnTo>
                  <a:pt x="5163" y="10327"/>
                </a:lnTo>
                <a:lnTo>
                  <a:pt x="5163" y="10327"/>
                </a:lnTo>
                <a:lnTo>
                  <a:pt x="5115" y="10279"/>
                </a:lnTo>
                <a:lnTo>
                  <a:pt x="5090" y="10206"/>
                </a:lnTo>
                <a:lnTo>
                  <a:pt x="5066" y="10059"/>
                </a:lnTo>
                <a:lnTo>
                  <a:pt x="5090" y="9913"/>
                </a:lnTo>
                <a:lnTo>
                  <a:pt x="5115" y="9840"/>
                </a:lnTo>
                <a:lnTo>
                  <a:pt x="5163" y="9792"/>
                </a:lnTo>
                <a:lnTo>
                  <a:pt x="6503" y="8452"/>
                </a:lnTo>
                <a:lnTo>
                  <a:pt x="6503" y="8452"/>
                </a:lnTo>
                <a:lnTo>
                  <a:pt x="6552" y="8403"/>
                </a:lnTo>
                <a:lnTo>
                  <a:pt x="6576" y="8330"/>
                </a:lnTo>
                <a:lnTo>
                  <a:pt x="6600" y="8184"/>
                </a:lnTo>
                <a:lnTo>
                  <a:pt x="6576" y="8038"/>
                </a:lnTo>
                <a:lnTo>
                  <a:pt x="6552" y="7965"/>
                </a:lnTo>
                <a:lnTo>
                  <a:pt x="6503" y="7916"/>
                </a:lnTo>
                <a:lnTo>
                  <a:pt x="5163" y="6577"/>
                </a:lnTo>
                <a:lnTo>
                  <a:pt x="5163" y="6577"/>
                </a:lnTo>
                <a:lnTo>
                  <a:pt x="5115" y="6528"/>
                </a:lnTo>
                <a:lnTo>
                  <a:pt x="5090" y="6455"/>
                </a:lnTo>
                <a:lnTo>
                  <a:pt x="5066" y="6309"/>
                </a:lnTo>
                <a:lnTo>
                  <a:pt x="5090" y="6163"/>
                </a:lnTo>
                <a:lnTo>
                  <a:pt x="5115" y="6090"/>
                </a:lnTo>
                <a:lnTo>
                  <a:pt x="5163" y="6041"/>
                </a:lnTo>
                <a:lnTo>
                  <a:pt x="6040" y="5164"/>
                </a:lnTo>
                <a:lnTo>
                  <a:pt x="6040" y="5164"/>
                </a:lnTo>
                <a:lnTo>
                  <a:pt x="6089" y="5115"/>
                </a:lnTo>
                <a:lnTo>
                  <a:pt x="6162" y="5091"/>
                </a:lnTo>
                <a:lnTo>
                  <a:pt x="6308" y="5067"/>
                </a:lnTo>
                <a:lnTo>
                  <a:pt x="6454" y="5091"/>
                </a:lnTo>
                <a:lnTo>
                  <a:pt x="6527" y="5115"/>
                </a:lnTo>
                <a:lnTo>
                  <a:pt x="6576" y="5164"/>
                </a:lnTo>
                <a:lnTo>
                  <a:pt x="7915" y="6504"/>
                </a:lnTo>
                <a:lnTo>
                  <a:pt x="7915" y="6504"/>
                </a:lnTo>
                <a:lnTo>
                  <a:pt x="7964" y="6552"/>
                </a:lnTo>
                <a:lnTo>
                  <a:pt x="8037" y="6577"/>
                </a:lnTo>
                <a:lnTo>
                  <a:pt x="8183" y="6601"/>
                </a:lnTo>
                <a:lnTo>
                  <a:pt x="8330" y="6577"/>
                </a:lnTo>
                <a:lnTo>
                  <a:pt x="8403" y="6552"/>
                </a:lnTo>
                <a:lnTo>
                  <a:pt x="8451" y="6504"/>
                </a:lnTo>
                <a:lnTo>
                  <a:pt x="9791" y="5164"/>
                </a:lnTo>
                <a:lnTo>
                  <a:pt x="9791" y="5164"/>
                </a:lnTo>
                <a:lnTo>
                  <a:pt x="9840" y="5115"/>
                </a:lnTo>
                <a:lnTo>
                  <a:pt x="9913" y="5091"/>
                </a:lnTo>
                <a:lnTo>
                  <a:pt x="10059" y="5067"/>
                </a:lnTo>
                <a:lnTo>
                  <a:pt x="10205" y="5091"/>
                </a:lnTo>
                <a:lnTo>
                  <a:pt x="10278" y="5115"/>
                </a:lnTo>
                <a:lnTo>
                  <a:pt x="10327" y="5164"/>
                </a:lnTo>
                <a:lnTo>
                  <a:pt x="11203" y="6041"/>
                </a:lnTo>
                <a:lnTo>
                  <a:pt x="11203" y="6041"/>
                </a:lnTo>
                <a:lnTo>
                  <a:pt x="11252" y="6090"/>
                </a:lnTo>
                <a:lnTo>
                  <a:pt x="11276" y="6163"/>
                </a:lnTo>
                <a:lnTo>
                  <a:pt x="11301" y="6309"/>
                </a:lnTo>
                <a:lnTo>
                  <a:pt x="11276" y="6455"/>
                </a:lnTo>
                <a:lnTo>
                  <a:pt x="11252" y="6528"/>
                </a:lnTo>
                <a:lnTo>
                  <a:pt x="11203" y="6577"/>
                </a:lnTo>
                <a:lnTo>
                  <a:pt x="9864" y="7916"/>
                </a:lnTo>
                <a:lnTo>
                  <a:pt x="9864" y="7916"/>
                </a:lnTo>
                <a:lnTo>
                  <a:pt x="9815" y="7965"/>
                </a:lnTo>
                <a:lnTo>
                  <a:pt x="9791" y="8038"/>
                </a:lnTo>
                <a:lnTo>
                  <a:pt x="9766" y="8184"/>
                </a:lnTo>
                <a:lnTo>
                  <a:pt x="9791" y="8330"/>
                </a:lnTo>
                <a:lnTo>
                  <a:pt x="9815" y="8403"/>
                </a:lnTo>
                <a:lnTo>
                  <a:pt x="9864" y="8452"/>
                </a:lnTo>
                <a:lnTo>
                  <a:pt x="9864" y="8452"/>
                </a:lnTo>
                <a:close/>
              </a:path>
            </a:pathLst>
          </a:custGeom>
          <a:noFill/>
          <a:ln w="12175" cap="rnd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68569" tIns="68569" rIns="68569" bIns="68569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200"/>
          </a:p>
        </p:txBody>
      </p:sp>
      <p:pic>
        <p:nvPicPr>
          <p:cNvPr id="12" name="Picture 2">
            <a:extLst>
              <a:ext uri="{FF2B5EF4-FFF2-40B4-BE49-F238E27FC236}">
                <a16:creationId xmlns:a16="http://schemas.microsoft.com/office/drawing/2014/main" id="{0F824807-BC9B-487D-84F3-1A86E97AB83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>
          <a:xfrm>
            <a:off x="-273682" y="2695132"/>
            <a:ext cx="2720395" cy="2725836"/>
          </a:xfrm>
          <a:prstGeom prst="rect">
            <a:avLst/>
          </a:prstGeom>
        </p:spPr>
      </p:pic>
      <p:sp>
        <p:nvSpPr>
          <p:cNvPr id="15" name="Titre 24">
            <a:extLst>
              <a:ext uri="{FF2B5EF4-FFF2-40B4-BE49-F238E27FC236}">
                <a16:creationId xmlns:a16="http://schemas.microsoft.com/office/drawing/2014/main" id="{A636CFFC-0A76-4A5B-BF55-7B65187E7F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5460" y="313723"/>
            <a:ext cx="4070509" cy="539891"/>
          </a:xfrm>
        </p:spPr>
        <p:txBody>
          <a:bodyPr>
            <a:normAutofit/>
          </a:bodyPr>
          <a:lstStyle>
            <a:lvl1pPr>
              <a:defRPr sz="2100"/>
            </a:lvl1pPr>
          </a:lstStyle>
          <a:p>
            <a:r>
              <a:rPr lang="fr-FR" sz="2400">
                <a:solidFill>
                  <a:srgbClr val="F57A30"/>
                </a:solidFill>
                <a:latin typeface="Source Sans Pro Black" panose="020B0803030403020204" pitchFamily="34" charset="0"/>
              </a:rPr>
              <a:t>Titre</a:t>
            </a:r>
          </a:p>
        </p:txBody>
      </p:sp>
      <p:sp>
        <p:nvSpPr>
          <p:cNvPr id="16" name="Espace réservé du contenu 25" descr="Zone de texte&#10;">
            <a:extLst>
              <a:ext uri="{FF2B5EF4-FFF2-40B4-BE49-F238E27FC236}">
                <a16:creationId xmlns:a16="http://schemas.microsoft.com/office/drawing/2014/main" id="{C190988B-352D-4BB2-8505-87C64AA96B0E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2039220" y="1568016"/>
            <a:ext cx="1730327" cy="494641"/>
          </a:xfrm>
        </p:spPr>
        <p:txBody>
          <a:bodyPr anchor="ctr">
            <a:normAutofit/>
          </a:bodyPr>
          <a:lstStyle>
            <a:lvl1pPr marL="0" indent="0" algn="ctr">
              <a:buNone/>
              <a:defRPr sz="1200">
                <a:solidFill>
                  <a:schemeClr val="bg1"/>
                </a:solidFill>
                <a:latin typeface="Source Sans Pro" panose="020B0503030403020204" pitchFamily="34" charset="0"/>
              </a:defRPr>
            </a:lvl1pPr>
            <a:lvl2pPr>
              <a:defRPr sz="1500">
                <a:solidFill>
                  <a:schemeClr val="bg1"/>
                </a:solidFill>
                <a:latin typeface="Source Sans Pro" panose="020B0503030403020204" pitchFamily="34" charset="0"/>
              </a:defRPr>
            </a:lvl2pPr>
            <a:lvl3pPr>
              <a:defRPr sz="1350">
                <a:solidFill>
                  <a:schemeClr val="bg1"/>
                </a:solidFill>
                <a:latin typeface="Source Sans Pro" panose="020B0503030403020204" pitchFamily="34" charset="0"/>
              </a:defRPr>
            </a:lvl3pPr>
            <a:lvl4pPr>
              <a:defRPr sz="1200">
                <a:solidFill>
                  <a:schemeClr val="bg1"/>
                </a:solidFill>
                <a:latin typeface="Source Sans Pro" panose="020B0503030403020204" pitchFamily="34" charset="0"/>
              </a:defRPr>
            </a:lvl4pPr>
            <a:lvl5pPr>
              <a:defRPr sz="1200">
                <a:solidFill>
                  <a:schemeClr val="bg1"/>
                </a:solidFill>
                <a:latin typeface="Source Sans Pro" panose="020B0503030403020204" pitchFamily="34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7" name="Espace réservé du contenu 25" descr="Zone de texte&#10;">
            <a:extLst>
              <a:ext uri="{FF2B5EF4-FFF2-40B4-BE49-F238E27FC236}">
                <a16:creationId xmlns:a16="http://schemas.microsoft.com/office/drawing/2014/main" id="{C6987DDA-0A7D-4F52-AFE3-5630F06E74A7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2175232" y="1090362"/>
            <a:ext cx="1458304" cy="273844"/>
          </a:xfrm>
        </p:spPr>
        <p:txBody>
          <a:bodyPr anchor="ctr">
            <a:noAutofit/>
          </a:bodyPr>
          <a:lstStyle>
            <a:lvl1pPr marL="0" indent="0" algn="ctr">
              <a:buNone/>
              <a:defRPr sz="1500" b="0" spc="225">
                <a:solidFill>
                  <a:srgbClr val="00727A"/>
                </a:solidFill>
                <a:latin typeface="Source Sans Pro" panose="020B0503030403020204" pitchFamily="34" charset="0"/>
              </a:defRPr>
            </a:lvl1pPr>
            <a:lvl2pPr>
              <a:defRPr sz="1500">
                <a:solidFill>
                  <a:schemeClr val="bg1"/>
                </a:solidFill>
                <a:latin typeface="Source Sans Pro" panose="020B0503030403020204" pitchFamily="34" charset="0"/>
              </a:defRPr>
            </a:lvl2pPr>
            <a:lvl3pPr>
              <a:defRPr sz="1350">
                <a:solidFill>
                  <a:schemeClr val="bg1"/>
                </a:solidFill>
                <a:latin typeface="Source Sans Pro" panose="020B0503030403020204" pitchFamily="34" charset="0"/>
              </a:defRPr>
            </a:lvl3pPr>
            <a:lvl4pPr>
              <a:defRPr sz="1200">
                <a:solidFill>
                  <a:schemeClr val="bg1"/>
                </a:solidFill>
                <a:latin typeface="Source Sans Pro" panose="020B0503030403020204" pitchFamily="34" charset="0"/>
              </a:defRPr>
            </a:lvl4pPr>
            <a:lvl5pPr>
              <a:defRPr sz="1200">
                <a:solidFill>
                  <a:schemeClr val="bg1"/>
                </a:solidFill>
                <a:latin typeface="Source Sans Pro" panose="020B0503030403020204" pitchFamily="34" charset="0"/>
              </a:defRPr>
            </a:lvl5pPr>
          </a:lstStyle>
          <a:p>
            <a:pPr lvl="0"/>
            <a:r>
              <a:rPr lang="fr-FR"/>
              <a:t>Titre</a:t>
            </a:r>
          </a:p>
        </p:txBody>
      </p:sp>
      <p:sp>
        <p:nvSpPr>
          <p:cNvPr id="18" name="Espace réservé du contenu 25" descr="Zone de texte&#10;">
            <a:extLst>
              <a:ext uri="{FF2B5EF4-FFF2-40B4-BE49-F238E27FC236}">
                <a16:creationId xmlns:a16="http://schemas.microsoft.com/office/drawing/2014/main" id="{A3C23D26-AB8B-412F-BC74-9225E47AA803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16345" y="1568016"/>
            <a:ext cx="1730327" cy="494641"/>
          </a:xfrm>
        </p:spPr>
        <p:txBody>
          <a:bodyPr anchor="ctr">
            <a:normAutofit/>
          </a:bodyPr>
          <a:lstStyle>
            <a:lvl1pPr marL="0" indent="0" algn="ctr">
              <a:buNone/>
              <a:defRPr sz="1200">
                <a:solidFill>
                  <a:schemeClr val="bg1"/>
                </a:solidFill>
                <a:latin typeface="Source Sans Pro" panose="020B0503030403020204" pitchFamily="34" charset="0"/>
              </a:defRPr>
            </a:lvl1pPr>
            <a:lvl2pPr>
              <a:defRPr sz="1500">
                <a:solidFill>
                  <a:schemeClr val="bg1"/>
                </a:solidFill>
                <a:latin typeface="Source Sans Pro" panose="020B0503030403020204" pitchFamily="34" charset="0"/>
              </a:defRPr>
            </a:lvl2pPr>
            <a:lvl3pPr>
              <a:defRPr sz="1350">
                <a:solidFill>
                  <a:schemeClr val="bg1"/>
                </a:solidFill>
                <a:latin typeface="Source Sans Pro" panose="020B0503030403020204" pitchFamily="34" charset="0"/>
              </a:defRPr>
            </a:lvl3pPr>
            <a:lvl4pPr>
              <a:defRPr sz="1200">
                <a:solidFill>
                  <a:schemeClr val="bg1"/>
                </a:solidFill>
                <a:latin typeface="Source Sans Pro" panose="020B0503030403020204" pitchFamily="34" charset="0"/>
              </a:defRPr>
            </a:lvl4pPr>
            <a:lvl5pPr>
              <a:defRPr sz="1200">
                <a:solidFill>
                  <a:schemeClr val="bg1"/>
                </a:solidFill>
                <a:latin typeface="Source Sans Pro" panose="020B0503030403020204" pitchFamily="34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9" name="Espace réservé du contenu 25" descr="Zone de texte&#10;">
            <a:extLst>
              <a:ext uri="{FF2B5EF4-FFF2-40B4-BE49-F238E27FC236}">
                <a16:creationId xmlns:a16="http://schemas.microsoft.com/office/drawing/2014/main" id="{4EA0C03D-E5C6-4B31-8DA6-860105457D27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5752357" y="1090362"/>
            <a:ext cx="1458304" cy="273844"/>
          </a:xfrm>
        </p:spPr>
        <p:txBody>
          <a:bodyPr anchor="ctr">
            <a:noAutofit/>
          </a:bodyPr>
          <a:lstStyle>
            <a:lvl1pPr marL="0" indent="0" algn="ctr">
              <a:buNone/>
              <a:defRPr sz="1500" b="0" spc="225">
                <a:solidFill>
                  <a:srgbClr val="00727A"/>
                </a:solidFill>
                <a:latin typeface="Source Sans Pro" panose="020B0503030403020204" pitchFamily="34" charset="0"/>
              </a:defRPr>
            </a:lvl1pPr>
            <a:lvl2pPr>
              <a:defRPr sz="1500">
                <a:solidFill>
                  <a:schemeClr val="bg1"/>
                </a:solidFill>
                <a:latin typeface="Source Sans Pro" panose="020B0503030403020204" pitchFamily="34" charset="0"/>
              </a:defRPr>
            </a:lvl2pPr>
            <a:lvl3pPr>
              <a:defRPr sz="1350">
                <a:solidFill>
                  <a:schemeClr val="bg1"/>
                </a:solidFill>
                <a:latin typeface="Source Sans Pro" panose="020B0503030403020204" pitchFamily="34" charset="0"/>
              </a:defRPr>
            </a:lvl3pPr>
            <a:lvl4pPr>
              <a:defRPr sz="1200">
                <a:solidFill>
                  <a:schemeClr val="bg1"/>
                </a:solidFill>
                <a:latin typeface="Source Sans Pro" panose="020B0503030403020204" pitchFamily="34" charset="0"/>
              </a:defRPr>
            </a:lvl4pPr>
            <a:lvl5pPr>
              <a:defRPr sz="1200">
                <a:solidFill>
                  <a:schemeClr val="bg1"/>
                </a:solidFill>
                <a:latin typeface="Source Sans Pro" panose="020B0503030403020204" pitchFamily="34" charset="0"/>
              </a:defRPr>
            </a:lvl5pPr>
          </a:lstStyle>
          <a:p>
            <a:pPr lvl="0"/>
            <a:r>
              <a:rPr lang="fr-FR"/>
              <a:t>Titre</a:t>
            </a:r>
          </a:p>
        </p:txBody>
      </p:sp>
    </p:spTree>
    <p:extLst>
      <p:ext uri="{BB962C8B-B14F-4D97-AF65-F5344CB8AC3E}">
        <p14:creationId xmlns:p14="http://schemas.microsoft.com/office/powerpoint/2010/main" val="1407291366"/>
      </p:ext>
    </p:extLst>
  </p:cSld>
  <p:clrMapOvr>
    <a:masterClrMapping/>
  </p:clrMapOvr>
</p:sldLayout>
</file>

<file path=ppt/slideLayouts/slideLayout6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02E41768-F8A0-4935-9587-56097048E0B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17F095AB-761A-4D16-A49F-4B5FD88A8A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48F244-30DD-438A-ADD2-DF4984FBCA8F}" type="slidenum">
              <a:rPr lang="fr-FR" smtClean="0"/>
              <a:t>‹#›</a:t>
            </a:fld>
            <a:endParaRPr lang="fr-FR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C0958D61-216E-4653-ADD7-BF46B75D5170}"/>
              </a:ext>
            </a:extLst>
          </p:cNvPr>
          <p:cNvSpPr/>
          <p:nvPr userDrawn="1"/>
        </p:nvSpPr>
        <p:spPr>
          <a:xfrm>
            <a:off x="1501140" y="899160"/>
            <a:ext cx="2918460" cy="4244340"/>
          </a:xfrm>
          <a:prstGeom prst="rect">
            <a:avLst/>
          </a:prstGeom>
          <a:solidFill>
            <a:srgbClr val="D6EC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20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EC12020-30B1-4DF2-B277-202612B03475}"/>
              </a:ext>
            </a:extLst>
          </p:cNvPr>
          <p:cNvSpPr/>
          <p:nvPr userDrawn="1"/>
        </p:nvSpPr>
        <p:spPr>
          <a:xfrm>
            <a:off x="4989860" y="899160"/>
            <a:ext cx="2918460" cy="4244340"/>
          </a:xfrm>
          <a:prstGeom prst="rect">
            <a:avLst/>
          </a:prstGeom>
          <a:solidFill>
            <a:srgbClr val="F57A3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200"/>
          </a:p>
        </p:txBody>
      </p:sp>
      <p:sp>
        <p:nvSpPr>
          <p:cNvPr id="10" name="Google Shape;592;p39">
            <a:extLst>
              <a:ext uri="{FF2B5EF4-FFF2-40B4-BE49-F238E27FC236}">
                <a16:creationId xmlns:a16="http://schemas.microsoft.com/office/drawing/2014/main" id="{F89FD7A8-C86B-49F3-85A5-13D1D2AF5ADF}"/>
              </a:ext>
            </a:extLst>
          </p:cNvPr>
          <p:cNvSpPr/>
          <p:nvPr userDrawn="1"/>
        </p:nvSpPr>
        <p:spPr>
          <a:xfrm>
            <a:off x="4046977" y="525491"/>
            <a:ext cx="838727" cy="838779"/>
          </a:xfrm>
          <a:custGeom>
            <a:avLst/>
            <a:gdLst/>
            <a:ahLst/>
            <a:cxnLst/>
            <a:rect l="l" t="t" r="r" b="b"/>
            <a:pathLst>
              <a:path w="16221" h="16222" fill="none" extrusionOk="0">
                <a:moveTo>
                  <a:pt x="0" y="8111"/>
                </a:moveTo>
                <a:lnTo>
                  <a:pt x="0" y="8111"/>
                </a:lnTo>
                <a:lnTo>
                  <a:pt x="0" y="7697"/>
                </a:lnTo>
                <a:lnTo>
                  <a:pt x="49" y="7283"/>
                </a:lnTo>
                <a:lnTo>
                  <a:pt x="98" y="6869"/>
                </a:lnTo>
                <a:lnTo>
                  <a:pt x="171" y="6479"/>
                </a:lnTo>
                <a:lnTo>
                  <a:pt x="244" y="6090"/>
                </a:lnTo>
                <a:lnTo>
                  <a:pt x="366" y="5700"/>
                </a:lnTo>
                <a:lnTo>
                  <a:pt x="487" y="5335"/>
                </a:lnTo>
                <a:lnTo>
                  <a:pt x="634" y="4945"/>
                </a:lnTo>
                <a:lnTo>
                  <a:pt x="804" y="4604"/>
                </a:lnTo>
                <a:lnTo>
                  <a:pt x="975" y="4239"/>
                </a:lnTo>
                <a:lnTo>
                  <a:pt x="1169" y="3898"/>
                </a:lnTo>
                <a:lnTo>
                  <a:pt x="1389" y="3581"/>
                </a:lnTo>
                <a:lnTo>
                  <a:pt x="1608" y="3264"/>
                </a:lnTo>
                <a:lnTo>
                  <a:pt x="1851" y="2948"/>
                </a:lnTo>
                <a:lnTo>
                  <a:pt x="2119" y="2656"/>
                </a:lnTo>
                <a:lnTo>
                  <a:pt x="2387" y="2388"/>
                </a:lnTo>
                <a:lnTo>
                  <a:pt x="2655" y="2120"/>
                </a:lnTo>
                <a:lnTo>
                  <a:pt x="2947" y="1852"/>
                </a:lnTo>
                <a:lnTo>
                  <a:pt x="3264" y="1608"/>
                </a:lnTo>
                <a:lnTo>
                  <a:pt x="3581" y="1389"/>
                </a:lnTo>
                <a:lnTo>
                  <a:pt x="3897" y="1170"/>
                </a:lnTo>
                <a:lnTo>
                  <a:pt x="4238" y="975"/>
                </a:lnTo>
                <a:lnTo>
                  <a:pt x="4603" y="805"/>
                </a:lnTo>
                <a:lnTo>
                  <a:pt x="4944" y="634"/>
                </a:lnTo>
                <a:lnTo>
                  <a:pt x="5334" y="488"/>
                </a:lnTo>
                <a:lnTo>
                  <a:pt x="5699" y="366"/>
                </a:lnTo>
                <a:lnTo>
                  <a:pt x="6089" y="244"/>
                </a:lnTo>
                <a:lnTo>
                  <a:pt x="6479" y="171"/>
                </a:lnTo>
                <a:lnTo>
                  <a:pt x="6868" y="98"/>
                </a:lnTo>
                <a:lnTo>
                  <a:pt x="7282" y="50"/>
                </a:lnTo>
                <a:lnTo>
                  <a:pt x="7696" y="1"/>
                </a:lnTo>
                <a:lnTo>
                  <a:pt x="8111" y="1"/>
                </a:lnTo>
                <a:lnTo>
                  <a:pt x="8111" y="1"/>
                </a:lnTo>
                <a:lnTo>
                  <a:pt x="8525" y="1"/>
                </a:lnTo>
                <a:lnTo>
                  <a:pt x="8939" y="50"/>
                </a:lnTo>
                <a:lnTo>
                  <a:pt x="9353" y="98"/>
                </a:lnTo>
                <a:lnTo>
                  <a:pt x="9742" y="171"/>
                </a:lnTo>
                <a:lnTo>
                  <a:pt x="10132" y="244"/>
                </a:lnTo>
                <a:lnTo>
                  <a:pt x="10522" y="366"/>
                </a:lnTo>
                <a:lnTo>
                  <a:pt x="10911" y="488"/>
                </a:lnTo>
                <a:lnTo>
                  <a:pt x="11277" y="634"/>
                </a:lnTo>
                <a:lnTo>
                  <a:pt x="11618" y="805"/>
                </a:lnTo>
                <a:lnTo>
                  <a:pt x="11983" y="975"/>
                </a:lnTo>
                <a:lnTo>
                  <a:pt x="12324" y="1170"/>
                </a:lnTo>
                <a:lnTo>
                  <a:pt x="12641" y="1389"/>
                </a:lnTo>
                <a:lnTo>
                  <a:pt x="12957" y="1608"/>
                </a:lnTo>
                <a:lnTo>
                  <a:pt x="13274" y="1852"/>
                </a:lnTo>
                <a:lnTo>
                  <a:pt x="13566" y="2120"/>
                </a:lnTo>
                <a:lnTo>
                  <a:pt x="13834" y="2388"/>
                </a:lnTo>
                <a:lnTo>
                  <a:pt x="14126" y="2656"/>
                </a:lnTo>
                <a:lnTo>
                  <a:pt x="14370" y="2948"/>
                </a:lnTo>
                <a:lnTo>
                  <a:pt x="14613" y="3264"/>
                </a:lnTo>
                <a:lnTo>
                  <a:pt x="14832" y="3581"/>
                </a:lnTo>
                <a:lnTo>
                  <a:pt x="15052" y="3898"/>
                </a:lnTo>
                <a:lnTo>
                  <a:pt x="15247" y="4239"/>
                </a:lnTo>
                <a:lnTo>
                  <a:pt x="15417" y="4604"/>
                </a:lnTo>
                <a:lnTo>
                  <a:pt x="15587" y="4945"/>
                </a:lnTo>
                <a:lnTo>
                  <a:pt x="15734" y="5335"/>
                </a:lnTo>
                <a:lnTo>
                  <a:pt x="15855" y="5700"/>
                </a:lnTo>
                <a:lnTo>
                  <a:pt x="15977" y="6090"/>
                </a:lnTo>
                <a:lnTo>
                  <a:pt x="16050" y="6479"/>
                </a:lnTo>
                <a:lnTo>
                  <a:pt x="16123" y="6869"/>
                </a:lnTo>
                <a:lnTo>
                  <a:pt x="16172" y="7283"/>
                </a:lnTo>
                <a:lnTo>
                  <a:pt x="16221" y="7697"/>
                </a:lnTo>
                <a:lnTo>
                  <a:pt x="16221" y="8111"/>
                </a:lnTo>
                <a:lnTo>
                  <a:pt x="16221" y="8111"/>
                </a:lnTo>
                <a:lnTo>
                  <a:pt x="16221" y="8525"/>
                </a:lnTo>
                <a:lnTo>
                  <a:pt x="16172" y="8939"/>
                </a:lnTo>
                <a:lnTo>
                  <a:pt x="16123" y="9353"/>
                </a:lnTo>
                <a:lnTo>
                  <a:pt x="16050" y="9743"/>
                </a:lnTo>
                <a:lnTo>
                  <a:pt x="15977" y="10133"/>
                </a:lnTo>
                <a:lnTo>
                  <a:pt x="15855" y="10522"/>
                </a:lnTo>
                <a:lnTo>
                  <a:pt x="15734" y="10888"/>
                </a:lnTo>
                <a:lnTo>
                  <a:pt x="15587" y="11277"/>
                </a:lnTo>
                <a:lnTo>
                  <a:pt x="15417" y="11618"/>
                </a:lnTo>
                <a:lnTo>
                  <a:pt x="15247" y="11984"/>
                </a:lnTo>
                <a:lnTo>
                  <a:pt x="15052" y="12324"/>
                </a:lnTo>
                <a:lnTo>
                  <a:pt x="14832" y="12641"/>
                </a:lnTo>
                <a:lnTo>
                  <a:pt x="14613" y="12958"/>
                </a:lnTo>
                <a:lnTo>
                  <a:pt x="14370" y="13274"/>
                </a:lnTo>
                <a:lnTo>
                  <a:pt x="14126" y="13567"/>
                </a:lnTo>
                <a:lnTo>
                  <a:pt x="13834" y="13835"/>
                </a:lnTo>
                <a:lnTo>
                  <a:pt x="13566" y="14102"/>
                </a:lnTo>
                <a:lnTo>
                  <a:pt x="13274" y="14370"/>
                </a:lnTo>
                <a:lnTo>
                  <a:pt x="12957" y="14614"/>
                </a:lnTo>
                <a:lnTo>
                  <a:pt x="12641" y="14833"/>
                </a:lnTo>
                <a:lnTo>
                  <a:pt x="12324" y="15052"/>
                </a:lnTo>
                <a:lnTo>
                  <a:pt x="11983" y="15247"/>
                </a:lnTo>
                <a:lnTo>
                  <a:pt x="11618" y="15418"/>
                </a:lnTo>
                <a:lnTo>
                  <a:pt x="11277" y="15588"/>
                </a:lnTo>
                <a:lnTo>
                  <a:pt x="10911" y="15734"/>
                </a:lnTo>
                <a:lnTo>
                  <a:pt x="10522" y="15856"/>
                </a:lnTo>
                <a:lnTo>
                  <a:pt x="10132" y="15978"/>
                </a:lnTo>
                <a:lnTo>
                  <a:pt x="9742" y="16051"/>
                </a:lnTo>
                <a:lnTo>
                  <a:pt x="9353" y="16124"/>
                </a:lnTo>
                <a:lnTo>
                  <a:pt x="8939" y="16173"/>
                </a:lnTo>
                <a:lnTo>
                  <a:pt x="8525" y="16221"/>
                </a:lnTo>
                <a:lnTo>
                  <a:pt x="8111" y="16221"/>
                </a:lnTo>
                <a:lnTo>
                  <a:pt x="8111" y="16221"/>
                </a:lnTo>
                <a:lnTo>
                  <a:pt x="7696" y="16221"/>
                </a:lnTo>
                <a:lnTo>
                  <a:pt x="7282" y="16173"/>
                </a:lnTo>
                <a:lnTo>
                  <a:pt x="6868" y="16124"/>
                </a:lnTo>
                <a:lnTo>
                  <a:pt x="6479" y="16051"/>
                </a:lnTo>
                <a:lnTo>
                  <a:pt x="6089" y="15978"/>
                </a:lnTo>
                <a:lnTo>
                  <a:pt x="5699" y="15856"/>
                </a:lnTo>
                <a:lnTo>
                  <a:pt x="5334" y="15734"/>
                </a:lnTo>
                <a:lnTo>
                  <a:pt x="4944" y="15588"/>
                </a:lnTo>
                <a:lnTo>
                  <a:pt x="4603" y="15418"/>
                </a:lnTo>
                <a:lnTo>
                  <a:pt x="4238" y="15247"/>
                </a:lnTo>
                <a:lnTo>
                  <a:pt x="3897" y="15052"/>
                </a:lnTo>
                <a:lnTo>
                  <a:pt x="3581" y="14833"/>
                </a:lnTo>
                <a:lnTo>
                  <a:pt x="3264" y="14614"/>
                </a:lnTo>
                <a:lnTo>
                  <a:pt x="2947" y="14370"/>
                </a:lnTo>
                <a:lnTo>
                  <a:pt x="2655" y="14102"/>
                </a:lnTo>
                <a:lnTo>
                  <a:pt x="2387" y="13835"/>
                </a:lnTo>
                <a:lnTo>
                  <a:pt x="2119" y="13567"/>
                </a:lnTo>
                <a:lnTo>
                  <a:pt x="1851" y="13274"/>
                </a:lnTo>
                <a:lnTo>
                  <a:pt x="1608" y="12958"/>
                </a:lnTo>
                <a:lnTo>
                  <a:pt x="1389" y="12641"/>
                </a:lnTo>
                <a:lnTo>
                  <a:pt x="1169" y="12324"/>
                </a:lnTo>
                <a:lnTo>
                  <a:pt x="975" y="11984"/>
                </a:lnTo>
                <a:lnTo>
                  <a:pt x="804" y="11618"/>
                </a:lnTo>
                <a:lnTo>
                  <a:pt x="634" y="11277"/>
                </a:lnTo>
                <a:lnTo>
                  <a:pt x="487" y="10888"/>
                </a:lnTo>
                <a:lnTo>
                  <a:pt x="366" y="10522"/>
                </a:lnTo>
                <a:lnTo>
                  <a:pt x="244" y="10133"/>
                </a:lnTo>
                <a:lnTo>
                  <a:pt x="171" y="9743"/>
                </a:lnTo>
                <a:lnTo>
                  <a:pt x="98" y="9353"/>
                </a:lnTo>
                <a:lnTo>
                  <a:pt x="49" y="8939"/>
                </a:lnTo>
                <a:lnTo>
                  <a:pt x="0" y="8525"/>
                </a:lnTo>
                <a:lnTo>
                  <a:pt x="0" y="8111"/>
                </a:lnTo>
                <a:lnTo>
                  <a:pt x="0" y="8111"/>
                </a:lnTo>
                <a:close/>
                <a:moveTo>
                  <a:pt x="7234" y="11180"/>
                </a:moveTo>
                <a:lnTo>
                  <a:pt x="7234" y="11180"/>
                </a:lnTo>
                <a:lnTo>
                  <a:pt x="7282" y="11180"/>
                </a:lnTo>
                <a:lnTo>
                  <a:pt x="7282" y="11180"/>
                </a:lnTo>
                <a:lnTo>
                  <a:pt x="7453" y="11155"/>
                </a:lnTo>
                <a:lnTo>
                  <a:pt x="7623" y="11082"/>
                </a:lnTo>
                <a:lnTo>
                  <a:pt x="7794" y="10985"/>
                </a:lnTo>
                <a:lnTo>
                  <a:pt x="7916" y="10863"/>
                </a:lnTo>
                <a:lnTo>
                  <a:pt x="12007" y="6747"/>
                </a:lnTo>
                <a:lnTo>
                  <a:pt x="12007" y="6747"/>
                </a:lnTo>
                <a:lnTo>
                  <a:pt x="12105" y="6625"/>
                </a:lnTo>
                <a:lnTo>
                  <a:pt x="12153" y="6504"/>
                </a:lnTo>
                <a:lnTo>
                  <a:pt x="12202" y="6358"/>
                </a:lnTo>
                <a:lnTo>
                  <a:pt x="12202" y="6211"/>
                </a:lnTo>
                <a:lnTo>
                  <a:pt x="12202" y="6211"/>
                </a:lnTo>
                <a:lnTo>
                  <a:pt x="12178" y="6017"/>
                </a:lnTo>
                <a:lnTo>
                  <a:pt x="12129" y="5822"/>
                </a:lnTo>
                <a:lnTo>
                  <a:pt x="12032" y="5676"/>
                </a:lnTo>
                <a:lnTo>
                  <a:pt x="11886" y="5529"/>
                </a:lnTo>
                <a:lnTo>
                  <a:pt x="11886" y="5529"/>
                </a:lnTo>
                <a:lnTo>
                  <a:pt x="11764" y="5432"/>
                </a:lnTo>
                <a:lnTo>
                  <a:pt x="11618" y="5383"/>
                </a:lnTo>
                <a:lnTo>
                  <a:pt x="11472" y="5335"/>
                </a:lnTo>
                <a:lnTo>
                  <a:pt x="11325" y="5335"/>
                </a:lnTo>
                <a:lnTo>
                  <a:pt x="11325" y="5335"/>
                </a:lnTo>
                <a:lnTo>
                  <a:pt x="11131" y="5359"/>
                </a:lnTo>
                <a:lnTo>
                  <a:pt x="10960" y="5408"/>
                </a:lnTo>
                <a:lnTo>
                  <a:pt x="10790" y="5505"/>
                </a:lnTo>
                <a:lnTo>
                  <a:pt x="10643" y="5651"/>
                </a:lnTo>
                <a:lnTo>
                  <a:pt x="7161" y="8988"/>
                </a:lnTo>
                <a:lnTo>
                  <a:pt x="5797" y="7648"/>
                </a:lnTo>
                <a:lnTo>
                  <a:pt x="5797" y="7648"/>
                </a:lnTo>
                <a:lnTo>
                  <a:pt x="5675" y="7527"/>
                </a:lnTo>
                <a:lnTo>
                  <a:pt x="5505" y="7454"/>
                </a:lnTo>
                <a:lnTo>
                  <a:pt x="5358" y="7405"/>
                </a:lnTo>
                <a:lnTo>
                  <a:pt x="5188" y="7380"/>
                </a:lnTo>
                <a:lnTo>
                  <a:pt x="5188" y="7380"/>
                </a:lnTo>
                <a:lnTo>
                  <a:pt x="5017" y="7405"/>
                </a:lnTo>
                <a:lnTo>
                  <a:pt x="4847" y="7454"/>
                </a:lnTo>
                <a:lnTo>
                  <a:pt x="4701" y="7527"/>
                </a:lnTo>
                <a:lnTo>
                  <a:pt x="4555" y="7648"/>
                </a:lnTo>
                <a:lnTo>
                  <a:pt x="4555" y="7648"/>
                </a:lnTo>
                <a:lnTo>
                  <a:pt x="4457" y="7770"/>
                </a:lnTo>
                <a:lnTo>
                  <a:pt x="4360" y="7916"/>
                </a:lnTo>
                <a:lnTo>
                  <a:pt x="4311" y="8087"/>
                </a:lnTo>
                <a:lnTo>
                  <a:pt x="4311" y="8257"/>
                </a:lnTo>
                <a:lnTo>
                  <a:pt x="4311" y="8257"/>
                </a:lnTo>
                <a:lnTo>
                  <a:pt x="4311" y="8428"/>
                </a:lnTo>
                <a:lnTo>
                  <a:pt x="4360" y="8598"/>
                </a:lnTo>
                <a:lnTo>
                  <a:pt x="4457" y="8744"/>
                </a:lnTo>
                <a:lnTo>
                  <a:pt x="4555" y="8890"/>
                </a:lnTo>
                <a:lnTo>
                  <a:pt x="6601" y="10936"/>
                </a:lnTo>
                <a:lnTo>
                  <a:pt x="6601" y="10936"/>
                </a:lnTo>
                <a:lnTo>
                  <a:pt x="6747" y="11034"/>
                </a:lnTo>
                <a:lnTo>
                  <a:pt x="6893" y="11131"/>
                </a:lnTo>
                <a:lnTo>
                  <a:pt x="7063" y="11180"/>
                </a:lnTo>
                <a:lnTo>
                  <a:pt x="7234" y="11180"/>
                </a:lnTo>
                <a:lnTo>
                  <a:pt x="7234" y="11180"/>
                </a:lnTo>
                <a:close/>
              </a:path>
            </a:pathLst>
          </a:custGeom>
          <a:noFill/>
          <a:ln w="12175" cap="rnd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68569" tIns="68569" rIns="68569" bIns="68569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200"/>
          </a:p>
        </p:txBody>
      </p:sp>
      <p:sp>
        <p:nvSpPr>
          <p:cNvPr id="11" name="Google Shape;594;p39">
            <a:extLst>
              <a:ext uri="{FF2B5EF4-FFF2-40B4-BE49-F238E27FC236}">
                <a16:creationId xmlns:a16="http://schemas.microsoft.com/office/drawing/2014/main" id="{A36AEF50-C630-4272-9995-82ADA877B368}"/>
              </a:ext>
            </a:extLst>
          </p:cNvPr>
          <p:cNvSpPr/>
          <p:nvPr userDrawn="1"/>
        </p:nvSpPr>
        <p:spPr>
          <a:xfrm>
            <a:off x="7607329" y="505398"/>
            <a:ext cx="731210" cy="731255"/>
          </a:xfrm>
          <a:custGeom>
            <a:avLst/>
            <a:gdLst/>
            <a:ahLst/>
            <a:cxnLst/>
            <a:rect l="l" t="t" r="r" b="b"/>
            <a:pathLst>
              <a:path w="16367" h="16368" fill="none" extrusionOk="0">
                <a:moveTo>
                  <a:pt x="16074" y="4385"/>
                </a:moveTo>
                <a:lnTo>
                  <a:pt x="11983" y="293"/>
                </a:lnTo>
                <a:lnTo>
                  <a:pt x="11983" y="293"/>
                </a:lnTo>
                <a:lnTo>
                  <a:pt x="11812" y="171"/>
                </a:lnTo>
                <a:lnTo>
                  <a:pt x="11642" y="74"/>
                </a:lnTo>
                <a:lnTo>
                  <a:pt x="11447" y="25"/>
                </a:lnTo>
                <a:lnTo>
                  <a:pt x="11252" y="1"/>
                </a:lnTo>
                <a:lnTo>
                  <a:pt x="5115" y="1"/>
                </a:lnTo>
                <a:lnTo>
                  <a:pt x="5115" y="1"/>
                </a:lnTo>
                <a:lnTo>
                  <a:pt x="4920" y="25"/>
                </a:lnTo>
                <a:lnTo>
                  <a:pt x="4725" y="74"/>
                </a:lnTo>
                <a:lnTo>
                  <a:pt x="4554" y="171"/>
                </a:lnTo>
                <a:lnTo>
                  <a:pt x="4384" y="293"/>
                </a:lnTo>
                <a:lnTo>
                  <a:pt x="292" y="4385"/>
                </a:lnTo>
                <a:lnTo>
                  <a:pt x="292" y="4385"/>
                </a:lnTo>
                <a:lnTo>
                  <a:pt x="171" y="4555"/>
                </a:lnTo>
                <a:lnTo>
                  <a:pt x="73" y="4726"/>
                </a:lnTo>
                <a:lnTo>
                  <a:pt x="24" y="4921"/>
                </a:lnTo>
                <a:lnTo>
                  <a:pt x="0" y="5115"/>
                </a:lnTo>
                <a:lnTo>
                  <a:pt x="0" y="11253"/>
                </a:lnTo>
                <a:lnTo>
                  <a:pt x="0" y="11253"/>
                </a:lnTo>
                <a:lnTo>
                  <a:pt x="24" y="11448"/>
                </a:lnTo>
                <a:lnTo>
                  <a:pt x="73" y="11642"/>
                </a:lnTo>
                <a:lnTo>
                  <a:pt x="171" y="11813"/>
                </a:lnTo>
                <a:lnTo>
                  <a:pt x="292" y="11983"/>
                </a:lnTo>
                <a:lnTo>
                  <a:pt x="4384" y="16075"/>
                </a:lnTo>
                <a:lnTo>
                  <a:pt x="4384" y="16075"/>
                </a:lnTo>
                <a:lnTo>
                  <a:pt x="4554" y="16197"/>
                </a:lnTo>
                <a:lnTo>
                  <a:pt x="4725" y="16294"/>
                </a:lnTo>
                <a:lnTo>
                  <a:pt x="4920" y="16343"/>
                </a:lnTo>
                <a:lnTo>
                  <a:pt x="5115" y="16367"/>
                </a:lnTo>
                <a:lnTo>
                  <a:pt x="11252" y="16367"/>
                </a:lnTo>
                <a:lnTo>
                  <a:pt x="11252" y="16367"/>
                </a:lnTo>
                <a:lnTo>
                  <a:pt x="11447" y="16343"/>
                </a:lnTo>
                <a:lnTo>
                  <a:pt x="11642" y="16294"/>
                </a:lnTo>
                <a:lnTo>
                  <a:pt x="11812" y="16197"/>
                </a:lnTo>
                <a:lnTo>
                  <a:pt x="11983" y="16075"/>
                </a:lnTo>
                <a:lnTo>
                  <a:pt x="16074" y="11983"/>
                </a:lnTo>
                <a:lnTo>
                  <a:pt x="16074" y="11983"/>
                </a:lnTo>
                <a:lnTo>
                  <a:pt x="16196" y="11813"/>
                </a:lnTo>
                <a:lnTo>
                  <a:pt x="16294" y="11642"/>
                </a:lnTo>
                <a:lnTo>
                  <a:pt x="16342" y="11448"/>
                </a:lnTo>
                <a:lnTo>
                  <a:pt x="16367" y="11253"/>
                </a:lnTo>
                <a:lnTo>
                  <a:pt x="16367" y="5115"/>
                </a:lnTo>
                <a:lnTo>
                  <a:pt x="16367" y="5115"/>
                </a:lnTo>
                <a:lnTo>
                  <a:pt x="16342" y="4921"/>
                </a:lnTo>
                <a:lnTo>
                  <a:pt x="16294" y="4726"/>
                </a:lnTo>
                <a:lnTo>
                  <a:pt x="16196" y="4555"/>
                </a:lnTo>
                <a:lnTo>
                  <a:pt x="16074" y="4385"/>
                </a:lnTo>
                <a:lnTo>
                  <a:pt x="16074" y="4385"/>
                </a:lnTo>
                <a:close/>
                <a:moveTo>
                  <a:pt x="9864" y="8452"/>
                </a:moveTo>
                <a:lnTo>
                  <a:pt x="11203" y="9792"/>
                </a:lnTo>
                <a:lnTo>
                  <a:pt x="11203" y="9792"/>
                </a:lnTo>
                <a:lnTo>
                  <a:pt x="11252" y="9840"/>
                </a:lnTo>
                <a:lnTo>
                  <a:pt x="11276" y="9913"/>
                </a:lnTo>
                <a:lnTo>
                  <a:pt x="11301" y="10059"/>
                </a:lnTo>
                <a:lnTo>
                  <a:pt x="11276" y="10206"/>
                </a:lnTo>
                <a:lnTo>
                  <a:pt x="11252" y="10279"/>
                </a:lnTo>
                <a:lnTo>
                  <a:pt x="11203" y="10327"/>
                </a:lnTo>
                <a:lnTo>
                  <a:pt x="10327" y="11204"/>
                </a:lnTo>
                <a:lnTo>
                  <a:pt x="10327" y="11204"/>
                </a:lnTo>
                <a:lnTo>
                  <a:pt x="10278" y="11253"/>
                </a:lnTo>
                <a:lnTo>
                  <a:pt x="10205" y="11277"/>
                </a:lnTo>
                <a:lnTo>
                  <a:pt x="10059" y="11302"/>
                </a:lnTo>
                <a:lnTo>
                  <a:pt x="9913" y="11277"/>
                </a:lnTo>
                <a:lnTo>
                  <a:pt x="9840" y="11253"/>
                </a:lnTo>
                <a:lnTo>
                  <a:pt x="9791" y="11204"/>
                </a:lnTo>
                <a:lnTo>
                  <a:pt x="8451" y="9865"/>
                </a:lnTo>
                <a:lnTo>
                  <a:pt x="8451" y="9865"/>
                </a:lnTo>
                <a:lnTo>
                  <a:pt x="8403" y="9816"/>
                </a:lnTo>
                <a:lnTo>
                  <a:pt x="8330" y="9792"/>
                </a:lnTo>
                <a:lnTo>
                  <a:pt x="8183" y="9767"/>
                </a:lnTo>
                <a:lnTo>
                  <a:pt x="8037" y="9792"/>
                </a:lnTo>
                <a:lnTo>
                  <a:pt x="7964" y="9816"/>
                </a:lnTo>
                <a:lnTo>
                  <a:pt x="7915" y="9865"/>
                </a:lnTo>
                <a:lnTo>
                  <a:pt x="6576" y="11204"/>
                </a:lnTo>
                <a:lnTo>
                  <a:pt x="6576" y="11204"/>
                </a:lnTo>
                <a:lnTo>
                  <a:pt x="6527" y="11253"/>
                </a:lnTo>
                <a:lnTo>
                  <a:pt x="6454" y="11277"/>
                </a:lnTo>
                <a:lnTo>
                  <a:pt x="6308" y="11302"/>
                </a:lnTo>
                <a:lnTo>
                  <a:pt x="6162" y="11277"/>
                </a:lnTo>
                <a:lnTo>
                  <a:pt x="6089" y="11253"/>
                </a:lnTo>
                <a:lnTo>
                  <a:pt x="6040" y="11204"/>
                </a:lnTo>
                <a:lnTo>
                  <a:pt x="5163" y="10327"/>
                </a:lnTo>
                <a:lnTo>
                  <a:pt x="5163" y="10327"/>
                </a:lnTo>
                <a:lnTo>
                  <a:pt x="5115" y="10279"/>
                </a:lnTo>
                <a:lnTo>
                  <a:pt x="5090" y="10206"/>
                </a:lnTo>
                <a:lnTo>
                  <a:pt x="5066" y="10059"/>
                </a:lnTo>
                <a:lnTo>
                  <a:pt x="5090" y="9913"/>
                </a:lnTo>
                <a:lnTo>
                  <a:pt x="5115" y="9840"/>
                </a:lnTo>
                <a:lnTo>
                  <a:pt x="5163" y="9792"/>
                </a:lnTo>
                <a:lnTo>
                  <a:pt x="6503" y="8452"/>
                </a:lnTo>
                <a:lnTo>
                  <a:pt x="6503" y="8452"/>
                </a:lnTo>
                <a:lnTo>
                  <a:pt x="6552" y="8403"/>
                </a:lnTo>
                <a:lnTo>
                  <a:pt x="6576" y="8330"/>
                </a:lnTo>
                <a:lnTo>
                  <a:pt x="6600" y="8184"/>
                </a:lnTo>
                <a:lnTo>
                  <a:pt x="6576" y="8038"/>
                </a:lnTo>
                <a:lnTo>
                  <a:pt x="6552" y="7965"/>
                </a:lnTo>
                <a:lnTo>
                  <a:pt x="6503" y="7916"/>
                </a:lnTo>
                <a:lnTo>
                  <a:pt x="5163" y="6577"/>
                </a:lnTo>
                <a:lnTo>
                  <a:pt x="5163" y="6577"/>
                </a:lnTo>
                <a:lnTo>
                  <a:pt x="5115" y="6528"/>
                </a:lnTo>
                <a:lnTo>
                  <a:pt x="5090" y="6455"/>
                </a:lnTo>
                <a:lnTo>
                  <a:pt x="5066" y="6309"/>
                </a:lnTo>
                <a:lnTo>
                  <a:pt x="5090" y="6163"/>
                </a:lnTo>
                <a:lnTo>
                  <a:pt x="5115" y="6090"/>
                </a:lnTo>
                <a:lnTo>
                  <a:pt x="5163" y="6041"/>
                </a:lnTo>
                <a:lnTo>
                  <a:pt x="6040" y="5164"/>
                </a:lnTo>
                <a:lnTo>
                  <a:pt x="6040" y="5164"/>
                </a:lnTo>
                <a:lnTo>
                  <a:pt x="6089" y="5115"/>
                </a:lnTo>
                <a:lnTo>
                  <a:pt x="6162" y="5091"/>
                </a:lnTo>
                <a:lnTo>
                  <a:pt x="6308" y="5067"/>
                </a:lnTo>
                <a:lnTo>
                  <a:pt x="6454" y="5091"/>
                </a:lnTo>
                <a:lnTo>
                  <a:pt x="6527" y="5115"/>
                </a:lnTo>
                <a:lnTo>
                  <a:pt x="6576" y="5164"/>
                </a:lnTo>
                <a:lnTo>
                  <a:pt x="7915" y="6504"/>
                </a:lnTo>
                <a:lnTo>
                  <a:pt x="7915" y="6504"/>
                </a:lnTo>
                <a:lnTo>
                  <a:pt x="7964" y="6552"/>
                </a:lnTo>
                <a:lnTo>
                  <a:pt x="8037" y="6577"/>
                </a:lnTo>
                <a:lnTo>
                  <a:pt x="8183" y="6601"/>
                </a:lnTo>
                <a:lnTo>
                  <a:pt x="8330" y="6577"/>
                </a:lnTo>
                <a:lnTo>
                  <a:pt x="8403" y="6552"/>
                </a:lnTo>
                <a:lnTo>
                  <a:pt x="8451" y="6504"/>
                </a:lnTo>
                <a:lnTo>
                  <a:pt x="9791" y="5164"/>
                </a:lnTo>
                <a:lnTo>
                  <a:pt x="9791" y="5164"/>
                </a:lnTo>
                <a:lnTo>
                  <a:pt x="9840" y="5115"/>
                </a:lnTo>
                <a:lnTo>
                  <a:pt x="9913" y="5091"/>
                </a:lnTo>
                <a:lnTo>
                  <a:pt x="10059" y="5067"/>
                </a:lnTo>
                <a:lnTo>
                  <a:pt x="10205" y="5091"/>
                </a:lnTo>
                <a:lnTo>
                  <a:pt x="10278" y="5115"/>
                </a:lnTo>
                <a:lnTo>
                  <a:pt x="10327" y="5164"/>
                </a:lnTo>
                <a:lnTo>
                  <a:pt x="11203" y="6041"/>
                </a:lnTo>
                <a:lnTo>
                  <a:pt x="11203" y="6041"/>
                </a:lnTo>
                <a:lnTo>
                  <a:pt x="11252" y="6090"/>
                </a:lnTo>
                <a:lnTo>
                  <a:pt x="11276" y="6163"/>
                </a:lnTo>
                <a:lnTo>
                  <a:pt x="11301" y="6309"/>
                </a:lnTo>
                <a:lnTo>
                  <a:pt x="11276" y="6455"/>
                </a:lnTo>
                <a:lnTo>
                  <a:pt x="11252" y="6528"/>
                </a:lnTo>
                <a:lnTo>
                  <a:pt x="11203" y="6577"/>
                </a:lnTo>
                <a:lnTo>
                  <a:pt x="9864" y="7916"/>
                </a:lnTo>
                <a:lnTo>
                  <a:pt x="9864" y="7916"/>
                </a:lnTo>
                <a:lnTo>
                  <a:pt x="9815" y="7965"/>
                </a:lnTo>
                <a:lnTo>
                  <a:pt x="9791" y="8038"/>
                </a:lnTo>
                <a:lnTo>
                  <a:pt x="9766" y="8184"/>
                </a:lnTo>
                <a:lnTo>
                  <a:pt x="9791" y="8330"/>
                </a:lnTo>
                <a:lnTo>
                  <a:pt x="9815" y="8403"/>
                </a:lnTo>
                <a:lnTo>
                  <a:pt x="9864" y="8452"/>
                </a:lnTo>
                <a:lnTo>
                  <a:pt x="9864" y="8452"/>
                </a:lnTo>
                <a:close/>
              </a:path>
            </a:pathLst>
          </a:custGeom>
          <a:noFill/>
          <a:ln w="12175" cap="rnd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68569" tIns="68569" rIns="68569" bIns="68569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200"/>
          </a:p>
        </p:txBody>
      </p:sp>
      <p:pic>
        <p:nvPicPr>
          <p:cNvPr id="12" name="Picture 2">
            <a:extLst>
              <a:ext uri="{FF2B5EF4-FFF2-40B4-BE49-F238E27FC236}">
                <a16:creationId xmlns:a16="http://schemas.microsoft.com/office/drawing/2014/main" id="{0F824807-BC9B-487D-84F3-1A86E97AB83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>
          <a:xfrm>
            <a:off x="-273682" y="2695132"/>
            <a:ext cx="2720395" cy="2725836"/>
          </a:xfrm>
          <a:prstGeom prst="rect">
            <a:avLst/>
          </a:prstGeom>
        </p:spPr>
      </p:pic>
      <p:sp>
        <p:nvSpPr>
          <p:cNvPr id="15" name="Titre 24">
            <a:extLst>
              <a:ext uri="{FF2B5EF4-FFF2-40B4-BE49-F238E27FC236}">
                <a16:creationId xmlns:a16="http://schemas.microsoft.com/office/drawing/2014/main" id="{A636CFFC-0A76-4A5B-BF55-7B65187E7F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5460" y="313723"/>
            <a:ext cx="4070509" cy="539891"/>
          </a:xfrm>
        </p:spPr>
        <p:txBody>
          <a:bodyPr>
            <a:normAutofit/>
          </a:bodyPr>
          <a:lstStyle>
            <a:lvl1pPr>
              <a:defRPr sz="2100"/>
            </a:lvl1pPr>
          </a:lstStyle>
          <a:p>
            <a:r>
              <a:rPr lang="fr-FR" sz="2400">
                <a:solidFill>
                  <a:srgbClr val="F57A30"/>
                </a:solidFill>
                <a:latin typeface="Source Sans Pro Black" panose="020B0803030403020204" pitchFamily="34" charset="0"/>
              </a:rPr>
              <a:t>Titre</a:t>
            </a:r>
          </a:p>
        </p:txBody>
      </p:sp>
      <p:sp>
        <p:nvSpPr>
          <p:cNvPr id="16" name="Espace réservé du contenu 25" descr="Zone de texte&#10;">
            <a:extLst>
              <a:ext uri="{FF2B5EF4-FFF2-40B4-BE49-F238E27FC236}">
                <a16:creationId xmlns:a16="http://schemas.microsoft.com/office/drawing/2014/main" id="{C190988B-352D-4BB2-8505-87C64AA96B0E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2039220" y="1568016"/>
            <a:ext cx="1730327" cy="494641"/>
          </a:xfrm>
        </p:spPr>
        <p:txBody>
          <a:bodyPr anchor="ctr">
            <a:normAutofit/>
          </a:bodyPr>
          <a:lstStyle>
            <a:lvl1pPr marL="0" indent="0" algn="ctr">
              <a:buNone/>
              <a:defRPr sz="1200">
                <a:solidFill>
                  <a:schemeClr val="bg1"/>
                </a:solidFill>
                <a:latin typeface="Source Sans Pro" panose="020B0503030403020204" pitchFamily="34" charset="0"/>
              </a:defRPr>
            </a:lvl1pPr>
            <a:lvl2pPr>
              <a:defRPr sz="1500">
                <a:solidFill>
                  <a:schemeClr val="bg1"/>
                </a:solidFill>
                <a:latin typeface="Source Sans Pro" panose="020B0503030403020204" pitchFamily="34" charset="0"/>
              </a:defRPr>
            </a:lvl2pPr>
            <a:lvl3pPr>
              <a:defRPr sz="1350">
                <a:solidFill>
                  <a:schemeClr val="bg1"/>
                </a:solidFill>
                <a:latin typeface="Source Sans Pro" panose="020B0503030403020204" pitchFamily="34" charset="0"/>
              </a:defRPr>
            </a:lvl3pPr>
            <a:lvl4pPr>
              <a:defRPr sz="1200">
                <a:solidFill>
                  <a:schemeClr val="bg1"/>
                </a:solidFill>
                <a:latin typeface="Source Sans Pro" panose="020B0503030403020204" pitchFamily="34" charset="0"/>
              </a:defRPr>
            </a:lvl4pPr>
            <a:lvl5pPr>
              <a:defRPr sz="1200">
                <a:solidFill>
                  <a:schemeClr val="bg1"/>
                </a:solidFill>
                <a:latin typeface="Source Sans Pro" panose="020B0503030403020204" pitchFamily="34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7" name="Espace réservé du contenu 25" descr="Zone de texte&#10;">
            <a:extLst>
              <a:ext uri="{FF2B5EF4-FFF2-40B4-BE49-F238E27FC236}">
                <a16:creationId xmlns:a16="http://schemas.microsoft.com/office/drawing/2014/main" id="{C6987DDA-0A7D-4F52-AFE3-5630F06E74A7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2175232" y="1090362"/>
            <a:ext cx="1458304" cy="273844"/>
          </a:xfrm>
        </p:spPr>
        <p:txBody>
          <a:bodyPr anchor="ctr">
            <a:noAutofit/>
          </a:bodyPr>
          <a:lstStyle>
            <a:lvl1pPr marL="0" indent="0" algn="ctr">
              <a:buNone/>
              <a:defRPr sz="1500" b="0" spc="225">
                <a:solidFill>
                  <a:srgbClr val="00727A"/>
                </a:solidFill>
                <a:latin typeface="Source Sans Pro" panose="020B0503030403020204" pitchFamily="34" charset="0"/>
              </a:defRPr>
            </a:lvl1pPr>
            <a:lvl2pPr>
              <a:defRPr sz="1500">
                <a:solidFill>
                  <a:schemeClr val="bg1"/>
                </a:solidFill>
                <a:latin typeface="Source Sans Pro" panose="020B0503030403020204" pitchFamily="34" charset="0"/>
              </a:defRPr>
            </a:lvl2pPr>
            <a:lvl3pPr>
              <a:defRPr sz="1350">
                <a:solidFill>
                  <a:schemeClr val="bg1"/>
                </a:solidFill>
                <a:latin typeface="Source Sans Pro" panose="020B0503030403020204" pitchFamily="34" charset="0"/>
              </a:defRPr>
            </a:lvl3pPr>
            <a:lvl4pPr>
              <a:defRPr sz="1200">
                <a:solidFill>
                  <a:schemeClr val="bg1"/>
                </a:solidFill>
                <a:latin typeface="Source Sans Pro" panose="020B0503030403020204" pitchFamily="34" charset="0"/>
              </a:defRPr>
            </a:lvl4pPr>
            <a:lvl5pPr>
              <a:defRPr sz="1200">
                <a:solidFill>
                  <a:schemeClr val="bg1"/>
                </a:solidFill>
                <a:latin typeface="Source Sans Pro" panose="020B0503030403020204" pitchFamily="34" charset="0"/>
              </a:defRPr>
            </a:lvl5pPr>
          </a:lstStyle>
          <a:p>
            <a:pPr lvl="0"/>
            <a:r>
              <a:rPr lang="fr-FR"/>
              <a:t>Titre</a:t>
            </a:r>
          </a:p>
        </p:txBody>
      </p:sp>
      <p:sp>
        <p:nvSpPr>
          <p:cNvPr id="18" name="Espace réservé du contenu 25" descr="Zone de texte&#10;">
            <a:extLst>
              <a:ext uri="{FF2B5EF4-FFF2-40B4-BE49-F238E27FC236}">
                <a16:creationId xmlns:a16="http://schemas.microsoft.com/office/drawing/2014/main" id="{A3C23D26-AB8B-412F-BC74-9225E47AA803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16345" y="1568016"/>
            <a:ext cx="1730327" cy="494641"/>
          </a:xfrm>
        </p:spPr>
        <p:txBody>
          <a:bodyPr anchor="ctr">
            <a:normAutofit/>
          </a:bodyPr>
          <a:lstStyle>
            <a:lvl1pPr marL="0" indent="0" algn="ctr">
              <a:buNone/>
              <a:defRPr sz="1200">
                <a:solidFill>
                  <a:schemeClr val="bg1"/>
                </a:solidFill>
                <a:latin typeface="Source Sans Pro" panose="020B0503030403020204" pitchFamily="34" charset="0"/>
              </a:defRPr>
            </a:lvl1pPr>
            <a:lvl2pPr>
              <a:defRPr sz="1500">
                <a:solidFill>
                  <a:schemeClr val="bg1"/>
                </a:solidFill>
                <a:latin typeface="Source Sans Pro" panose="020B0503030403020204" pitchFamily="34" charset="0"/>
              </a:defRPr>
            </a:lvl2pPr>
            <a:lvl3pPr>
              <a:defRPr sz="1350">
                <a:solidFill>
                  <a:schemeClr val="bg1"/>
                </a:solidFill>
                <a:latin typeface="Source Sans Pro" panose="020B0503030403020204" pitchFamily="34" charset="0"/>
              </a:defRPr>
            </a:lvl3pPr>
            <a:lvl4pPr>
              <a:defRPr sz="1200">
                <a:solidFill>
                  <a:schemeClr val="bg1"/>
                </a:solidFill>
                <a:latin typeface="Source Sans Pro" panose="020B0503030403020204" pitchFamily="34" charset="0"/>
              </a:defRPr>
            </a:lvl4pPr>
            <a:lvl5pPr>
              <a:defRPr sz="1200">
                <a:solidFill>
                  <a:schemeClr val="bg1"/>
                </a:solidFill>
                <a:latin typeface="Source Sans Pro" panose="020B0503030403020204" pitchFamily="34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9" name="Espace réservé du contenu 25" descr="Zone de texte&#10;">
            <a:extLst>
              <a:ext uri="{FF2B5EF4-FFF2-40B4-BE49-F238E27FC236}">
                <a16:creationId xmlns:a16="http://schemas.microsoft.com/office/drawing/2014/main" id="{4EA0C03D-E5C6-4B31-8DA6-860105457D27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5752357" y="1090362"/>
            <a:ext cx="1458304" cy="273844"/>
          </a:xfrm>
        </p:spPr>
        <p:txBody>
          <a:bodyPr anchor="ctr">
            <a:noAutofit/>
          </a:bodyPr>
          <a:lstStyle>
            <a:lvl1pPr marL="0" indent="0" algn="ctr">
              <a:buNone/>
              <a:defRPr sz="1500" b="0" spc="225">
                <a:solidFill>
                  <a:srgbClr val="00727A"/>
                </a:solidFill>
                <a:latin typeface="Source Sans Pro" panose="020B0503030403020204" pitchFamily="34" charset="0"/>
              </a:defRPr>
            </a:lvl1pPr>
            <a:lvl2pPr>
              <a:defRPr sz="1500">
                <a:solidFill>
                  <a:schemeClr val="bg1"/>
                </a:solidFill>
                <a:latin typeface="Source Sans Pro" panose="020B0503030403020204" pitchFamily="34" charset="0"/>
              </a:defRPr>
            </a:lvl2pPr>
            <a:lvl3pPr>
              <a:defRPr sz="1350">
                <a:solidFill>
                  <a:schemeClr val="bg1"/>
                </a:solidFill>
                <a:latin typeface="Source Sans Pro" panose="020B0503030403020204" pitchFamily="34" charset="0"/>
              </a:defRPr>
            </a:lvl3pPr>
            <a:lvl4pPr>
              <a:defRPr sz="1200">
                <a:solidFill>
                  <a:schemeClr val="bg1"/>
                </a:solidFill>
                <a:latin typeface="Source Sans Pro" panose="020B0503030403020204" pitchFamily="34" charset="0"/>
              </a:defRPr>
            </a:lvl4pPr>
            <a:lvl5pPr>
              <a:defRPr sz="1200">
                <a:solidFill>
                  <a:schemeClr val="bg1"/>
                </a:solidFill>
                <a:latin typeface="Source Sans Pro" panose="020B0503030403020204" pitchFamily="34" charset="0"/>
              </a:defRPr>
            </a:lvl5pPr>
          </a:lstStyle>
          <a:p>
            <a:pPr lvl="0"/>
            <a:r>
              <a:rPr lang="fr-FR"/>
              <a:t>Titre</a:t>
            </a:r>
          </a:p>
        </p:txBody>
      </p:sp>
    </p:spTree>
    <p:extLst>
      <p:ext uri="{BB962C8B-B14F-4D97-AF65-F5344CB8AC3E}">
        <p14:creationId xmlns:p14="http://schemas.microsoft.com/office/powerpoint/2010/main" val="140729136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k object 16"/>
          <p:cNvSpPr>
            <a:spLocks/>
          </p:cNvSpPr>
          <p:nvPr userDrawn="1"/>
        </p:nvSpPr>
        <p:spPr bwMode="auto">
          <a:xfrm>
            <a:off x="0" y="1"/>
            <a:ext cx="9144000" cy="5143500"/>
          </a:xfrm>
          <a:custGeom>
            <a:avLst/>
            <a:gdLst>
              <a:gd name="T0" fmla="*/ 0 w 10692130"/>
              <a:gd name="T1" fmla="*/ 28 h 7560309"/>
              <a:gd name="T2" fmla="*/ 7838 w 10692130"/>
              <a:gd name="T3" fmla="*/ 28 h 7560309"/>
              <a:gd name="T4" fmla="*/ 7838 w 10692130"/>
              <a:gd name="T5" fmla="*/ 0 h 7560309"/>
              <a:gd name="T6" fmla="*/ 0 w 10692130"/>
              <a:gd name="T7" fmla="*/ 0 h 7560309"/>
              <a:gd name="T8" fmla="*/ 0 w 10692130"/>
              <a:gd name="T9" fmla="*/ 28 h 7560309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0692130" h="7560309">
                <a:moveTo>
                  <a:pt x="0" y="7559992"/>
                </a:moveTo>
                <a:lnTo>
                  <a:pt x="10692003" y="7559992"/>
                </a:lnTo>
                <a:lnTo>
                  <a:pt x="10692003" y="0"/>
                </a:lnTo>
                <a:lnTo>
                  <a:pt x="0" y="0"/>
                </a:lnTo>
                <a:lnTo>
                  <a:pt x="0" y="7559992"/>
                </a:lnTo>
                <a:close/>
              </a:path>
            </a:pathLst>
          </a:custGeom>
          <a:solidFill>
            <a:srgbClr val="0A7380"/>
          </a:solidFill>
          <a:ln w="9525">
            <a:noFill/>
            <a:round/>
            <a:headEnd/>
            <a:tailEnd/>
          </a:ln>
        </p:spPr>
        <p:txBody>
          <a:bodyPr lIns="0" tIns="0" rIns="0" bIns="0"/>
          <a:lstStyle/>
          <a:p>
            <a:endParaRPr lang="fr-FR"/>
          </a:p>
        </p:txBody>
      </p:sp>
      <p:pic>
        <p:nvPicPr>
          <p:cNvPr id="3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17746" y="299279"/>
            <a:ext cx="674511" cy="6747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" name="Picture 5"/>
          <p:cNvPicPr>
            <a:picLocks noChangeAspect="1" noChangeArrowheads="1"/>
          </p:cNvPicPr>
          <p:nvPr userDrawn="1"/>
        </p:nvPicPr>
        <p:blipFill rotWithShape="1">
          <a:blip r:embed="rId3" cstate="print"/>
          <a:srcRect l="19922" b="25009"/>
          <a:stretch/>
        </p:blipFill>
        <p:spPr bwMode="auto">
          <a:xfrm>
            <a:off x="0" y="1286340"/>
            <a:ext cx="4578503" cy="385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E &amp; 1 BLO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39430337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Espace réservé du texte 12"/>
          <p:cNvSpPr>
            <a:spLocks noGrp="1"/>
          </p:cNvSpPr>
          <p:nvPr>
            <p:ph type="body" sz="quarter" idx="10"/>
          </p:nvPr>
        </p:nvSpPr>
        <p:spPr>
          <a:xfrm>
            <a:off x="5857336" y="1177529"/>
            <a:ext cx="2551652" cy="3352800"/>
          </a:xfrm>
          <a:prstGeom prst="rect">
            <a:avLst/>
          </a:prstGeom>
          <a:ln w="12700">
            <a:solidFill>
              <a:schemeClr val="accent1"/>
            </a:solidFill>
          </a:ln>
        </p:spPr>
        <p:txBody>
          <a:bodyPr vert="horz" lIns="219629" tIns="192175" rIns="219629" bIns="192175" anchor="ctr" anchorCtr="1">
            <a:normAutofit/>
          </a:bodyPr>
          <a:lstStyle>
            <a:lvl1pPr marL="0" indent="0" algn="ctr">
              <a:buNone/>
              <a:defRPr sz="1288" b="1" i="0" cap="all" normalizeH="0" baseline="0">
                <a:ln>
                  <a:noFill/>
                </a:ln>
                <a:solidFill>
                  <a:schemeClr val="accent1"/>
                </a:solidFill>
                <a:latin typeface="Century Gothic"/>
                <a:cs typeface="Century Gothic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5" name="Espace réservé du texte 11"/>
          <p:cNvSpPr>
            <a:spLocks noGrp="1"/>
          </p:cNvSpPr>
          <p:nvPr>
            <p:ph type="body" sz="quarter" idx="11"/>
          </p:nvPr>
        </p:nvSpPr>
        <p:spPr>
          <a:xfrm>
            <a:off x="737727" y="1177529"/>
            <a:ext cx="4283537" cy="3352800"/>
          </a:xfrm>
          <a:prstGeom prst="rect">
            <a:avLst/>
          </a:prstGeom>
        </p:spPr>
        <p:txBody>
          <a:bodyPr vert="horz" lIns="69732" tIns="34866" rIns="69732" bIns="34866" anchor="ctr" anchorCtr="0"/>
          <a:lstStyle>
            <a:lvl1pPr marL="255073" indent="-255073">
              <a:buSzPct val="120000"/>
              <a:buFontTx/>
              <a:buBlip>
                <a:blip r:embed="rId5"/>
              </a:buBlip>
              <a:defRPr sz="1639">
                <a:solidFill>
                  <a:srgbClr val="404040"/>
                </a:solidFill>
                <a:latin typeface="Arial"/>
                <a:cs typeface="Arial"/>
              </a:defRPr>
            </a:lvl1pPr>
            <a:lvl2pPr marL="663189" indent="-255073">
              <a:buSzPct val="200000"/>
              <a:buFontTx/>
              <a:buBlip>
                <a:blip r:embed="rId6"/>
              </a:buBlip>
              <a:defRPr sz="1405" baseline="0">
                <a:solidFill>
                  <a:schemeClr val="tx1"/>
                </a:solidFill>
                <a:latin typeface="Arial"/>
                <a:cs typeface="Arial"/>
              </a:defRPr>
            </a:lvl2pPr>
            <a:lvl3pPr marL="1020290" indent="-204058">
              <a:buSzPct val="100000"/>
              <a:buFont typeface="Lucida Grande"/>
              <a:buChar char="&gt;"/>
              <a:defRPr sz="1288" i="1">
                <a:solidFill>
                  <a:schemeClr val="tx1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  <p:sp>
        <p:nvSpPr>
          <p:cNvPr id="14" name="Titre 13"/>
          <p:cNvSpPr>
            <a:spLocks noGrp="1"/>
          </p:cNvSpPr>
          <p:nvPr>
            <p:ph type="title"/>
          </p:nvPr>
        </p:nvSpPr>
        <p:spPr>
          <a:xfrm>
            <a:off x="727696" y="248761"/>
            <a:ext cx="7681292" cy="253603"/>
          </a:xfrm>
          <a:prstGeom prst="rect">
            <a:avLst/>
          </a:prstGeom>
        </p:spPr>
        <p:txBody>
          <a:bodyPr lIns="69732" tIns="34866" rIns="69732" bIns="34866"/>
          <a:lstStyle/>
          <a:p>
            <a:r>
              <a:rPr lang="fr-FR"/>
              <a:t>Modifiez le style du titre</a:t>
            </a:r>
          </a:p>
        </p:txBody>
      </p:sp>
      <p:sp>
        <p:nvSpPr>
          <p:cNvPr id="31" name="Espace réservé du numéro de diapositive 30"/>
          <p:cNvSpPr>
            <a:spLocks noGrp="1"/>
          </p:cNvSpPr>
          <p:nvPr>
            <p:ph type="sldNum" sz="quarter" idx="12"/>
          </p:nvPr>
        </p:nvSpPr>
        <p:spPr>
          <a:xfrm>
            <a:off x="54421" y="4881564"/>
            <a:ext cx="487091" cy="161097"/>
          </a:xfrm>
          <a:prstGeom prst="rect">
            <a:avLst/>
          </a:prstGeom>
        </p:spPr>
        <p:txBody>
          <a:bodyPr lIns="69732" tIns="34866" rIns="69732" bIns="34866"/>
          <a:lstStyle/>
          <a:p>
            <a:fld id="{3801209A-EBCB-4229-9A21-B7869465F47A}" type="slidenum">
              <a:rPr lang="fr-FR" smtClean="0"/>
              <a:pPr/>
              <a:t>‹#›</a:t>
            </a:fld>
            <a:r>
              <a:rPr lang="fr-FR"/>
              <a:t>   |  </a:t>
            </a:r>
          </a:p>
        </p:txBody>
      </p:sp>
      <p:sp>
        <p:nvSpPr>
          <p:cNvPr id="32" name="Espace réservé du pied de page 31"/>
          <p:cNvSpPr>
            <a:spLocks noGrp="1"/>
          </p:cNvSpPr>
          <p:nvPr>
            <p:ph type="ftr" sz="quarter" idx="13"/>
          </p:nvPr>
        </p:nvSpPr>
        <p:spPr/>
        <p:txBody>
          <a:bodyPr lIns="69732" tIns="34866" rIns="69732" bIns="34866"/>
          <a:lstStyle/>
          <a:p>
            <a:endParaRPr lang="fr-FR"/>
          </a:p>
        </p:txBody>
      </p:sp>
      <p:sp>
        <p:nvSpPr>
          <p:cNvPr id="7" name="Espace réservé du texte 11"/>
          <p:cNvSpPr>
            <a:spLocks noGrp="1"/>
          </p:cNvSpPr>
          <p:nvPr>
            <p:ph type="body" sz="quarter" idx="14"/>
          </p:nvPr>
        </p:nvSpPr>
        <p:spPr>
          <a:xfrm>
            <a:off x="727076" y="614553"/>
            <a:ext cx="7670799" cy="286346"/>
          </a:xfrm>
          <a:prstGeom prst="rect">
            <a:avLst/>
          </a:prstGeom>
        </p:spPr>
        <p:txBody>
          <a:bodyPr vert="horz" lIns="69732" tIns="34866" rIns="69732" bIns="34866">
            <a:normAutofit/>
          </a:bodyPr>
          <a:lstStyle>
            <a:lvl1pPr marL="255073" indent="-255073">
              <a:buSzPct val="120000"/>
              <a:buFontTx/>
              <a:buNone/>
              <a:defRPr sz="1288" b="1">
                <a:solidFill>
                  <a:schemeClr val="tx2"/>
                </a:solidFill>
                <a:latin typeface="Century Gothic" pitchFamily="34" charset="0"/>
                <a:cs typeface="Arial"/>
              </a:defRPr>
            </a:lvl1pPr>
            <a:lvl2pPr marL="663189" indent="-255073">
              <a:buClr>
                <a:srgbClr val="00727A"/>
              </a:buClr>
              <a:buSzPct val="100000"/>
              <a:buFontTx/>
              <a:buNone/>
              <a:defRPr sz="1405" baseline="0">
                <a:solidFill>
                  <a:srgbClr val="404040"/>
                </a:solidFill>
                <a:latin typeface="Arial"/>
                <a:cs typeface="Arial"/>
              </a:defRPr>
            </a:lvl2pPr>
            <a:lvl3pPr marL="962190" indent="-145958">
              <a:buClr>
                <a:srgbClr val="004563"/>
              </a:buClr>
              <a:buSzPct val="100000"/>
              <a:buFontTx/>
              <a:buNone/>
              <a:defRPr sz="1288" i="1">
                <a:solidFill>
                  <a:srgbClr val="404040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8" name="Espace réservé de la date 3"/>
          <p:cNvSpPr>
            <a:spLocks noGrp="1"/>
          </p:cNvSpPr>
          <p:nvPr>
            <p:ph type="dt" sz="half" idx="2"/>
          </p:nvPr>
        </p:nvSpPr>
        <p:spPr>
          <a:xfrm>
            <a:off x="3505201" y="4881563"/>
            <a:ext cx="2133601" cy="163368"/>
          </a:xfrm>
          <a:prstGeom prst="rect">
            <a:avLst/>
          </a:prstGeom>
        </p:spPr>
        <p:txBody>
          <a:bodyPr lIns="0" tIns="0" rIns="0" bIns="0" anchor="b" anchorCtr="0"/>
          <a:lstStyle>
            <a:lvl1pPr algn="ctr">
              <a:defRPr sz="702" b="1">
                <a:solidFill>
                  <a:schemeClr val="accent4"/>
                </a:solidFill>
                <a:latin typeface="+mj-lt"/>
              </a:defRPr>
            </a:lvl1pPr>
          </a:lstStyle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31868622"/>
      </p:ext>
    </p:extLst>
  </p:cSld>
  <p:clrMapOvr>
    <a:masterClrMapping/>
  </p:clrMapOvr>
  <p:transition>
    <p:fade/>
  </p:transition>
</p:sldLayout>
</file>

<file path=ppt/slideLayouts/slideLayout70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E &amp; 1 BLO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39430337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75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Espace réservé du texte 12"/>
          <p:cNvSpPr>
            <a:spLocks noGrp="1"/>
          </p:cNvSpPr>
          <p:nvPr>
            <p:ph type="body" sz="quarter" idx="10"/>
          </p:nvPr>
        </p:nvSpPr>
        <p:spPr>
          <a:xfrm>
            <a:off x="5857336" y="1177529"/>
            <a:ext cx="2551652" cy="3352800"/>
          </a:xfrm>
          <a:prstGeom prst="rect">
            <a:avLst/>
          </a:prstGeom>
          <a:ln w="12700">
            <a:solidFill>
              <a:schemeClr val="accent1"/>
            </a:solidFill>
          </a:ln>
        </p:spPr>
        <p:txBody>
          <a:bodyPr vert="horz" lIns="219629" tIns="192175" rIns="219629" bIns="192175" anchor="ctr" anchorCtr="1">
            <a:normAutofit/>
          </a:bodyPr>
          <a:lstStyle>
            <a:lvl1pPr marL="0" indent="0" algn="ctr">
              <a:buNone/>
              <a:defRPr sz="1288" b="1" i="0" cap="all" normalizeH="0" baseline="0">
                <a:ln>
                  <a:noFill/>
                </a:ln>
                <a:solidFill>
                  <a:schemeClr val="accent1"/>
                </a:solidFill>
                <a:latin typeface="Century Gothic"/>
                <a:cs typeface="Century Gothic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5" name="Espace réservé du texte 11"/>
          <p:cNvSpPr>
            <a:spLocks noGrp="1"/>
          </p:cNvSpPr>
          <p:nvPr>
            <p:ph type="body" sz="quarter" idx="11"/>
          </p:nvPr>
        </p:nvSpPr>
        <p:spPr>
          <a:xfrm>
            <a:off x="737727" y="1177529"/>
            <a:ext cx="4283537" cy="3352800"/>
          </a:xfrm>
          <a:prstGeom prst="rect">
            <a:avLst/>
          </a:prstGeom>
        </p:spPr>
        <p:txBody>
          <a:bodyPr vert="horz" lIns="69732" tIns="34866" rIns="69732" bIns="34866" anchor="ctr" anchorCtr="0"/>
          <a:lstStyle>
            <a:lvl1pPr marL="255073" indent="-255073">
              <a:buSzPct val="120000"/>
              <a:buFontTx/>
              <a:buBlip>
                <a:blip r:embed="rId6"/>
              </a:buBlip>
              <a:defRPr sz="1639">
                <a:solidFill>
                  <a:srgbClr val="404040"/>
                </a:solidFill>
                <a:latin typeface="Arial"/>
                <a:cs typeface="Arial"/>
              </a:defRPr>
            </a:lvl1pPr>
            <a:lvl2pPr marL="663189" indent="-255073">
              <a:buSzPct val="200000"/>
              <a:buFontTx/>
              <a:buBlip>
                <a:blip r:embed="rId7"/>
              </a:buBlip>
              <a:defRPr sz="1405" baseline="0">
                <a:solidFill>
                  <a:schemeClr val="tx1"/>
                </a:solidFill>
                <a:latin typeface="Arial"/>
                <a:cs typeface="Arial"/>
              </a:defRPr>
            </a:lvl2pPr>
            <a:lvl3pPr marL="1020290" indent="-204058">
              <a:buSzPct val="100000"/>
              <a:buFont typeface="Lucida Grande"/>
              <a:buChar char="&gt;"/>
              <a:defRPr sz="1288" i="1">
                <a:solidFill>
                  <a:schemeClr val="tx1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  <p:sp>
        <p:nvSpPr>
          <p:cNvPr id="14" name="Titre 13"/>
          <p:cNvSpPr>
            <a:spLocks noGrp="1"/>
          </p:cNvSpPr>
          <p:nvPr>
            <p:ph type="title"/>
          </p:nvPr>
        </p:nvSpPr>
        <p:spPr>
          <a:xfrm>
            <a:off x="727696" y="248761"/>
            <a:ext cx="7681292" cy="253603"/>
          </a:xfrm>
          <a:prstGeom prst="rect">
            <a:avLst/>
          </a:prstGeom>
        </p:spPr>
        <p:txBody>
          <a:bodyPr lIns="69732" tIns="34866" rIns="69732" bIns="34866"/>
          <a:lstStyle/>
          <a:p>
            <a:r>
              <a:rPr lang="fr-FR"/>
              <a:t>Modifiez le style du titre</a:t>
            </a:r>
          </a:p>
        </p:txBody>
      </p:sp>
      <p:sp>
        <p:nvSpPr>
          <p:cNvPr id="31" name="Espace réservé du numéro de diapositive 30"/>
          <p:cNvSpPr>
            <a:spLocks noGrp="1"/>
          </p:cNvSpPr>
          <p:nvPr>
            <p:ph type="sldNum" sz="quarter" idx="12"/>
          </p:nvPr>
        </p:nvSpPr>
        <p:spPr>
          <a:xfrm>
            <a:off x="54421" y="4881564"/>
            <a:ext cx="487091" cy="161097"/>
          </a:xfrm>
          <a:prstGeom prst="rect">
            <a:avLst/>
          </a:prstGeom>
        </p:spPr>
        <p:txBody>
          <a:bodyPr lIns="69732" tIns="34866" rIns="69732" bIns="34866"/>
          <a:lstStyle/>
          <a:p>
            <a:fld id="{3801209A-EBCB-4229-9A21-B7869465F47A}" type="slidenum">
              <a:rPr lang="fr-FR" smtClean="0"/>
              <a:pPr/>
              <a:t>‹#›</a:t>
            </a:fld>
            <a:r>
              <a:rPr lang="fr-FR"/>
              <a:t>   |  </a:t>
            </a:r>
          </a:p>
        </p:txBody>
      </p:sp>
      <p:sp>
        <p:nvSpPr>
          <p:cNvPr id="32" name="Espace réservé du pied de page 31"/>
          <p:cNvSpPr>
            <a:spLocks noGrp="1"/>
          </p:cNvSpPr>
          <p:nvPr>
            <p:ph type="ftr" sz="quarter" idx="13"/>
          </p:nvPr>
        </p:nvSpPr>
        <p:spPr/>
        <p:txBody>
          <a:bodyPr lIns="69732" tIns="34866" rIns="69732" bIns="34866"/>
          <a:lstStyle/>
          <a:p>
            <a:endParaRPr lang="fr-FR"/>
          </a:p>
        </p:txBody>
      </p:sp>
      <p:sp>
        <p:nvSpPr>
          <p:cNvPr id="7" name="Espace réservé du texte 11"/>
          <p:cNvSpPr>
            <a:spLocks noGrp="1"/>
          </p:cNvSpPr>
          <p:nvPr>
            <p:ph type="body" sz="quarter" idx="14"/>
          </p:nvPr>
        </p:nvSpPr>
        <p:spPr>
          <a:xfrm>
            <a:off x="727076" y="614553"/>
            <a:ext cx="7670799" cy="286346"/>
          </a:xfrm>
          <a:prstGeom prst="rect">
            <a:avLst/>
          </a:prstGeom>
        </p:spPr>
        <p:txBody>
          <a:bodyPr vert="horz" lIns="69732" tIns="34866" rIns="69732" bIns="34866">
            <a:normAutofit/>
          </a:bodyPr>
          <a:lstStyle>
            <a:lvl1pPr marL="255073" indent="-255073">
              <a:buSzPct val="120000"/>
              <a:buFontTx/>
              <a:buNone/>
              <a:defRPr sz="1288" b="1">
                <a:solidFill>
                  <a:schemeClr val="tx2"/>
                </a:solidFill>
                <a:latin typeface="Century Gothic" pitchFamily="34" charset="0"/>
                <a:cs typeface="Arial"/>
              </a:defRPr>
            </a:lvl1pPr>
            <a:lvl2pPr marL="663189" indent="-255073">
              <a:buClr>
                <a:srgbClr val="00727A"/>
              </a:buClr>
              <a:buSzPct val="100000"/>
              <a:buFontTx/>
              <a:buNone/>
              <a:defRPr sz="1405" baseline="0">
                <a:solidFill>
                  <a:srgbClr val="404040"/>
                </a:solidFill>
                <a:latin typeface="Arial"/>
                <a:cs typeface="Arial"/>
              </a:defRPr>
            </a:lvl2pPr>
            <a:lvl3pPr marL="962190" indent="-145958">
              <a:buClr>
                <a:srgbClr val="004563"/>
              </a:buClr>
              <a:buSzPct val="100000"/>
              <a:buFontTx/>
              <a:buNone/>
              <a:defRPr sz="1288" i="1">
                <a:solidFill>
                  <a:srgbClr val="404040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8" name="Espace réservé de la date 3"/>
          <p:cNvSpPr>
            <a:spLocks noGrp="1"/>
          </p:cNvSpPr>
          <p:nvPr>
            <p:ph type="dt" sz="half" idx="2"/>
          </p:nvPr>
        </p:nvSpPr>
        <p:spPr>
          <a:xfrm>
            <a:off x="3505201" y="4881563"/>
            <a:ext cx="2133601" cy="163368"/>
          </a:xfrm>
          <a:prstGeom prst="rect">
            <a:avLst/>
          </a:prstGeom>
        </p:spPr>
        <p:txBody>
          <a:bodyPr lIns="0" tIns="0" rIns="0" bIns="0" anchor="b" anchorCtr="0"/>
          <a:lstStyle>
            <a:lvl1pPr algn="ctr">
              <a:defRPr sz="702" b="1">
                <a:solidFill>
                  <a:schemeClr val="accent4"/>
                </a:solidFill>
                <a:latin typeface="+mj-lt"/>
              </a:defRPr>
            </a:lvl1pPr>
          </a:lstStyle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31868622"/>
      </p:ext>
    </p:extLst>
  </p:cSld>
  <p:clrMapOvr>
    <a:masterClrMapping/>
  </p:clrMapOvr>
  <p:transition>
    <p:fade/>
  </p:transition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iapositive de titre + texte puces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Logo AXA" descr="\\Mac\AllFiles\Volumes\DOSSIERS EN COURS\17_1098 AXA_Creation_gabarits\elements\png\new_logo_axa_rgb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727773" y="4727114"/>
            <a:ext cx="209972" cy="2100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Sommaire"/>
          <p:cNvSpPr>
            <a:spLocks noGrp="1"/>
          </p:cNvSpPr>
          <p:nvPr>
            <p:ph type="title" hasCustomPrompt="1"/>
          </p:nvPr>
        </p:nvSpPr>
        <p:spPr>
          <a:xfrm>
            <a:off x="273896" y="321586"/>
            <a:ext cx="8596209" cy="337232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224">
                <a:solidFill>
                  <a:srgbClr val="00008F"/>
                </a:solidFill>
                <a:latin typeface="+mj-lt"/>
              </a:defRPr>
            </a:lvl1pPr>
          </a:lstStyle>
          <a:p>
            <a:r>
              <a:rPr lang="en-GB" noProof="0"/>
              <a:t>Click to edit Master title style</a:t>
            </a:r>
          </a:p>
        </p:txBody>
      </p:sp>
      <p:sp>
        <p:nvSpPr>
          <p:cNvPr id="14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273896" y="674463"/>
            <a:ext cx="8596106" cy="252924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buNone/>
              <a:defRPr sz="1756">
                <a:solidFill>
                  <a:srgbClr val="027180"/>
                </a:solidFill>
                <a:latin typeface="+mj-lt"/>
              </a:defRPr>
            </a:lvl1pPr>
          </a:lstStyle>
          <a:p>
            <a:pPr lvl="0"/>
            <a:r>
              <a:rPr lang="en-GB" noProof="0"/>
              <a:t>Click to edit Master text styles</a:t>
            </a:r>
          </a:p>
        </p:txBody>
      </p:sp>
      <p:sp>
        <p:nvSpPr>
          <p:cNvPr id="9" name="Espace réservé du contenu 8"/>
          <p:cNvSpPr>
            <a:spLocks noGrp="1"/>
          </p:cNvSpPr>
          <p:nvPr>
            <p:ph sz="quarter" idx="13" hasCustomPrompt="1"/>
          </p:nvPr>
        </p:nvSpPr>
        <p:spPr>
          <a:xfrm>
            <a:off x="228696" y="1133913"/>
            <a:ext cx="8556096" cy="3412889"/>
          </a:xfrm>
          <a:prstGeom prst="rect">
            <a:avLst/>
          </a:prstGeom>
        </p:spPr>
        <p:txBody>
          <a:bodyPr/>
          <a:lstStyle>
            <a:lvl1pPr marL="171450" indent="-171450">
              <a:lnSpc>
                <a:spcPct val="100000"/>
              </a:lnSpc>
              <a:buClr>
                <a:srgbClr val="027180"/>
              </a:buClr>
              <a:buSzPct val="85000"/>
              <a:buFont typeface="Segoe MDL2 Assets" panose="050A0102010101010101" pitchFamily="18" charset="0"/>
              <a:buChar char=""/>
              <a:defRPr sz="1639">
                <a:latin typeface="+mj-lt"/>
              </a:defRPr>
            </a:lvl1pPr>
            <a:lvl2pPr marL="514350" indent="-171450">
              <a:lnSpc>
                <a:spcPct val="100000"/>
              </a:lnSpc>
              <a:buClr>
                <a:srgbClr val="027180"/>
              </a:buClr>
              <a:buSzPct val="80000"/>
              <a:buFont typeface="Segoe MDL2 Assets" panose="050A0102010101010101" pitchFamily="18" charset="0"/>
              <a:buChar char=""/>
              <a:defRPr sz="1405">
                <a:latin typeface="+mj-lt"/>
              </a:defRPr>
            </a:lvl2pPr>
            <a:lvl3pPr marL="945829" indent="-209978">
              <a:lnSpc>
                <a:spcPct val="100000"/>
              </a:lnSpc>
              <a:buSzPct val="70000"/>
              <a:buFont typeface="Segoe MDL2 Assets" panose="050A0102010101010101" pitchFamily="18" charset="0"/>
              <a:buChar char=""/>
              <a:defRPr sz="1171">
                <a:latin typeface="+mj-lt"/>
              </a:defRPr>
            </a:lvl3pPr>
            <a:lvl4pPr marL="1049888" indent="-104060">
              <a:lnSpc>
                <a:spcPct val="100000"/>
              </a:lnSpc>
              <a:buFont typeface="Source Sans Pro" pitchFamily="34" charset="0"/>
              <a:buChar char="•"/>
              <a:defRPr sz="937">
                <a:latin typeface="+mj-lt"/>
              </a:defRPr>
            </a:lvl4pPr>
            <a:lvl5pPr marL="1258008" indent="-104060">
              <a:lnSpc>
                <a:spcPct val="100000"/>
              </a:lnSpc>
              <a:buFont typeface="Source Sans Pro" pitchFamily="34" charset="0"/>
              <a:buChar char="&gt;"/>
              <a:defRPr sz="702">
                <a:latin typeface="+mj-lt"/>
              </a:defRPr>
            </a:lvl5pPr>
          </a:lstStyle>
          <a:p>
            <a:pPr lvl="0"/>
            <a:r>
              <a:rPr lang="en-GB" noProof="0"/>
              <a:t> Click to edit Master text styles</a:t>
            </a:r>
          </a:p>
          <a:p>
            <a:pPr lvl="1"/>
            <a:r>
              <a:rPr lang="en-GB" noProof="0"/>
              <a:t>Second level 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32" name="Espace réservé du numéro de diapositive 4"/>
          <p:cNvSpPr>
            <a:spLocks noGrp="1"/>
          </p:cNvSpPr>
          <p:nvPr>
            <p:ph type="sldNum" sz="quarter" idx="14"/>
          </p:nvPr>
        </p:nvSpPr>
        <p:spPr>
          <a:xfrm>
            <a:off x="273150" y="4805184"/>
            <a:ext cx="252710" cy="169157"/>
          </a:xfrm>
        </p:spPr>
        <p:txBody>
          <a:bodyPr anchor="ctr"/>
          <a:lstStyle>
            <a:lvl1pPr>
              <a:defRPr>
                <a:latin typeface="+mj-lt"/>
              </a:defRPr>
            </a:lvl1pPr>
          </a:lstStyle>
          <a:p>
            <a:fld id="{438FEFB8-6B6E-4DC1-A5E4-A1258711B44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latin typeface="+mj-lt"/>
              </a:defRPr>
            </a:lvl1pPr>
          </a:lstStyle>
          <a:p>
            <a:endParaRPr lang="fr-FR"/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 sz="937">
                <a:solidFill>
                  <a:srgbClr val="FF0000"/>
                </a:solidFill>
                <a:latin typeface="+mj-lt"/>
              </a:defRPr>
            </a:lvl1pPr>
          </a:lstStyle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4238583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iapositive de titre + texte puces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Logo AXA" descr="\\Mac\AllFiles\Volumes\DOSSIERS EN COURS\17_1098 AXA_Creation_gabarits\elements\png\new_logo_axa_rgb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727773" y="4727114"/>
            <a:ext cx="209972" cy="2100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Sommaire"/>
          <p:cNvSpPr>
            <a:spLocks noGrp="1"/>
          </p:cNvSpPr>
          <p:nvPr>
            <p:ph type="title" hasCustomPrompt="1"/>
          </p:nvPr>
        </p:nvSpPr>
        <p:spPr>
          <a:xfrm>
            <a:off x="273896" y="321586"/>
            <a:ext cx="8596209" cy="337232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224">
                <a:solidFill>
                  <a:srgbClr val="00008F"/>
                </a:solidFill>
                <a:latin typeface="+mj-lt"/>
              </a:defRPr>
            </a:lvl1pPr>
          </a:lstStyle>
          <a:p>
            <a:r>
              <a:rPr lang="en-GB" noProof="0"/>
              <a:t>Click to edit Master title style</a:t>
            </a:r>
          </a:p>
        </p:txBody>
      </p:sp>
      <p:sp>
        <p:nvSpPr>
          <p:cNvPr id="14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273896" y="674463"/>
            <a:ext cx="8596106" cy="252924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buNone/>
              <a:defRPr sz="1756">
                <a:solidFill>
                  <a:srgbClr val="027180"/>
                </a:solidFill>
                <a:latin typeface="+mj-lt"/>
              </a:defRPr>
            </a:lvl1pPr>
          </a:lstStyle>
          <a:p>
            <a:pPr lvl="0"/>
            <a:r>
              <a:rPr lang="en-GB" noProof="0"/>
              <a:t>Click to edit Master text styles</a:t>
            </a:r>
          </a:p>
        </p:txBody>
      </p:sp>
      <p:sp>
        <p:nvSpPr>
          <p:cNvPr id="9" name="Espace réservé du contenu 8"/>
          <p:cNvSpPr>
            <a:spLocks noGrp="1"/>
          </p:cNvSpPr>
          <p:nvPr>
            <p:ph sz="quarter" idx="13" hasCustomPrompt="1"/>
          </p:nvPr>
        </p:nvSpPr>
        <p:spPr>
          <a:xfrm>
            <a:off x="228696" y="1133913"/>
            <a:ext cx="8556096" cy="3412889"/>
          </a:xfrm>
          <a:prstGeom prst="rect">
            <a:avLst/>
          </a:prstGeom>
        </p:spPr>
        <p:txBody>
          <a:bodyPr/>
          <a:lstStyle>
            <a:lvl1pPr marL="171450" indent="-171450">
              <a:lnSpc>
                <a:spcPct val="100000"/>
              </a:lnSpc>
              <a:buClr>
                <a:srgbClr val="027180"/>
              </a:buClr>
              <a:buSzPct val="85000"/>
              <a:buFont typeface="Segoe MDL2 Assets" panose="050A0102010101010101" pitchFamily="18" charset="0"/>
              <a:buChar char=""/>
              <a:defRPr sz="1639">
                <a:latin typeface="+mj-lt"/>
              </a:defRPr>
            </a:lvl1pPr>
            <a:lvl2pPr marL="514350" indent="-171450">
              <a:lnSpc>
                <a:spcPct val="100000"/>
              </a:lnSpc>
              <a:buClr>
                <a:srgbClr val="027180"/>
              </a:buClr>
              <a:buSzPct val="80000"/>
              <a:buFont typeface="Segoe MDL2 Assets" panose="050A0102010101010101" pitchFamily="18" charset="0"/>
              <a:buChar char=""/>
              <a:defRPr sz="1405">
                <a:latin typeface="+mj-lt"/>
              </a:defRPr>
            </a:lvl2pPr>
            <a:lvl3pPr marL="945829" indent="-209978">
              <a:lnSpc>
                <a:spcPct val="100000"/>
              </a:lnSpc>
              <a:buSzPct val="70000"/>
              <a:buFont typeface="Segoe MDL2 Assets" panose="050A0102010101010101" pitchFamily="18" charset="0"/>
              <a:buChar char=""/>
              <a:defRPr sz="1171">
                <a:latin typeface="+mj-lt"/>
              </a:defRPr>
            </a:lvl3pPr>
            <a:lvl4pPr marL="1049888" indent="-104060">
              <a:lnSpc>
                <a:spcPct val="100000"/>
              </a:lnSpc>
              <a:buFont typeface="Source Sans Pro" pitchFamily="34" charset="0"/>
              <a:buChar char="•"/>
              <a:defRPr sz="937">
                <a:latin typeface="+mj-lt"/>
              </a:defRPr>
            </a:lvl4pPr>
            <a:lvl5pPr marL="1258008" indent="-104060">
              <a:lnSpc>
                <a:spcPct val="100000"/>
              </a:lnSpc>
              <a:buFont typeface="Source Sans Pro" pitchFamily="34" charset="0"/>
              <a:buChar char="&gt;"/>
              <a:defRPr sz="702">
                <a:latin typeface="+mj-lt"/>
              </a:defRPr>
            </a:lvl5pPr>
          </a:lstStyle>
          <a:p>
            <a:pPr lvl="0"/>
            <a:r>
              <a:rPr lang="en-GB" noProof="0"/>
              <a:t> Click to edit Master text styles</a:t>
            </a:r>
          </a:p>
          <a:p>
            <a:pPr lvl="1"/>
            <a:r>
              <a:rPr lang="en-GB" noProof="0"/>
              <a:t>Second level 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32" name="Espace réservé du numéro de diapositive 4"/>
          <p:cNvSpPr>
            <a:spLocks noGrp="1"/>
          </p:cNvSpPr>
          <p:nvPr>
            <p:ph type="sldNum" sz="quarter" idx="14"/>
          </p:nvPr>
        </p:nvSpPr>
        <p:spPr>
          <a:xfrm>
            <a:off x="273150" y="4805184"/>
            <a:ext cx="252710" cy="169157"/>
          </a:xfrm>
        </p:spPr>
        <p:txBody>
          <a:bodyPr anchor="ctr"/>
          <a:lstStyle>
            <a:lvl1pPr>
              <a:defRPr>
                <a:latin typeface="+mj-lt"/>
              </a:defRPr>
            </a:lvl1pPr>
          </a:lstStyle>
          <a:p>
            <a:fld id="{438FEFB8-6B6E-4DC1-A5E4-A1258711B44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latin typeface="+mj-lt"/>
              </a:defRPr>
            </a:lvl1pPr>
          </a:lstStyle>
          <a:p>
            <a:endParaRPr lang="fr-FR"/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 sz="937">
                <a:solidFill>
                  <a:srgbClr val="FF0000"/>
                </a:solidFill>
                <a:latin typeface="+mj-lt"/>
              </a:defRPr>
            </a:lvl1pPr>
          </a:lstStyle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4238583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 7">
            <a:extLst>
              <a:ext uri="{FF2B5EF4-FFF2-40B4-BE49-F238E27FC236}">
                <a16:creationId xmlns:a16="http://schemas.microsoft.com/office/drawing/2014/main" id="{50E250E4-7BA9-4228-BB1E-59105214863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37571" y="4724401"/>
            <a:ext cx="331946" cy="331946"/>
          </a:xfrm>
          <a:prstGeom prst="rect">
            <a:avLst/>
          </a:prstGeom>
        </p:spPr>
      </p:pic>
      <p:sp>
        <p:nvSpPr>
          <p:cNvPr id="25" name="Titre 24">
            <a:extLst>
              <a:ext uri="{FF2B5EF4-FFF2-40B4-BE49-F238E27FC236}">
                <a16:creationId xmlns:a16="http://schemas.microsoft.com/office/drawing/2014/main" id="{F890802F-925C-40FF-B38E-2BDFF32E14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69692" y="200849"/>
            <a:ext cx="7913810" cy="379444"/>
          </a:xfrm>
        </p:spPr>
        <p:txBody>
          <a:bodyPr>
            <a:noAutofit/>
          </a:bodyPr>
          <a:lstStyle>
            <a:lvl1pPr>
              <a:defRPr sz="2100"/>
            </a:lvl1pPr>
          </a:lstStyle>
          <a:p>
            <a:r>
              <a:rPr lang="fr-FR" sz="2400">
                <a:solidFill>
                  <a:srgbClr val="F57A30"/>
                </a:solidFill>
                <a:latin typeface="Source Sans Pro Black" panose="020B0803030403020204" pitchFamily="34" charset="0"/>
              </a:rPr>
              <a:t>Tit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96F30674-C639-46D1-8DAC-57B7F37D4B9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69692" y="580292"/>
            <a:ext cx="7913810" cy="269045"/>
          </a:xfrm>
        </p:spPr>
        <p:txBody>
          <a:bodyPr>
            <a:normAutofit/>
          </a:bodyPr>
          <a:lstStyle>
            <a:lvl1pPr marL="0" indent="0">
              <a:buFont typeface="Wingdings" panose="05000000000000000000" pitchFamily="2" charset="2"/>
              <a:buNone/>
              <a:defRPr sz="1500"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  <a:lvl2pPr marL="514350" indent="-171450">
              <a:buFont typeface="Wingdings" panose="05000000000000000000" pitchFamily="2" charset="2"/>
              <a:buChar char="§"/>
              <a:defRPr/>
            </a:lvl2pPr>
          </a:lstStyle>
          <a:p>
            <a:pPr lvl="0"/>
            <a:endParaRPr lang="fr-FR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48C4B7EF-2782-4EBC-BDD5-824544CA9E1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05060" y="1107831"/>
            <a:ext cx="8236020" cy="3616569"/>
          </a:xfrm>
        </p:spPr>
        <p:txBody>
          <a:bodyPr>
            <a:normAutofit/>
          </a:bodyPr>
          <a:lstStyle>
            <a:lvl1pPr marL="257175" indent="-257175">
              <a:lnSpc>
                <a:spcPct val="100000"/>
              </a:lnSpc>
              <a:buClr>
                <a:schemeClr val="tx1"/>
              </a:buClr>
              <a:buSzPct val="80000"/>
              <a:buFont typeface="Segoe MDL2 Assets" panose="050A0102010101010101" pitchFamily="18" charset="0"/>
              <a:buChar char=""/>
              <a:defRPr sz="1800"/>
            </a:lvl1pPr>
            <a:lvl2pPr marL="514350" indent="-171450">
              <a:lnSpc>
                <a:spcPct val="100000"/>
              </a:lnSpc>
              <a:buClr>
                <a:schemeClr val="accent1"/>
              </a:buClr>
              <a:buSzPct val="80000"/>
              <a:buFont typeface="Segoe MDL2 Assets" panose="050A0102010101010101" pitchFamily="18" charset="0"/>
              <a:buChar char=""/>
              <a:defRPr sz="1500"/>
            </a:lvl2pPr>
            <a:lvl3pPr marL="857250" indent="-171450">
              <a:lnSpc>
                <a:spcPct val="100000"/>
              </a:lnSpc>
              <a:buSzPct val="70000"/>
              <a:buFont typeface="Segoe MDL2 Assets" panose="050A0102010101010101" pitchFamily="18" charset="0"/>
              <a:buChar char=""/>
              <a:defRPr sz="1350"/>
            </a:lvl3pPr>
            <a:lvl4pPr marL="1200150" indent="-171450">
              <a:lnSpc>
                <a:spcPct val="100000"/>
              </a:lnSpc>
              <a:buClr>
                <a:schemeClr val="accent2">
                  <a:lumMod val="50000"/>
                </a:schemeClr>
              </a:buClr>
              <a:buSzPct val="60000"/>
              <a:buFont typeface="Segoe MDL2 Assets" panose="050A0102010101010101" pitchFamily="18" charset="0"/>
              <a:buChar char=""/>
              <a:defRPr sz="1200"/>
            </a:lvl4pPr>
            <a:lvl5pPr marL="1371600" indent="0">
              <a:lnSpc>
                <a:spcPct val="100000"/>
              </a:lnSpc>
              <a:buNone/>
              <a:defRPr sz="120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  <a:p>
            <a:pPr lvl="0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825029110"/>
      </p:ext>
    </p:extLst>
  </p:cSld>
  <p:clrMapOvr>
    <a:masterClrMapping/>
  </p:clrMapOvr>
</p:sldLayout>
</file>

<file path=ppt/slideLayouts/slideLayout7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 7">
            <a:extLst>
              <a:ext uri="{FF2B5EF4-FFF2-40B4-BE49-F238E27FC236}">
                <a16:creationId xmlns:a16="http://schemas.microsoft.com/office/drawing/2014/main" id="{50E250E4-7BA9-4228-BB1E-59105214863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37571" y="4724401"/>
            <a:ext cx="331946" cy="331946"/>
          </a:xfrm>
          <a:prstGeom prst="rect">
            <a:avLst/>
          </a:prstGeom>
        </p:spPr>
      </p:pic>
      <p:sp>
        <p:nvSpPr>
          <p:cNvPr id="25" name="Titre 24">
            <a:extLst>
              <a:ext uri="{FF2B5EF4-FFF2-40B4-BE49-F238E27FC236}">
                <a16:creationId xmlns:a16="http://schemas.microsoft.com/office/drawing/2014/main" id="{F890802F-925C-40FF-B38E-2BDFF32E14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69692" y="200849"/>
            <a:ext cx="7913810" cy="379444"/>
          </a:xfrm>
        </p:spPr>
        <p:txBody>
          <a:bodyPr>
            <a:noAutofit/>
          </a:bodyPr>
          <a:lstStyle>
            <a:lvl1pPr>
              <a:defRPr sz="2100"/>
            </a:lvl1pPr>
          </a:lstStyle>
          <a:p>
            <a:r>
              <a:rPr lang="fr-FR" sz="2400">
                <a:solidFill>
                  <a:srgbClr val="F57A30"/>
                </a:solidFill>
                <a:latin typeface="Source Sans Pro Black" panose="020B0803030403020204" pitchFamily="34" charset="0"/>
              </a:rPr>
              <a:t>Tit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96F30674-C639-46D1-8DAC-57B7F37D4B9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69692" y="580292"/>
            <a:ext cx="7913810" cy="269045"/>
          </a:xfrm>
        </p:spPr>
        <p:txBody>
          <a:bodyPr>
            <a:normAutofit/>
          </a:bodyPr>
          <a:lstStyle>
            <a:lvl1pPr marL="0" indent="0">
              <a:buFont typeface="Wingdings" panose="05000000000000000000" pitchFamily="2" charset="2"/>
              <a:buNone/>
              <a:defRPr sz="1500"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  <a:lvl2pPr marL="514350" indent="-171450">
              <a:buFont typeface="Wingdings" panose="05000000000000000000" pitchFamily="2" charset="2"/>
              <a:buChar char="§"/>
              <a:defRPr/>
            </a:lvl2pPr>
          </a:lstStyle>
          <a:p>
            <a:pPr lvl="0"/>
            <a:endParaRPr lang="fr-FR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48C4B7EF-2782-4EBC-BDD5-824544CA9E1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05060" y="1107831"/>
            <a:ext cx="8236020" cy="3616569"/>
          </a:xfrm>
        </p:spPr>
        <p:txBody>
          <a:bodyPr>
            <a:normAutofit/>
          </a:bodyPr>
          <a:lstStyle>
            <a:lvl1pPr marL="257175" indent="-257175">
              <a:lnSpc>
                <a:spcPct val="100000"/>
              </a:lnSpc>
              <a:buClr>
                <a:schemeClr val="tx1"/>
              </a:buClr>
              <a:buSzPct val="80000"/>
              <a:buFont typeface="Segoe MDL2 Assets" panose="050A0102010101010101" pitchFamily="18" charset="0"/>
              <a:buChar char=""/>
              <a:defRPr sz="1800"/>
            </a:lvl1pPr>
            <a:lvl2pPr marL="514350" indent="-171450">
              <a:lnSpc>
                <a:spcPct val="100000"/>
              </a:lnSpc>
              <a:buClr>
                <a:schemeClr val="accent1"/>
              </a:buClr>
              <a:buSzPct val="80000"/>
              <a:buFont typeface="Segoe MDL2 Assets" panose="050A0102010101010101" pitchFamily="18" charset="0"/>
              <a:buChar char=""/>
              <a:defRPr sz="1500"/>
            </a:lvl2pPr>
            <a:lvl3pPr marL="857250" indent="-171450">
              <a:lnSpc>
                <a:spcPct val="100000"/>
              </a:lnSpc>
              <a:buSzPct val="70000"/>
              <a:buFont typeface="Segoe MDL2 Assets" panose="050A0102010101010101" pitchFamily="18" charset="0"/>
              <a:buChar char=""/>
              <a:defRPr sz="1350"/>
            </a:lvl3pPr>
            <a:lvl4pPr marL="1200150" indent="-171450">
              <a:lnSpc>
                <a:spcPct val="100000"/>
              </a:lnSpc>
              <a:buClr>
                <a:schemeClr val="accent2">
                  <a:lumMod val="50000"/>
                </a:schemeClr>
              </a:buClr>
              <a:buSzPct val="60000"/>
              <a:buFont typeface="Segoe MDL2 Assets" panose="050A0102010101010101" pitchFamily="18" charset="0"/>
              <a:buChar char=""/>
              <a:defRPr sz="1200"/>
            </a:lvl4pPr>
            <a:lvl5pPr marL="1371600" indent="0">
              <a:lnSpc>
                <a:spcPct val="100000"/>
              </a:lnSpc>
              <a:buNone/>
              <a:defRPr sz="120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  <a:p>
            <a:pPr lvl="0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825029110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du texte 11"/>
          <p:cNvSpPr>
            <a:spLocks noGrp="1"/>
          </p:cNvSpPr>
          <p:nvPr>
            <p:ph type="body" sz="quarter" idx="10"/>
          </p:nvPr>
        </p:nvSpPr>
        <p:spPr>
          <a:xfrm>
            <a:off x="720082" y="899135"/>
            <a:ext cx="7670799" cy="3352801"/>
          </a:xfrm>
          <a:prstGeom prst="rect">
            <a:avLst/>
          </a:prstGeom>
        </p:spPr>
        <p:txBody>
          <a:bodyPr vert="horz"/>
          <a:lstStyle>
            <a:lvl1pPr marL="214313" indent="-214313">
              <a:buSzPct val="120000"/>
              <a:buFontTx/>
              <a:buBlip>
                <a:blip r:embed="rId2"/>
              </a:buBlip>
              <a:defRPr sz="1350">
                <a:solidFill>
                  <a:srgbClr val="404040"/>
                </a:solidFill>
                <a:latin typeface="Arial"/>
                <a:cs typeface="Arial"/>
              </a:defRPr>
            </a:lvl1pPr>
            <a:lvl2pPr marL="557213" indent="-214313">
              <a:buClr>
                <a:srgbClr val="00727A"/>
              </a:buClr>
              <a:buSzPct val="100000"/>
              <a:buFont typeface="Wingdings" pitchFamily="2" charset="2"/>
              <a:buChar char="à"/>
              <a:defRPr sz="1200" baseline="0">
                <a:solidFill>
                  <a:srgbClr val="404040"/>
                </a:solidFill>
                <a:latin typeface="Arial"/>
                <a:cs typeface="Arial"/>
              </a:defRPr>
            </a:lvl2pPr>
            <a:lvl3pPr marL="808435" indent="-122635">
              <a:buClr>
                <a:srgbClr val="004563"/>
              </a:buClr>
              <a:buSzPct val="100000"/>
              <a:buFont typeface="Arial" pitchFamily="34" charset="0"/>
              <a:buChar char="­"/>
              <a:defRPr sz="1050" i="1">
                <a:solidFill>
                  <a:srgbClr val="404040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10" name="Titr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14" name="Espace réservé du numéro de diapositive 1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/>
              <a:pPr/>
              <a:t>‹#›</a:t>
            </a:fld>
            <a:r>
              <a:rPr lang="fr-FR"/>
              <a:t>   |  </a:t>
            </a:r>
          </a:p>
        </p:txBody>
      </p:sp>
      <p:sp>
        <p:nvSpPr>
          <p:cNvPr id="18" name="Espace réservé du pied de page 17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fr-FR"/>
              <a:t>Formation UFT </a:t>
            </a:r>
            <a:r>
              <a:rPr lang="fr-FR" err="1"/>
              <a:t>Developer</a:t>
            </a:r>
            <a:endParaRPr lang="fr-FR"/>
          </a:p>
        </p:txBody>
      </p:sp>
      <p:sp>
        <p:nvSpPr>
          <p:cNvPr id="9" name="Espace réservé du texte 11"/>
          <p:cNvSpPr>
            <a:spLocks noGrp="1"/>
          </p:cNvSpPr>
          <p:nvPr>
            <p:ph type="body" sz="quarter" idx="13"/>
          </p:nvPr>
        </p:nvSpPr>
        <p:spPr>
          <a:xfrm>
            <a:off x="727076" y="614552"/>
            <a:ext cx="7670799" cy="286346"/>
          </a:xfrm>
          <a:prstGeom prst="rect">
            <a:avLst/>
          </a:prstGeom>
        </p:spPr>
        <p:txBody>
          <a:bodyPr vert="horz">
            <a:normAutofit/>
          </a:bodyPr>
          <a:lstStyle>
            <a:lvl1pPr marL="214313" indent="-214313">
              <a:buSzPct val="120000"/>
              <a:buFontTx/>
              <a:buNone/>
              <a:defRPr sz="1050" b="1">
                <a:solidFill>
                  <a:schemeClr val="tx2"/>
                </a:solidFill>
                <a:latin typeface="+mn-lt"/>
                <a:cs typeface="Arial"/>
              </a:defRPr>
            </a:lvl1pPr>
            <a:lvl2pPr marL="557213" indent="-214313">
              <a:buClr>
                <a:srgbClr val="00727A"/>
              </a:buClr>
              <a:buSzPct val="100000"/>
              <a:buFontTx/>
              <a:buNone/>
              <a:defRPr sz="1200" baseline="0">
                <a:solidFill>
                  <a:srgbClr val="404040"/>
                </a:solidFill>
                <a:latin typeface="Arial"/>
                <a:cs typeface="Arial"/>
              </a:defRPr>
            </a:lvl2pPr>
            <a:lvl3pPr marL="808435" indent="-122635">
              <a:buClr>
                <a:srgbClr val="004563"/>
              </a:buClr>
              <a:buSzPct val="100000"/>
              <a:buFontTx/>
              <a:buNone/>
              <a:defRPr sz="1050" i="1">
                <a:solidFill>
                  <a:srgbClr val="404040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Espace réservé de la date 3"/>
          <p:cNvSpPr>
            <a:spLocks noGrp="1"/>
          </p:cNvSpPr>
          <p:nvPr>
            <p:ph type="dt" sz="half" idx="2"/>
          </p:nvPr>
        </p:nvSpPr>
        <p:spPr>
          <a:xfrm>
            <a:off x="3505200" y="4881564"/>
            <a:ext cx="2133600" cy="163367"/>
          </a:xfrm>
          <a:prstGeom prst="rect">
            <a:avLst/>
          </a:prstGeom>
        </p:spPr>
        <p:txBody>
          <a:bodyPr lIns="0" tIns="0" rIns="0" bIns="0" anchor="b" anchorCtr="0"/>
          <a:lstStyle>
            <a:lvl1pPr algn="ctr">
              <a:defRPr sz="600" b="1">
                <a:solidFill>
                  <a:schemeClr val="accent4"/>
                </a:solidFill>
                <a:latin typeface="+mj-lt"/>
              </a:defRPr>
            </a:lvl1pPr>
          </a:lstStyle>
          <a:p>
            <a:fld id="{F95FF136-A15D-4C31-B53A-D82DB1C406C5}" type="datetime1">
              <a:rPr lang="fr-FR" smtClean="0"/>
              <a:t>20/03/202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46444433"/>
      </p:ext>
    </p:extLst>
  </p:cSld>
  <p:clrMapOvr>
    <a:masterClrMapping/>
  </p:clrMapOvr>
  <p:transition>
    <p:fade/>
  </p:transition>
</p:sldLayout>
</file>

<file path=ppt/slideLayouts/slideLayout73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du texte 11"/>
          <p:cNvSpPr>
            <a:spLocks noGrp="1"/>
          </p:cNvSpPr>
          <p:nvPr>
            <p:ph type="body" sz="quarter" idx="10"/>
          </p:nvPr>
        </p:nvSpPr>
        <p:spPr>
          <a:xfrm>
            <a:off x="720082" y="899135"/>
            <a:ext cx="7670799" cy="3352801"/>
          </a:xfrm>
          <a:prstGeom prst="rect">
            <a:avLst/>
          </a:prstGeom>
        </p:spPr>
        <p:txBody>
          <a:bodyPr vert="horz"/>
          <a:lstStyle>
            <a:lvl1pPr marL="214313" indent="-214313">
              <a:buSzPct val="120000"/>
              <a:buFontTx/>
              <a:buBlip>
                <a:blip r:embed="rId2"/>
              </a:buBlip>
              <a:defRPr sz="1350">
                <a:solidFill>
                  <a:srgbClr val="404040"/>
                </a:solidFill>
                <a:latin typeface="Arial"/>
                <a:cs typeface="Arial"/>
              </a:defRPr>
            </a:lvl1pPr>
            <a:lvl2pPr marL="557213" indent="-214313">
              <a:buClr>
                <a:srgbClr val="00727A"/>
              </a:buClr>
              <a:buSzPct val="100000"/>
              <a:buFont typeface="Wingdings" pitchFamily="2" charset="2"/>
              <a:buChar char="à"/>
              <a:defRPr sz="1200" baseline="0">
                <a:solidFill>
                  <a:srgbClr val="404040"/>
                </a:solidFill>
                <a:latin typeface="Arial"/>
                <a:cs typeface="Arial"/>
              </a:defRPr>
            </a:lvl2pPr>
            <a:lvl3pPr marL="808435" indent="-122635">
              <a:buClr>
                <a:srgbClr val="004563"/>
              </a:buClr>
              <a:buSzPct val="100000"/>
              <a:buFont typeface="Arial" pitchFamily="34" charset="0"/>
              <a:buChar char="­"/>
              <a:defRPr sz="1050" i="1">
                <a:solidFill>
                  <a:srgbClr val="404040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10" name="Titr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14" name="Espace réservé du numéro de diapositive 1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/>
              <a:pPr/>
              <a:t>‹#›</a:t>
            </a:fld>
            <a:r>
              <a:rPr lang="fr-FR"/>
              <a:t>   |  </a:t>
            </a:r>
          </a:p>
        </p:txBody>
      </p:sp>
      <p:sp>
        <p:nvSpPr>
          <p:cNvPr id="18" name="Espace réservé du pied de page 17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fr-FR"/>
              <a:t>Formation UFT </a:t>
            </a:r>
            <a:r>
              <a:rPr lang="fr-FR" err="1"/>
              <a:t>Developer</a:t>
            </a:r>
            <a:endParaRPr lang="fr-FR"/>
          </a:p>
        </p:txBody>
      </p:sp>
      <p:sp>
        <p:nvSpPr>
          <p:cNvPr id="9" name="Espace réservé du texte 11"/>
          <p:cNvSpPr>
            <a:spLocks noGrp="1"/>
          </p:cNvSpPr>
          <p:nvPr>
            <p:ph type="body" sz="quarter" idx="13"/>
          </p:nvPr>
        </p:nvSpPr>
        <p:spPr>
          <a:xfrm>
            <a:off x="727076" y="614552"/>
            <a:ext cx="7670799" cy="286346"/>
          </a:xfrm>
          <a:prstGeom prst="rect">
            <a:avLst/>
          </a:prstGeom>
        </p:spPr>
        <p:txBody>
          <a:bodyPr vert="horz">
            <a:normAutofit/>
          </a:bodyPr>
          <a:lstStyle>
            <a:lvl1pPr marL="214313" indent="-214313">
              <a:buSzPct val="120000"/>
              <a:buFontTx/>
              <a:buNone/>
              <a:defRPr sz="1050" b="1">
                <a:solidFill>
                  <a:schemeClr val="tx2"/>
                </a:solidFill>
                <a:latin typeface="+mn-lt"/>
                <a:cs typeface="Arial"/>
              </a:defRPr>
            </a:lvl1pPr>
            <a:lvl2pPr marL="557213" indent="-214313">
              <a:buClr>
                <a:srgbClr val="00727A"/>
              </a:buClr>
              <a:buSzPct val="100000"/>
              <a:buFontTx/>
              <a:buNone/>
              <a:defRPr sz="1200" baseline="0">
                <a:solidFill>
                  <a:srgbClr val="404040"/>
                </a:solidFill>
                <a:latin typeface="Arial"/>
                <a:cs typeface="Arial"/>
              </a:defRPr>
            </a:lvl2pPr>
            <a:lvl3pPr marL="808435" indent="-122635">
              <a:buClr>
                <a:srgbClr val="004563"/>
              </a:buClr>
              <a:buSzPct val="100000"/>
              <a:buFontTx/>
              <a:buNone/>
              <a:defRPr sz="1050" i="1">
                <a:solidFill>
                  <a:srgbClr val="404040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Espace réservé de la date 3"/>
          <p:cNvSpPr>
            <a:spLocks noGrp="1"/>
          </p:cNvSpPr>
          <p:nvPr>
            <p:ph type="dt" sz="half" idx="2"/>
          </p:nvPr>
        </p:nvSpPr>
        <p:spPr>
          <a:xfrm>
            <a:off x="3505200" y="4881564"/>
            <a:ext cx="2133600" cy="163367"/>
          </a:xfrm>
          <a:prstGeom prst="rect">
            <a:avLst/>
          </a:prstGeom>
        </p:spPr>
        <p:txBody>
          <a:bodyPr lIns="0" tIns="0" rIns="0" bIns="0" anchor="b" anchorCtr="0"/>
          <a:lstStyle>
            <a:lvl1pPr algn="ctr">
              <a:defRPr sz="600" b="1">
                <a:solidFill>
                  <a:schemeClr val="accent4"/>
                </a:solidFill>
                <a:latin typeface="+mj-lt"/>
              </a:defRPr>
            </a:lvl1pPr>
          </a:lstStyle>
          <a:p>
            <a:fld id="{F95FF136-A15D-4C31-B53A-D82DB1C406C5}" type="datetime1">
              <a:rPr lang="fr-FR" smtClean="0"/>
              <a:t>13/03/202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46444433"/>
      </p:ext>
    </p:extLst>
  </p:cSld>
  <p:clrMapOvr>
    <a:masterClrMapping/>
  </p:clrMapOvr>
  <p:transition>
    <p:fade/>
  </p:transition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k object 16"/>
          <p:cNvSpPr>
            <a:spLocks/>
          </p:cNvSpPr>
          <p:nvPr userDrawn="1"/>
        </p:nvSpPr>
        <p:spPr bwMode="auto">
          <a:xfrm>
            <a:off x="0" y="1"/>
            <a:ext cx="9144000" cy="5143500"/>
          </a:xfrm>
          <a:custGeom>
            <a:avLst/>
            <a:gdLst>
              <a:gd name="T0" fmla="*/ 0 w 10692130"/>
              <a:gd name="T1" fmla="*/ 28 h 7560309"/>
              <a:gd name="T2" fmla="*/ 7838 w 10692130"/>
              <a:gd name="T3" fmla="*/ 28 h 7560309"/>
              <a:gd name="T4" fmla="*/ 7838 w 10692130"/>
              <a:gd name="T5" fmla="*/ 0 h 7560309"/>
              <a:gd name="T6" fmla="*/ 0 w 10692130"/>
              <a:gd name="T7" fmla="*/ 0 h 7560309"/>
              <a:gd name="T8" fmla="*/ 0 w 10692130"/>
              <a:gd name="T9" fmla="*/ 28 h 7560309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0692130" h="7560309">
                <a:moveTo>
                  <a:pt x="0" y="7559992"/>
                </a:moveTo>
                <a:lnTo>
                  <a:pt x="10692003" y="7559992"/>
                </a:lnTo>
                <a:lnTo>
                  <a:pt x="10692003" y="0"/>
                </a:lnTo>
                <a:lnTo>
                  <a:pt x="0" y="0"/>
                </a:lnTo>
                <a:lnTo>
                  <a:pt x="0" y="7559992"/>
                </a:lnTo>
                <a:close/>
              </a:path>
            </a:pathLst>
          </a:custGeom>
          <a:solidFill>
            <a:srgbClr val="0A7380"/>
          </a:solidFill>
          <a:ln w="9525">
            <a:noFill/>
            <a:round/>
            <a:headEnd/>
            <a:tailEnd/>
          </a:ln>
        </p:spPr>
        <p:txBody>
          <a:bodyPr lIns="0" tIns="0" rIns="0" bIns="0"/>
          <a:lstStyle/>
          <a:p>
            <a:endParaRPr lang="fr-FR"/>
          </a:p>
        </p:txBody>
      </p:sp>
      <p:pic>
        <p:nvPicPr>
          <p:cNvPr id="3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17746" y="299279"/>
            <a:ext cx="674511" cy="6747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" name="Picture 5"/>
          <p:cNvPicPr>
            <a:picLocks noChangeAspect="1" noChangeArrowheads="1"/>
          </p:cNvPicPr>
          <p:nvPr userDrawn="1"/>
        </p:nvPicPr>
        <p:blipFill rotWithShape="1">
          <a:blip r:embed="rId3" cstate="print"/>
          <a:srcRect l="19922" b="25009"/>
          <a:stretch/>
        </p:blipFill>
        <p:spPr bwMode="auto">
          <a:xfrm>
            <a:off x="0" y="1286340"/>
            <a:ext cx="4578503" cy="385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_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k object 16"/>
          <p:cNvSpPr>
            <a:spLocks/>
          </p:cNvSpPr>
          <p:nvPr userDrawn="1"/>
        </p:nvSpPr>
        <p:spPr bwMode="auto">
          <a:xfrm>
            <a:off x="0" y="2"/>
            <a:ext cx="9144000" cy="5143500"/>
          </a:xfrm>
          <a:custGeom>
            <a:avLst/>
            <a:gdLst>
              <a:gd name="T0" fmla="*/ 0 w 10692130"/>
              <a:gd name="T1" fmla="*/ 28 h 7560309"/>
              <a:gd name="T2" fmla="*/ 7838 w 10692130"/>
              <a:gd name="T3" fmla="*/ 28 h 7560309"/>
              <a:gd name="T4" fmla="*/ 7838 w 10692130"/>
              <a:gd name="T5" fmla="*/ 0 h 7560309"/>
              <a:gd name="T6" fmla="*/ 0 w 10692130"/>
              <a:gd name="T7" fmla="*/ 0 h 7560309"/>
              <a:gd name="T8" fmla="*/ 0 w 10692130"/>
              <a:gd name="T9" fmla="*/ 28 h 7560309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0692130" h="7560309">
                <a:moveTo>
                  <a:pt x="0" y="7559992"/>
                </a:moveTo>
                <a:lnTo>
                  <a:pt x="10692003" y="7559992"/>
                </a:lnTo>
                <a:lnTo>
                  <a:pt x="10692003" y="0"/>
                </a:lnTo>
                <a:lnTo>
                  <a:pt x="0" y="0"/>
                </a:lnTo>
                <a:lnTo>
                  <a:pt x="0" y="7559992"/>
                </a:lnTo>
                <a:close/>
              </a:path>
            </a:pathLst>
          </a:custGeom>
          <a:solidFill>
            <a:srgbClr val="0A7380"/>
          </a:solidFill>
          <a:ln w="9525">
            <a:noFill/>
            <a:round/>
            <a:headEnd/>
            <a:tailEnd/>
          </a:ln>
        </p:spPr>
        <p:txBody>
          <a:bodyPr lIns="0" tIns="0" rIns="0" bIns="0"/>
          <a:lstStyle/>
          <a:p>
            <a:endParaRPr lang="fr-FR"/>
          </a:p>
        </p:txBody>
      </p:sp>
      <p:pic>
        <p:nvPicPr>
          <p:cNvPr id="3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17747" y="299279"/>
            <a:ext cx="674511" cy="6747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" name="Picture 5"/>
          <p:cNvPicPr>
            <a:picLocks noChangeAspect="1" noChangeArrowheads="1"/>
          </p:cNvPicPr>
          <p:nvPr userDrawn="1"/>
        </p:nvPicPr>
        <p:blipFill rotWithShape="1">
          <a:blip r:embed="rId3" cstate="print"/>
          <a:srcRect l="19922" b="25009"/>
          <a:stretch/>
        </p:blipFill>
        <p:spPr bwMode="auto">
          <a:xfrm>
            <a:off x="0" y="1286342"/>
            <a:ext cx="4578503" cy="385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2025803" y="1809750"/>
            <a:ext cx="5105400" cy="17526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4400">
                <a:solidFill>
                  <a:schemeClr val="bg1"/>
                </a:solidFill>
                <a:latin typeface="Source Sans Pro Black" pitchFamily="34" charset="0"/>
                <a:ea typeface="Source Sans Pro Black" pitchFamily="34" charset="0"/>
              </a:defRPr>
            </a:lvl1pPr>
          </a:lstStyle>
          <a:p>
            <a:r>
              <a:rPr lang="en-US"/>
              <a:t>    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63422501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_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k object 16"/>
          <p:cNvSpPr>
            <a:spLocks/>
          </p:cNvSpPr>
          <p:nvPr userDrawn="1"/>
        </p:nvSpPr>
        <p:spPr bwMode="auto">
          <a:xfrm>
            <a:off x="0" y="2"/>
            <a:ext cx="9144000" cy="5143500"/>
          </a:xfrm>
          <a:custGeom>
            <a:avLst/>
            <a:gdLst>
              <a:gd name="T0" fmla="*/ 0 w 10692130"/>
              <a:gd name="T1" fmla="*/ 28 h 7560309"/>
              <a:gd name="T2" fmla="*/ 7838 w 10692130"/>
              <a:gd name="T3" fmla="*/ 28 h 7560309"/>
              <a:gd name="T4" fmla="*/ 7838 w 10692130"/>
              <a:gd name="T5" fmla="*/ 0 h 7560309"/>
              <a:gd name="T6" fmla="*/ 0 w 10692130"/>
              <a:gd name="T7" fmla="*/ 0 h 7560309"/>
              <a:gd name="T8" fmla="*/ 0 w 10692130"/>
              <a:gd name="T9" fmla="*/ 28 h 7560309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0692130" h="7560309">
                <a:moveTo>
                  <a:pt x="0" y="7559992"/>
                </a:moveTo>
                <a:lnTo>
                  <a:pt x="10692003" y="7559992"/>
                </a:lnTo>
                <a:lnTo>
                  <a:pt x="10692003" y="0"/>
                </a:lnTo>
                <a:lnTo>
                  <a:pt x="0" y="0"/>
                </a:lnTo>
                <a:lnTo>
                  <a:pt x="0" y="7559992"/>
                </a:lnTo>
                <a:close/>
              </a:path>
            </a:pathLst>
          </a:custGeom>
          <a:solidFill>
            <a:srgbClr val="0A7380"/>
          </a:solidFill>
          <a:ln w="9525">
            <a:noFill/>
            <a:round/>
            <a:headEnd/>
            <a:tailEnd/>
          </a:ln>
        </p:spPr>
        <p:txBody>
          <a:bodyPr lIns="0" tIns="0" rIns="0" bIns="0"/>
          <a:lstStyle/>
          <a:p>
            <a:endParaRPr lang="fr-FR"/>
          </a:p>
        </p:txBody>
      </p:sp>
      <p:pic>
        <p:nvPicPr>
          <p:cNvPr id="3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17747" y="299279"/>
            <a:ext cx="674511" cy="6747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" name="Picture 5"/>
          <p:cNvPicPr>
            <a:picLocks noChangeAspect="1" noChangeArrowheads="1"/>
          </p:cNvPicPr>
          <p:nvPr userDrawn="1"/>
        </p:nvPicPr>
        <p:blipFill rotWithShape="1">
          <a:blip r:embed="rId3" cstate="print"/>
          <a:srcRect l="19922" b="25009"/>
          <a:stretch/>
        </p:blipFill>
        <p:spPr bwMode="auto">
          <a:xfrm>
            <a:off x="0" y="1286342"/>
            <a:ext cx="4578503" cy="385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2025803" y="1809750"/>
            <a:ext cx="5105400" cy="17526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4400">
                <a:solidFill>
                  <a:schemeClr val="bg1"/>
                </a:solidFill>
                <a:latin typeface="Source Sans Pro Black" pitchFamily="34" charset="0"/>
                <a:ea typeface="Source Sans Pro Black" pitchFamily="34" charset="0"/>
              </a:defRPr>
            </a:lvl1pPr>
          </a:lstStyle>
          <a:p>
            <a:r>
              <a:rPr lang="en-US"/>
              <a:t>    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6342250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5_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k object 16"/>
          <p:cNvSpPr>
            <a:spLocks/>
          </p:cNvSpPr>
          <p:nvPr userDrawn="1"/>
        </p:nvSpPr>
        <p:spPr bwMode="auto">
          <a:xfrm>
            <a:off x="0" y="2"/>
            <a:ext cx="9144000" cy="5143500"/>
          </a:xfrm>
          <a:custGeom>
            <a:avLst/>
            <a:gdLst>
              <a:gd name="T0" fmla="*/ 0 w 10692130"/>
              <a:gd name="T1" fmla="*/ 28 h 7560309"/>
              <a:gd name="T2" fmla="*/ 7838 w 10692130"/>
              <a:gd name="T3" fmla="*/ 28 h 7560309"/>
              <a:gd name="T4" fmla="*/ 7838 w 10692130"/>
              <a:gd name="T5" fmla="*/ 0 h 7560309"/>
              <a:gd name="T6" fmla="*/ 0 w 10692130"/>
              <a:gd name="T7" fmla="*/ 0 h 7560309"/>
              <a:gd name="T8" fmla="*/ 0 w 10692130"/>
              <a:gd name="T9" fmla="*/ 28 h 7560309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0692130" h="7560309">
                <a:moveTo>
                  <a:pt x="0" y="7559992"/>
                </a:moveTo>
                <a:lnTo>
                  <a:pt x="10692003" y="7559992"/>
                </a:lnTo>
                <a:lnTo>
                  <a:pt x="10692003" y="0"/>
                </a:lnTo>
                <a:lnTo>
                  <a:pt x="0" y="0"/>
                </a:lnTo>
                <a:lnTo>
                  <a:pt x="0" y="7559992"/>
                </a:lnTo>
                <a:close/>
              </a:path>
            </a:pathLst>
          </a:custGeom>
          <a:solidFill>
            <a:srgbClr val="E196AA"/>
          </a:solidFill>
          <a:ln w="9525">
            <a:noFill/>
            <a:round/>
            <a:headEnd/>
            <a:tailEnd/>
          </a:ln>
        </p:spPr>
        <p:txBody>
          <a:bodyPr lIns="0" tIns="0" rIns="0" bIns="0"/>
          <a:lstStyle/>
          <a:p>
            <a:endParaRPr lang="fr-FR"/>
          </a:p>
        </p:txBody>
      </p:sp>
      <p:pic>
        <p:nvPicPr>
          <p:cNvPr id="3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17747" y="299279"/>
            <a:ext cx="674511" cy="6747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2" descr="C:\Users\harpreet singh\Desktop\switch\half\PPT half switch-06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312863"/>
            <a:ext cx="4714875" cy="38306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2357437" y="1800227"/>
            <a:ext cx="5576888" cy="1752600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defRPr sz="5400">
                <a:solidFill>
                  <a:srgbClr val="00008F"/>
                </a:solidFill>
                <a:latin typeface="Source Sans Pro Black" pitchFamily="34" charset="0"/>
                <a:ea typeface="Source Sans Pro Black" pitchFamily="34" charset="0"/>
              </a:defRPr>
            </a:lvl1pPr>
          </a:lstStyle>
          <a:p>
            <a:r>
              <a:rPr lang="en-US"/>
              <a:t>    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8991271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5_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k object 16"/>
          <p:cNvSpPr>
            <a:spLocks/>
          </p:cNvSpPr>
          <p:nvPr userDrawn="1"/>
        </p:nvSpPr>
        <p:spPr bwMode="auto">
          <a:xfrm>
            <a:off x="0" y="2"/>
            <a:ext cx="9144000" cy="5143500"/>
          </a:xfrm>
          <a:custGeom>
            <a:avLst/>
            <a:gdLst>
              <a:gd name="T0" fmla="*/ 0 w 10692130"/>
              <a:gd name="T1" fmla="*/ 28 h 7560309"/>
              <a:gd name="T2" fmla="*/ 7838 w 10692130"/>
              <a:gd name="T3" fmla="*/ 28 h 7560309"/>
              <a:gd name="T4" fmla="*/ 7838 w 10692130"/>
              <a:gd name="T5" fmla="*/ 0 h 7560309"/>
              <a:gd name="T6" fmla="*/ 0 w 10692130"/>
              <a:gd name="T7" fmla="*/ 0 h 7560309"/>
              <a:gd name="T8" fmla="*/ 0 w 10692130"/>
              <a:gd name="T9" fmla="*/ 28 h 7560309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0692130" h="7560309">
                <a:moveTo>
                  <a:pt x="0" y="7559992"/>
                </a:moveTo>
                <a:lnTo>
                  <a:pt x="10692003" y="7559992"/>
                </a:lnTo>
                <a:lnTo>
                  <a:pt x="10692003" y="0"/>
                </a:lnTo>
                <a:lnTo>
                  <a:pt x="0" y="0"/>
                </a:lnTo>
                <a:lnTo>
                  <a:pt x="0" y="7559992"/>
                </a:lnTo>
                <a:close/>
              </a:path>
            </a:pathLst>
          </a:custGeom>
          <a:solidFill>
            <a:srgbClr val="E196AA"/>
          </a:solidFill>
          <a:ln w="9525">
            <a:noFill/>
            <a:round/>
            <a:headEnd/>
            <a:tailEnd/>
          </a:ln>
        </p:spPr>
        <p:txBody>
          <a:bodyPr lIns="0" tIns="0" rIns="0" bIns="0"/>
          <a:lstStyle/>
          <a:p>
            <a:endParaRPr lang="fr-FR"/>
          </a:p>
        </p:txBody>
      </p:sp>
      <p:pic>
        <p:nvPicPr>
          <p:cNvPr id="3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17747" y="299279"/>
            <a:ext cx="674511" cy="6747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2" descr="C:\Users\harpreet singh\Desktop\switch\half\PPT half switch-06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312863"/>
            <a:ext cx="4714875" cy="38306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2357437" y="1800227"/>
            <a:ext cx="5576888" cy="1752600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defRPr sz="5400">
                <a:solidFill>
                  <a:srgbClr val="00008F"/>
                </a:solidFill>
                <a:latin typeface="Source Sans Pro Black" pitchFamily="34" charset="0"/>
                <a:ea typeface="Source Sans Pro Black" pitchFamily="34" charset="0"/>
              </a:defRPr>
            </a:lvl1pPr>
          </a:lstStyle>
          <a:p>
            <a:r>
              <a:rPr lang="en-US"/>
              <a:t>    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899127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heme" Target="../theme/theme1.xml"/></Relationships>
</file>

<file path=ppt/slideMasters/_rels/slideMaster10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0.xml"/><Relationship Id="rId18" Type="http://schemas.openxmlformats.org/officeDocument/2006/relationships/slideLayout" Target="../slideLayouts/slideLayout180.xml"/><Relationship Id="rId26" Type="http://schemas.openxmlformats.org/officeDocument/2006/relationships/slideLayout" Target="../slideLayouts/slideLayout260.xml"/><Relationship Id="rId8" Type="http://schemas.openxmlformats.org/officeDocument/2006/relationships/slideLayout" Target="../slideLayouts/slideLayout80.xml"/><Relationship Id="rId3" Type="http://schemas.openxmlformats.org/officeDocument/2006/relationships/slideLayout" Target="../slideLayouts/slideLayout310.xml"/><Relationship Id="rId21" Type="http://schemas.openxmlformats.org/officeDocument/2006/relationships/slideLayout" Target="../slideLayouts/slideLayout210.xml"/><Relationship Id="rId34" Type="http://schemas.openxmlformats.org/officeDocument/2006/relationships/slideLayout" Target="../slideLayouts/slideLayout340.xml"/><Relationship Id="rId7" Type="http://schemas.openxmlformats.org/officeDocument/2006/relationships/slideLayout" Target="../slideLayouts/slideLayout74.xml"/><Relationship Id="rId12" Type="http://schemas.openxmlformats.org/officeDocument/2006/relationships/slideLayout" Target="../slideLayouts/slideLayout120.xml"/><Relationship Id="rId17" Type="http://schemas.openxmlformats.org/officeDocument/2006/relationships/slideLayout" Target="../slideLayouts/slideLayout170.xml"/><Relationship Id="rId25" Type="http://schemas.openxmlformats.org/officeDocument/2006/relationships/slideLayout" Target="../slideLayouts/slideLayout250.xml"/><Relationship Id="rId33" Type="http://schemas.openxmlformats.org/officeDocument/2006/relationships/slideLayout" Target="../slideLayouts/slideLayout330.xml"/><Relationship Id="rId2" Type="http://schemas.openxmlformats.org/officeDocument/2006/relationships/slideLayout" Target="../slideLayouts/slideLayout211.xml"/><Relationship Id="rId16" Type="http://schemas.openxmlformats.org/officeDocument/2006/relationships/slideLayout" Target="../slideLayouts/slideLayout160.xml"/><Relationship Id="rId20" Type="http://schemas.openxmlformats.org/officeDocument/2006/relationships/slideLayout" Target="../slideLayouts/slideLayout200.xml"/><Relationship Id="rId29" Type="http://schemas.openxmlformats.org/officeDocument/2006/relationships/slideLayout" Target="../slideLayouts/slideLayout290.xml"/><Relationship Id="rId1" Type="http://schemas.openxmlformats.org/officeDocument/2006/relationships/slideLayout" Target="../slideLayouts/slideLayout110.xml"/><Relationship Id="rId6" Type="http://schemas.openxmlformats.org/officeDocument/2006/relationships/slideLayout" Target="../slideLayouts/slideLayout610.xml"/><Relationship Id="rId11" Type="http://schemas.openxmlformats.org/officeDocument/2006/relationships/slideLayout" Target="../slideLayouts/slideLayout111.xml"/><Relationship Id="rId24" Type="http://schemas.openxmlformats.org/officeDocument/2006/relationships/slideLayout" Target="../slideLayouts/slideLayout240.xml"/><Relationship Id="rId32" Type="http://schemas.openxmlformats.org/officeDocument/2006/relationships/slideLayout" Target="../slideLayouts/slideLayout320.xml"/><Relationship Id="rId5" Type="http://schemas.openxmlformats.org/officeDocument/2006/relationships/slideLayout" Target="../slideLayouts/slideLayout510.xml"/><Relationship Id="rId15" Type="http://schemas.openxmlformats.org/officeDocument/2006/relationships/slideLayout" Target="../slideLayouts/slideLayout150.xml"/><Relationship Id="rId23" Type="http://schemas.openxmlformats.org/officeDocument/2006/relationships/slideLayout" Target="../slideLayouts/slideLayout230.xml"/><Relationship Id="rId28" Type="http://schemas.openxmlformats.org/officeDocument/2006/relationships/slideLayout" Target="../slideLayouts/slideLayout280.xml"/><Relationship Id="rId10" Type="http://schemas.openxmlformats.org/officeDocument/2006/relationships/slideLayout" Target="../slideLayouts/slideLayout100.xml"/><Relationship Id="rId19" Type="http://schemas.openxmlformats.org/officeDocument/2006/relationships/slideLayout" Target="../slideLayouts/slideLayout190.xml"/><Relationship Id="rId31" Type="http://schemas.openxmlformats.org/officeDocument/2006/relationships/slideLayout" Target="../slideLayouts/slideLayout311.xml"/><Relationship Id="rId4" Type="http://schemas.openxmlformats.org/officeDocument/2006/relationships/slideLayout" Target="../slideLayouts/slideLayout410.xml"/><Relationship Id="rId9" Type="http://schemas.openxmlformats.org/officeDocument/2006/relationships/slideLayout" Target="../slideLayouts/slideLayout90.xml"/><Relationship Id="rId14" Type="http://schemas.openxmlformats.org/officeDocument/2006/relationships/slideLayout" Target="../slideLayouts/slideLayout140.xml"/><Relationship Id="rId22" Type="http://schemas.openxmlformats.org/officeDocument/2006/relationships/slideLayout" Target="../slideLayouts/slideLayout220.xml"/><Relationship Id="rId27" Type="http://schemas.openxmlformats.org/officeDocument/2006/relationships/slideLayout" Target="../slideLayouts/slideLayout270.xml"/><Relationship Id="rId30" Type="http://schemas.openxmlformats.org/officeDocument/2006/relationships/slideLayout" Target="../slideLayouts/slideLayout300.xml"/><Relationship Id="rId35" Type="http://schemas.openxmlformats.org/officeDocument/2006/relationships/theme" Target="../theme/theme10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2.xml"/><Relationship Id="rId3" Type="http://schemas.openxmlformats.org/officeDocument/2006/relationships/slideLayout" Target="../slideLayouts/slideLayout37.xml"/><Relationship Id="rId7" Type="http://schemas.openxmlformats.org/officeDocument/2006/relationships/slideLayout" Target="../slideLayouts/slideLayout41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36.xml"/><Relationship Id="rId1" Type="http://schemas.openxmlformats.org/officeDocument/2006/relationships/slideLayout" Target="../slideLayouts/slideLayout35.xml"/><Relationship Id="rId6" Type="http://schemas.openxmlformats.org/officeDocument/2006/relationships/slideLayout" Target="../slideLayouts/slideLayout40.xml"/><Relationship Id="rId11" Type="http://schemas.openxmlformats.org/officeDocument/2006/relationships/slideLayout" Target="../slideLayouts/slideLayout45.xml"/><Relationship Id="rId5" Type="http://schemas.openxmlformats.org/officeDocument/2006/relationships/slideLayout" Target="../slideLayouts/slideLayout39.xml"/><Relationship Id="rId10" Type="http://schemas.openxmlformats.org/officeDocument/2006/relationships/slideLayout" Target="../slideLayouts/slideLayout44.xml"/><Relationship Id="rId4" Type="http://schemas.openxmlformats.org/officeDocument/2006/relationships/slideLayout" Target="../slideLayouts/slideLayout38.xml"/><Relationship Id="rId9" Type="http://schemas.openxmlformats.org/officeDocument/2006/relationships/slideLayout" Target="../slideLayouts/slideLayout43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3.xml"/><Relationship Id="rId13" Type="http://schemas.openxmlformats.org/officeDocument/2006/relationships/slideLayout" Target="../slideLayouts/slideLayout58.xml"/><Relationship Id="rId18" Type="http://schemas.openxmlformats.org/officeDocument/2006/relationships/slideLayout" Target="../slideLayouts/slideLayout63.xml"/><Relationship Id="rId26" Type="http://schemas.openxmlformats.org/officeDocument/2006/relationships/slideLayout" Target="../slideLayouts/slideLayout71.xml"/><Relationship Id="rId3" Type="http://schemas.openxmlformats.org/officeDocument/2006/relationships/slideLayout" Target="../slideLayouts/slideLayout48.xml"/><Relationship Id="rId21" Type="http://schemas.openxmlformats.org/officeDocument/2006/relationships/slideLayout" Target="../slideLayouts/slideLayout66.xml"/><Relationship Id="rId7" Type="http://schemas.openxmlformats.org/officeDocument/2006/relationships/slideLayout" Target="../slideLayouts/slideLayout52.xml"/><Relationship Id="rId12" Type="http://schemas.openxmlformats.org/officeDocument/2006/relationships/slideLayout" Target="../slideLayouts/slideLayout57.xml"/><Relationship Id="rId17" Type="http://schemas.openxmlformats.org/officeDocument/2006/relationships/slideLayout" Target="../slideLayouts/slideLayout62.xml"/><Relationship Id="rId25" Type="http://schemas.openxmlformats.org/officeDocument/2006/relationships/slideLayout" Target="../slideLayouts/slideLayout70.xml"/><Relationship Id="rId2" Type="http://schemas.openxmlformats.org/officeDocument/2006/relationships/slideLayout" Target="../slideLayouts/slideLayout47.xml"/><Relationship Id="rId16" Type="http://schemas.openxmlformats.org/officeDocument/2006/relationships/slideLayout" Target="../slideLayouts/slideLayout61.xml"/><Relationship Id="rId20" Type="http://schemas.openxmlformats.org/officeDocument/2006/relationships/slideLayout" Target="../slideLayouts/slideLayout65.xml"/><Relationship Id="rId29" Type="http://schemas.openxmlformats.org/officeDocument/2006/relationships/theme" Target="../theme/theme3.xml"/><Relationship Id="rId1" Type="http://schemas.openxmlformats.org/officeDocument/2006/relationships/slideLayout" Target="../slideLayouts/slideLayout46.xml"/><Relationship Id="rId6" Type="http://schemas.openxmlformats.org/officeDocument/2006/relationships/slideLayout" Target="../slideLayouts/slideLayout51.xml"/><Relationship Id="rId11" Type="http://schemas.openxmlformats.org/officeDocument/2006/relationships/slideLayout" Target="../slideLayouts/slideLayout56.xml"/><Relationship Id="rId24" Type="http://schemas.openxmlformats.org/officeDocument/2006/relationships/slideLayout" Target="../slideLayouts/slideLayout69.xml"/><Relationship Id="rId5" Type="http://schemas.openxmlformats.org/officeDocument/2006/relationships/slideLayout" Target="../slideLayouts/slideLayout50.xml"/><Relationship Id="rId15" Type="http://schemas.openxmlformats.org/officeDocument/2006/relationships/slideLayout" Target="../slideLayouts/slideLayout60.xml"/><Relationship Id="rId23" Type="http://schemas.openxmlformats.org/officeDocument/2006/relationships/slideLayout" Target="../slideLayouts/slideLayout68.xml"/><Relationship Id="rId28" Type="http://schemas.openxmlformats.org/officeDocument/2006/relationships/slideLayout" Target="../slideLayouts/slideLayout73.xml"/><Relationship Id="rId10" Type="http://schemas.openxmlformats.org/officeDocument/2006/relationships/slideLayout" Target="../slideLayouts/slideLayout55.xml"/><Relationship Id="rId19" Type="http://schemas.openxmlformats.org/officeDocument/2006/relationships/slideLayout" Target="../slideLayouts/slideLayout64.xml"/><Relationship Id="rId4" Type="http://schemas.openxmlformats.org/officeDocument/2006/relationships/slideLayout" Target="../slideLayouts/slideLayout49.xml"/><Relationship Id="rId9" Type="http://schemas.openxmlformats.org/officeDocument/2006/relationships/slideLayout" Target="../slideLayouts/slideLayout54.xml"/><Relationship Id="rId14" Type="http://schemas.openxmlformats.org/officeDocument/2006/relationships/slideLayout" Target="../slideLayouts/slideLayout59.xml"/><Relationship Id="rId22" Type="http://schemas.openxmlformats.org/officeDocument/2006/relationships/slideLayout" Target="../slideLayouts/slideLayout67.xml"/><Relationship Id="rId27" Type="http://schemas.openxmlformats.org/officeDocument/2006/relationships/slideLayout" Target="../slideLayouts/slideLayout72.xml"/><Relationship Id="rId30" Type="http://schemas.openxmlformats.org/officeDocument/2006/relationships/image" Target="../media/image9.png"/></Relationships>
</file>

<file path=ppt/slideMasters/_rels/slideMaster3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30.xml"/><Relationship Id="rId13" Type="http://schemas.openxmlformats.org/officeDocument/2006/relationships/slideLayout" Target="../slideLayouts/slideLayout580.xml"/><Relationship Id="rId18" Type="http://schemas.openxmlformats.org/officeDocument/2006/relationships/slideLayout" Target="../slideLayouts/slideLayout630.xml"/><Relationship Id="rId26" Type="http://schemas.openxmlformats.org/officeDocument/2006/relationships/slideLayout" Target="../slideLayouts/slideLayout710.xml"/><Relationship Id="rId3" Type="http://schemas.openxmlformats.org/officeDocument/2006/relationships/slideLayout" Target="../slideLayouts/slideLayout480.xml"/><Relationship Id="rId21" Type="http://schemas.openxmlformats.org/officeDocument/2006/relationships/slideLayout" Target="../slideLayouts/slideLayout660.xml"/><Relationship Id="rId7" Type="http://schemas.openxmlformats.org/officeDocument/2006/relationships/slideLayout" Target="../slideLayouts/slideLayout520.xml"/><Relationship Id="rId12" Type="http://schemas.openxmlformats.org/officeDocument/2006/relationships/slideLayout" Target="../slideLayouts/slideLayout570.xml"/><Relationship Id="rId17" Type="http://schemas.openxmlformats.org/officeDocument/2006/relationships/slideLayout" Target="../slideLayouts/slideLayout620.xml"/><Relationship Id="rId25" Type="http://schemas.openxmlformats.org/officeDocument/2006/relationships/slideLayout" Target="../slideLayouts/slideLayout700.xml"/><Relationship Id="rId2" Type="http://schemas.openxmlformats.org/officeDocument/2006/relationships/slideLayout" Target="../slideLayouts/slideLayout470.xml"/><Relationship Id="rId16" Type="http://schemas.openxmlformats.org/officeDocument/2006/relationships/slideLayout" Target="../slideLayouts/slideLayout611.xml"/><Relationship Id="rId20" Type="http://schemas.openxmlformats.org/officeDocument/2006/relationships/slideLayout" Target="../slideLayouts/slideLayout650.xml"/><Relationship Id="rId29" Type="http://schemas.openxmlformats.org/officeDocument/2006/relationships/theme" Target="../theme/theme30.xml"/><Relationship Id="rId1" Type="http://schemas.openxmlformats.org/officeDocument/2006/relationships/slideLayout" Target="../slideLayouts/slideLayout460.xml"/><Relationship Id="rId6" Type="http://schemas.openxmlformats.org/officeDocument/2006/relationships/slideLayout" Target="../slideLayouts/slideLayout511.xml"/><Relationship Id="rId11" Type="http://schemas.openxmlformats.org/officeDocument/2006/relationships/slideLayout" Target="../slideLayouts/slideLayout560.xml"/><Relationship Id="rId24" Type="http://schemas.openxmlformats.org/officeDocument/2006/relationships/slideLayout" Target="../slideLayouts/slideLayout690.xml"/><Relationship Id="rId5" Type="http://schemas.openxmlformats.org/officeDocument/2006/relationships/slideLayout" Target="../slideLayouts/slideLayout500.xml"/><Relationship Id="rId15" Type="http://schemas.openxmlformats.org/officeDocument/2006/relationships/slideLayout" Target="../slideLayouts/slideLayout600.xml"/><Relationship Id="rId23" Type="http://schemas.openxmlformats.org/officeDocument/2006/relationships/slideLayout" Target="../slideLayouts/slideLayout680.xml"/><Relationship Id="rId28" Type="http://schemas.openxmlformats.org/officeDocument/2006/relationships/slideLayout" Target="../slideLayouts/slideLayout730.xml"/><Relationship Id="rId10" Type="http://schemas.openxmlformats.org/officeDocument/2006/relationships/slideLayout" Target="../slideLayouts/slideLayout550.xml"/><Relationship Id="rId19" Type="http://schemas.openxmlformats.org/officeDocument/2006/relationships/slideLayout" Target="../slideLayouts/slideLayout640.xml"/><Relationship Id="rId4" Type="http://schemas.openxmlformats.org/officeDocument/2006/relationships/slideLayout" Target="../slideLayouts/slideLayout490.xml"/><Relationship Id="rId9" Type="http://schemas.openxmlformats.org/officeDocument/2006/relationships/slideLayout" Target="../slideLayouts/slideLayout540.xml"/><Relationship Id="rId14" Type="http://schemas.openxmlformats.org/officeDocument/2006/relationships/slideLayout" Target="../slideLayouts/slideLayout590.xml"/><Relationship Id="rId22" Type="http://schemas.openxmlformats.org/officeDocument/2006/relationships/slideLayout" Target="../slideLayouts/slideLayout670.xml"/><Relationship Id="rId27" Type="http://schemas.openxmlformats.org/officeDocument/2006/relationships/slideLayout" Target="../slideLayouts/slideLayout720.xml"/><Relationship Id="rId30" Type="http://schemas.openxmlformats.org/officeDocument/2006/relationships/image" Target="../media/image9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numéro de diapositive 4"/>
          <p:cNvSpPr>
            <a:spLocks noGrp="1"/>
          </p:cNvSpPr>
          <p:nvPr>
            <p:ph type="sldNum" sz="quarter" idx="4"/>
          </p:nvPr>
        </p:nvSpPr>
        <p:spPr>
          <a:xfrm>
            <a:off x="273150" y="4805185"/>
            <a:ext cx="252710" cy="169157"/>
          </a:xfrm>
          <a:prstGeom prst="rect">
            <a:avLst/>
          </a:prstGeom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defRPr sz="900">
                <a:latin typeface="Source Sans Pro" pitchFamily="34" charset="0"/>
              </a:defRPr>
            </a:lvl1pPr>
          </a:lstStyle>
          <a:p>
            <a:fld id="{AB4D0077-BF62-4615-B421-B126B085B149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2"/>
          </p:nvPr>
        </p:nvSpPr>
        <p:spPr>
          <a:xfrm>
            <a:off x="457107" y="4755701"/>
            <a:ext cx="2133166" cy="273254"/>
          </a:xfrm>
          <a:prstGeom prst="rect">
            <a:avLst/>
          </a:prstGeom>
        </p:spPr>
        <p:txBody>
          <a:bodyPr vert="horz" lIns="107040" tIns="53520" rIns="107040" bIns="53520" rtlCol="0" anchor="ctr"/>
          <a:lstStyle>
            <a:lvl1pPr algn="l">
              <a:defRPr sz="900">
                <a:solidFill>
                  <a:schemeClr val="tx1"/>
                </a:solidFill>
                <a:latin typeface="+mn-lt"/>
              </a:defRPr>
            </a:lvl1pPr>
          </a:lstStyle>
          <a:p>
            <a:fld id="{48F6024C-883D-4D7C-B8CF-4D2E60550330}" type="datetime1">
              <a:rPr lang="fr-FR" smtClean="0"/>
              <a:t>20/03/2023</a:t>
            </a:fld>
            <a:endParaRPr lang="fr-FR"/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3"/>
          </p:nvPr>
        </p:nvSpPr>
        <p:spPr>
          <a:xfrm>
            <a:off x="3123566" y="4755701"/>
            <a:ext cx="2896869" cy="273254"/>
          </a:xfrm>
          <a:prstGeom prst="rect">
            <a:avLst/>
          </a:prstGeom>
        </p:spPr>
        <p:txBody>
          <a:bodyPr vert="horz" lIns="107040" tIns="53520" rIns="107040" bIns="53520" rtlCol="0" anchor="ctr"/>
          <a:lstStyle>
            <a:lvl1pPr algn="ctr">
              <a:defRPr sz="900">
                <a:solidFill>
                  <a:srgbClr val="FF0000"/>
                </a:solidFill>
                <a:latin typeface="+mn-lt"/>
              </a:defRPr>
            </a:lvl1pPr>
          </a:lstStyle>
          <a:p>
            <a:r>
              <a:rPr lang="fr-FR"/>
              <a:t>CONFIDENTIALITY LEVEL</a:t>
            </a:r>
          </a:p>
        </p:txBody>
      </p:sp>
      <p:sp>
        <p:nvSpPr>
          <p:cNvPr id="4" name="MSIPCMContentMarking" descr="{&quot;HashCode&quot;:-510168642,&quot;Placement&quot;:&quot;Footer&quot;}">
            <a:extLst>
              <a:ext uri="{FF2B5EF4-FFF2-40B4-BE49-F238E27FC236}">
                <a16:creationId xmlns:a16="http://schemas.microsoft.com/office/drawing/2014/main" id="{479E1BFA-8182-4B4A-AFB9-27675E371F54}"/>
              </a:ext>
            </a:extLst>
          </p:cNvPr>
          <p:cNvSpPr txBox="1"/>
          <p:nvPr userDrawn="1"/>
        </p:nvSpPr>
        <p:spPr bwMode="auto">
          <a:xfrm>
            <a:off x="0" y="4726126"/>
            <a:ext cx="1719930" cy="4173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rtlCol="0" anchor="ctr" anchorCtr="1">
            <a:spAutoFit/>
          </a:bodyPr>
          <a:lstStyle/>
          <a:p>
            <a:pPr algn="l" eaLnBrk="1" hangingPunct="1">
              <a:spcBef>
                <a:spcPct val="0"/>
              </a:spcBef>
              <a:spcAft>
                <a:spcPct val="0"/>
              </a:spcAft>
            </a:pPr>
            <a:r>
              <a:rPr lang="fr-FR" sz="1000">
                <a:solidFill>
                  <a:srgbClr val="000000"/>
                </a:solidFill>
                <a:latin typeface="Calibri" panose="020F0502020204030204" pitchFamily="34" charset="0"/>
              </a:rPr>
              <a:t>
 Classification : Confidentiel </a:t>
            </a:r>
            <a:endParaRPr lang="fr-FR" sz="1000" err="1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85" r:id="rId1"/>
    <p:sldLayoutId id="2147483886" r:id="rId2"/>
    <p:sldLayoutId id="2147483892" r:id="rId3"/>
    <p:sldLayoutId id="2147483887" r:id="rId4"/>
    <p:sldLayoutId id="2147483888" r:id="rId5"/>
    <p:sldLayoutId id="2147483893" r:id="rId6"/>
    <p:sldLayoutId id="2147483891" r:id="rId7"/>
    <p:sldLayoutId id="2147483967" r:id="rId8"/>
    <p:sldLayoutId id="2147483968" r:id="rId9"/>
    <p:sldLayoutId id="2147483969" r:id="rId10"/>
    <p:sldLayoutId id="2147483970" r:id="rId11"/>
    <p:sldLayoutId id="2147483971" r:id="rId12"/>
    <p:sldLayoutId id="2147483972" r:id="rId13"/>
    <p:sldLayoutId id="2147483930" r:id="rId14"/>
    <p:sldLayoutId id="2147483890" r:id="rId15"/>
    <p:sldLayoutId id="2147483958" r:id="rId16"/>
    <p:sldLayoutId id="2147483959" r:id="rId17"/>
    <p:sldLayoutId id="2147483960" r:id="rId18"/>
    <p:sldLayoutId id="2147483961" r:id="rId19"/>
    <p:sldLayoutId id="2147483963" r:id="rId20"/>
    <p:sldLayoutId id="2147483964" r:id="rId21"/>
    <p:sldLayoutId id="2147483889" r:id="rId22"/>
    <p:sldLayoutId id="2147483915" r:id="rId23"/>
    <p:sldLayoutId id="2147483916" r:id="rId24"/>
    <p:sldLayoutId id="2147483917" r:id="rId25"/>
    <p:sldLayoutId id="2147483918" r:id="rId26"/>
    <p:sldLayoutId id="2147483919" r:id="rId27"/>
    <p:sldLayoutId id="2147483920" r:id="rId28"/>
    <p:sldLayoutId id="2147483900" r:id="rId29"/>
    <p:sldLayoutId id="2147483901" r:id="rId30"/>
    <p:sldLayoutId id="2147483902" r:id="rId31"/>
    <p:sldLayoutId id="2147483903" r:id="rId32"/>
    <p:sldLayoutId id="2147483987" r:id="rId33"/>
    <p:sldLayoutId id="2147483988" r:id="rId34"/>
  </p:sldLayoutIdLst>
  <p:hf hdr="0" ftr="0"/>
  <p:txStyles>
    <p:titleStyle>
      <a:lvl1pPr algn="ctr" defTabSz="815806" rtl="0" eaLnBrk="1" fontAlgn="base" hangingPunct="1">
        <a:spcBef>
          <a:spcPct val="0"/>
        </a:spcBef>
        <a:spcAft>
          <a:spcPct val="0"/>
        </a:spcAft>
        <a:defRPr sz="40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defTabSz="815806" rtl="0" eaLnBrk="1" fontAlgn="base" hangingPunct="1">
        <a:spcBef>
          <a:spcPct val="0"/>
        </a:spcBef>
        <a:spcAft>
          <a:spcPct val="0"/>
        </a:spcAft>
        <a:defRPr sz="4000">
          <a:solidFill>
            <a:schemeClr val="tx1"/>
          </a:solidFill>
          <a:latin typeface="Source Sans Pro" pitchFamily="34" charset="0"/>
        </a:defRPr>
      </a:lvl2pPr>
      <a:lvl3pPr algn="ctr" defTabSz="815806" rtl="0" eaLnBrk="1" fontAlgn="base" hangingPunct="1">
        <a:spcBef>
          <a:spcPct val="0"/>
        </a:spcBef>
        <a:spcAft>
          <a:spcPct val="0"/>
        </a:spcAft>
        <a:defRPr sz="4000">
          <a:solidFill>
            <a:schemeClr val="tx1"/>
          </a:solidFill>
          <a:latin typeface="Source Sans Pro" pitchFamily="34" charset="0"/>
        </a:defRPr>
      </a:lvl3pPr>
      <a:lvl4pPr algn="ctr" defTabSz="815806" rtl="0" eaLnBrk="1" fontAlgn="base" hangingPunct="1">
        <a:spcBef>
          <a:spcPct val="0"/>
        </a:spcBef>
        <a:spcAft>
          <a:spcPct val="0"/>
        </a:spcAft>
        <a:defRPr sz="4000">
          <a:solidFill>
            <a:schemeClr val="tx1"/>
          </a:solidFill>
          <a:latin typeface="Source Sans Pro" pitchFamily="34" charset="0"/>
        </a:defRPr>
      </a:lvl4pPr>
      <a:lvl5pPr algn="ctr" defTabSz="815806" rtl="0" eaLnBrk="1" fontAlgn="base" hangingPunct="1">
        <a:spcBef>
          <a:spcPct val="0"/>
        </a:spcBef>
        <a:spcAft>
          <a:spcPct val="0"/>
        </a:spcAft>
        <a:defRPr sz="4000">
          <a:solidFill>
            <a:schemeClr val="tx1"/>
          </a:solidFill>
          <a:latin typeface="Source Sans Pro" pitchFamily="34" charset="0"/>
        </a:defRPr>
      </a:lvl5pPr>
      <a:lvl6pPr marL="535198" algn="ctr" defTabSz="815806" rtl="0" eaLnBrk="1" fontAlgn="base" hangingPunct="1">
        <a:spcBef>
          <a:spcPct val="0"/>
        </a:spcBef>
        <a:spcAft>
          <a:spcPct val="0"/>
        </a:spcAft>
        <a:defRPr sz="4000">
          <a:solidFill>
            <a:schemeClr val="tx1"/>
          </a:solidFill>
          <a:latin typeface="Calibri" pitchFamily="34" charset="0"/>
        </a:defRPr>
      </a:lvl6pPr>
      <a:lvl7pPr marL="1070397" algn="ctr" defTabSz="815806" rtl="0" eaLnBrk="1" fontAlgn="base" hangingPunct="1">
        <a:spcBef>
          <a:spcPct val="0"/>
        </a:spcBef>
        <a:spcAft>
          <a:spcPct val="0"/>
        </a:spcAft>
        <a:defRPr sz="4000">
          <a:solidFill>
            <a:schemeClr val="tx1"/>
          </a:solidFill>
          <a:latin typeface="Calibri" pitchFamily="34" charset="0"/>
        </a:defRPr>
      </a:lvl7pPr>
      <a:lvl8pPr marL="1605595" algn="ctr" defTabSz="815806" rtl="0" eaLnBrk="1" fontAlgn="base" hangingPunct="1">
        <a:spcBef>
          <a:spcPct val="0"/>
        </a:spcBef>
        <a:spcAft>
          <a:spcPct val="0"/>
        </a:spcAft>
        <a:defRPr sz="4000">
          <a:solidFill>
            <a:schemeClr val="tx1"/>
          </a:solidFill>
          <a:latin typeface="Calibri" pitchFamily="34" charset="0"/>
        </a:defRPr>
      </a:lvl8pPr>
      <a:lvl9pPr marL="2140793" algn="ctr" defTabSz="815806" rtl="0" eaLnBrk="1" fontAlgn="base" hangingPunct="1">
        <a:spcBef>
          <a:spcPct val="0"/>
        </a:spcBef>
        <a:spcAft>
          <a:spcPct val="0"/>
        </a:spcAft>
        <a:defRPr sz="4000">
          <a:solidFill>
            <a:schemeClr val="tx1"/>
          </a:solidFill>
          <a:latin typeface="Calibri" pitchFamily="34" charset="0"/>
        </a:defRPr>
      </a:lvl9pPr>
    </p:titleStyle>
    <p:bodyStyle>
      <a:lvl1pPr marL="304766" indent="-304766" algn="l" defTabSz="815806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61565" indent="-254591" algn="l" defTabSz="815806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500" kern="1200">
          <a:solidFill>
            <a:schemeClr val="tx1"/>
          </a:solidFill>
          <a:latin typeface="+mn-lt"/>
          <a:ea typeface="+mn-ea"/>
          <a:cs typeface="+mn-cs"/>
        </a:defRPr>
      </a:lvl2pPr>
      <a:lvl3pPr marL="1020222" indent="-202558" algn="l" defTabSz="815806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3pPr>
      <a:lvl4pPr marL="1427196" indent="-202558" algn="l" defTabSz="815806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36028" indent="-202558" algn="l" defTabSz="815806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44782" indent="-204071" algn="l" defTabSz="81628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652925" indent="-204071" algn="l" defTabSz="81628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061066" indent="-204071" algn="l" defTabSz="81628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469209" indent="-204071" algn="l" defTabSz="81628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81628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08143" algn="l" defTabSz="81628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816284" algn="l" defTabSz="81628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224427" algn="l" defTabSz="81628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632569" algn="l" defTabSz="81628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040712" algn="l" defTabSz="81628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448853" algn="l" defTabSz="81628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856996" algn="l" defTabSz="81628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265138" algn="l" defTabSz="81628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numéro de diapositive 4"/>
          <p:cNvSpPr>
            <a:spLocks noGrp="1"/>
          </p:cNvSpPr>
          <p:nvPr>
            <p:ph type="sldNum" sz="quarter" idx="4"/>
          </p:nvPr>
        </p:nvSpPr>
        <p:spPr>
          <a:xfrm>
            <a:off x="273150" y="4805185"/>
            <a:ext cx="252710" cy="169157"/>
          </a:xfrm>
          <a:prstGeom prst="rect">
            <a:avLst/>
          </a:prstGeom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defRPr sz="900">
                <a:latin typeface="Source Sans Pro" pitchFamily="34" charset="0"/>
              </a:defRPr>
            </a:lvl1pPr>
          </a:lstStyle>
          <a:p>
            <a:fld id="{AB4D0077-BF62-4615-B421-B126B085B149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2"/>
          </p:nvPr>
        </p:nvSpPr>
        <p:spPr>
          <a:xfrm>
            <a:off x="457107" y="4755701"/>
            <a:ext cx="2133166" cy="273254"/>
          </a:xfrm>
          <a:prstGeom prst="rect">
            <a:avLst/>
          </a:prstGeom>
        </p:spPr>
        <p:txBody>
          <a:bodyPr vert="horz" lIns="107040" tIns="53520" rIns="107040" bIns="53520" rtlCol="0" anchor="ctr"/>
          <a:lstStyle>
            <a:lvl1pPr algn="l">
              <a:defRPr sz="900">
                <a:solidFill>
                  <a:schemeClr val="tx1"/>
                </a:solidFill>
                <a:latin typeface="+mn-lt"/>
              </a:defRPr>
            </a:lvl1pPr>
          </a:lstStyle>
          <a:p>
            <a:fld id="{48F6024C-883D-4D7C-B8CF-4D2E60550330}" type="datetime1">
              <a:rPr lang="fr-FR" smtClean="0"/>
              <a:t>13/03/2023</a:t>
            </a:fld>
            <a:endParaRPr lang="fr-FR"/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3"/>
          </p:nvPr>
        </p:nvSpPr>
        <p:spPr>
          <a:xfrm>
            <a:off x="3123566" y="4755701"/>
            <a:ext cx="2896869" cy="273254"/>
          </a:xfrm>
          <a:prstGeom prst="rect">
            <a:avLst/>
          </a:prstGeom>
        </p:spPr>
        <p:txBody>
          <a:bodyPr vert="horz" lIns="107040" tIns="53520" rIns="107040" bIns="53520" rtlCol="0" anchor="ctr"/>
          <a:lstStyle>
            <a:lvl1pPr algn="ctr">
              <a:defRPr sz="900">
                <a:solidFill>
                  <a:srgbClr val="FF0000"/>
                </a:solidFill>
                <a:latin typeface="+mn-lt"/>
              </a:defRPr>
            </a:lvl1pPr>
          </a:lstStyle>
          <a:p>
            <a:r>
              <a:rPr lang="fr-FR"/>
              <a:t>CONFIDENTIALITY LEVEL</a:t>
            </a:r>
          </a:p>
        </p:txBody>
      </p:sp>
      <p:sp>
        <p:nvSpPr>
          <p:cNvPr id="4" name="MSIPCMContentMarking" descr="{&quot;HashCode&quot;:-510168642,&quot;Placement&quot;:&quot;Footer&quot;}">
            <a:extLst>
              <a:ext uri="{FF2B5EF4-FFF2-40B4-BE49-F238E27FC236}">
                <a16:creationId xmlns:a16="http://schemas.microsoft.com/office/drawing/2014/main" id="{479E1BFA-8182-4B4A-AFB9-27675E371F54}"/>
              </a:ext>
            </a:extLst>
          </p:cNvPr>
          <p:cNvSpPr txBox="1"/>
          <p:nvPr userDrawn="1"/>
        </p:nvSpPr>
        <p:spPr bwMode="auto">
          <a:xfrm>
            <a:off x="0" y="4726126"/>
            <a:ext cx="1719930" cy="4173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rtlCol="0" anchor="ctr" anchorCtr="1">
            <a:spAutoFit/>
          </a:bodyPr>
          <a:lstStyle/>
          <a:p>
            <a:pPr algn="l" eaLnBrk="1" hangingPunct="1">
              <a:spcBef>
                <a:spcPct val="0"/>
              </a:spcBef>
              <a:spcAft>
                <a:spcPct val="0"/>
              </a:spcAft>
            </a:pPr>
            <a:r>
              <a:rPr lang="fr-FR" sz="1000">
                <a:solidFill>
                  <a:srgbClr val="000000"/>
                </a:solidFill>
                <a:latin typeface="Calibri" panose="020F0502020204030204" pitchFamily="34" charset="0"/>
              </a:rPr>
              <a:t>
 Classification : Confidentiel </a:t>
            </a:r>
            <a:endParaRPr lang="fr-FR" sz="1000" err="1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85" r:id="rId1"/>
    <p:sldLayoutId id="2147483886" r:id="rId2"/>
    <p:sldLayoutId id="2147483892" r:id="rId3"/>
    <p:sldLayoutId id="2147483887" r:id="rId4"/>
    <p:sldLayoutId id="2147483888" r:id="rId5"/>
    <p:sldLayoutId id="2147483893" r:id="rId6"/>
    <p:sldLayoutId id="2147483891" r:id="rId7"/>
    <p:sldLayoutId id="2147483967" r:id="rId8"/>
    <p:sldLayoutId id="2147483968" r:id="rId9"/>
    <p:sldLayoutId id="2147483969" r:id="rId10"/>
    <p:sldLayoutId id="2147483970" r:id="rId11"/>
    <p:sldLayoutId id="2147483971" r:id="rId12"/>
    <p:sldLayoutId id="2147483972" r:id="rId13"/>
    <p:sldLayoutId id="2147483930" r:id="rId14"/>
    <p:sldLayoutId id="2147483890" r:id="rId15"/>
    <p:sldLayoutId id="2147483958" r:id="rId16"/>
    <p:sldLayoutId id="2147483959" r:id="rId17"/>
    <p:sldLayoutId id="2147483960" r:id="rId18"/>
    <p:sldLayoutId id="2147483961" r:id="rId19"/>
    <p:sldLayoutId id="2147483963" r:id="rId20"/>
    <p:sldLayoutId id="2147483964" r:id="rId21"/>
    <p:sldLayoutId id="2147483889" r:id="rId22"/>
    <p:sldLayoutId id="2147483915" r:id="rId23"/>
    <p:sldLayoutId id="2147483916" r:id="rId24"/>
    <p:sldLayoutId id="2147483917" r:id="rId25"/>
    <p:sldLayoutId id="2147483918" r:id="rId26"/>
    <p:sldLayoutId id="2147483919" r:id="rId27"/>
    <p:sldLayoutId id="2147483920" r:id="rId28"/>
    <p:sldLayoutId id="2147483900" r:id="rId29"/>
    <p:sldLayoutId id="2147483901" r:id="rId30"/>
    <p:sldLayoutId id="2147483902" r:id="rId31"/>
    <p:sldLayoutId id="2147483903" r:id="rId32"/>
    <p:sldLayoutId id="2147483987" r:id="rId33"/>
    <p:sldLayoutId id="2147483988" r:id="rId34"/>
  </p:sldLayoutIdLst>
  <p:hf hdr="0" ftr="0"/>
  <p:txStyles>
    <p:titleStyle>
      <a:lvl1pPr algn="ctr" defTabSz="815806" rtl="0" eaLnBrk="1" fontAlgn="base" hangingPunct="1">
        <a:spcBef>
          <a:spcPct val="0"/>
        </a:spcBef>
        <a:spcAft>
          <a:spcPct val="0"/>
        </a:spcAft>
        <a:defRPr sz="40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defTabSz="815806" rtl="0" eaLnBrk="1" fontAlgn="base" hangingPunct="1">
        <a:spcBef>
          <a:spcPct val="0"/>
        </a:spcBef>
        <a:spcAft>
          <a:spcPct val="0"/>
        </a:spcAft>
        <a:defRPr sz="4000">
          <a:solidFill>
            <a:schemeClr val="tx1"/>
          </a:solidFill>
          <a:latin typeface="Source Sans Pro" pitchFamily="34" charset="0"/>
        </a:defRPr>
      </a:lvl2pPr>
      <a:lvl3pPr algn="ctr" defTabSz="815806" rtl="0" eaLnBrk="1" fontAlgn="base" hangingPunct="1">
        <a:spcBef>
          <a:spcPct val="0"/>
        </a:spcBef>
        <a:spcAft>
          <a:spcPct val="0"/>
        </a:spcAft>
        <a:defRPr sz="4000">
          <a:solidFill>
            <a:schemeClr val="tx1"/>
          </a:solidFill>
          <a:latin typeface="Source Sans Pro" pitchFamily="34" charset="0"/>
        </a:defRPr>
      </a:lvl3pPr>
      <a:lvl4pPr algn="ctr" defTabSz="815806" rtl="0" eaLnBrk="1" fontAlgn="base" hangingPunct="1">
        <a:spcBef>
          <a:spcPct val="0"/>
        </a:spcBef>
        <a:spcAft>
          <a:spcPct val="0"/>
        </a:spcAft>
        <a:defRPr sz="4000">
          <a:solidFill>
            <a:schemeClr val="tx1"/>
          </a:solidFill>
          <a:latin typeface="Source Sans Pro" pitchFamily="34" charset="0"/>
        </a:defRPr>
      </a:lvl4pPr>
      <a:lvl5pPr algn="ctr" defTabSz="815806" rtl="0" eaLnBrk="1" fontAlgn="base" hangingPunct="1">
        <a:spcBef>
          <a:spcPct val="0"/>
        </a:spcBef>
        <a:spcAft>
          <a:spcPct val="0"/>
        </a:spcAft>
        <a:defRPr sz="4000">
          <a:solidFill>
            <a:schemeClr val="tx1"/>
          </a:solidFill>
          <a:latin typeface="Source Sans Pro" pitchFamily="34" charset="0"/>
        </a:defRPr>
      </a:lvl5pPr>
      <a:lvl6pPr marL="535198" algn="ctr" defTabSz="815806" rtl="0" eaLnBrk="1" fontAlgn="base" hangingPunct="1">
        <a:spcBef>
          <a:spcPct val="0"/>
        </a:spcBef>
        <a:spcAft>
          <a:spcPct val="0"/>
        </a:spcAft>
        <a:defRPr sz="4000">
          <a:solidFill>
            <a:schemeClr val="tx1"/>
          </a:solidFill>
          <a:latin typeface="Calibri" pitchFamily="34" charset="0"/>
        </a:defRPr>
      </a:lvl6pPr>
      <a:lvl7pPr marL="1070397" algn="ctr" defTabSz="815806" rtl="0" eaLnBrk="1" fontAlgn="base" hangingPunct="1">
        <a:spcBef>
          <a:spcPct val="0"/>
        </a:spcBef>
        <a:spcAft>
          <a:spcPct val="0"/>
        </a:spcAft>
        <a:defRPr sz="4000">
          <a:solidFill>
            <a:schemeClr val="tx1"/>
          </a:solidFill>
          <a:latin typeface="Calibri" pitchFamily="34" charset="0"/>
        </a:defRPr>
      </a:lvl7pPr>
      <a:lvl8pPr marL="1605595" algn="ctr" defTabSz="815806" rtl="0" eaLnBrk="1" fontAlgn="base" hangingPunct="1">
        <a:spcBef>
          <a:spcPct val="0"/>
        </a:spcBef>
        <a:spcAft>
          <a:spcPct val="0"/>
        </a:spcAft>
        <a:defRPr sz="4000">
          <a:solidFill>
            <a:schemeClr val="tx1"/>
          </a:solidFill>
          <a:latin typeface="Calibri" pitchFamily="34" charset="0"/>
        </a:defRPr>
      </a:lvl8pPr>
      <a:lvl9pPr marL="2140793" algn="ctr" defTabSz="815806" rtl="0" eaLnBrk="1" fontAlgn="base" hangingPunct="1">
        <a:spcBef>
          <a:spcPct val="0"/>
        </a:spcBef>
        <a:spcAft>
          <a:spcPct val="0"/>
        </a:spcAft>
        <a:defRPr sz="4000">
          <a:solidFill>
            <a:schemeClr val="tx1"/>
          </a:solidFill>
          <a:latin typeface="Calibri" pitchFamily="34" charset="0"/>
        </a:defRPr>
      </a:lvl9pPr>
    </p:titleStyle>
    <p:bodyStyle>
      <a:lvl1pPr marL="304766" indent="-304766" algn="l" defTabSz="815806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61565" indent="-254591" algn="l" defTabSz="815806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500" kern="1200">
          <a:solidFill>
            <a:schemeClr val="tx1"/>
          </a:solidFill>
          <a:latin typeface="+mn-lt"/>
          <a:ea typeface="+mn-ea"/>
          <a:cs typeface="+mn-cs"/>
        </a:defRPr>
      </a:lvl2pPr>
      <a:lvl3pPr marL="1020222" indent="-202558" algn="l" defTabSz="815806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3pPr>
      <a:lvl4pPr marL="1427196" indent="-202558" algn="l" defTabSz="815806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36028" indent="-202558" algn="l" defTabSz="815806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44782" indent="-204071" algn="l" defTabSz="81628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652925" indent="-204071" algn="l" defTabSz="81628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061066" indent="-204071" algn="l" defTabSz="81628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469209" indent="-204071" algn="l" defTabSz="81628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81628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08143" algn="l" defTabSz="81628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816284" algn="l" defTabSz="81628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224427" algn="l" defTabSz="81628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632569" algn="l" defTabSz="81628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040712" algn="l" defTabSz="81628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448853" algn="l" defTabSz="81628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856996" algn="l" defTabSz="81628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265138" algn="l" defTabSz="81628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273844"/>
            <a:ext cx="7886700" cy="99417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369219"/>
            <a:ext cx="7886700" cy="326350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F56DC7C-5489-49C3-8D65-C75F8FA96D8C}" type="datetimeFigureOut">
              <a:rPr lang="fr-FR" smtClean="0"/>
              <a:t>20/03/2023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B0658AC-9DEF-47CE-97BE-9C0C5B899155}" type="slidenum">
              <a:rPr lang="fr-FR" smtClean="0"/>
              <a:t>‹#›</a:t>
            </a:fld>
            <a:endParaRPr lang="fr-FR"/>
          </a:p>
        </p:txBody>
      </p:sp>
      <p:sp>
        <p:nvSpPr>
          <p:cNvPr id="7" name="MSIPCMContentMarking" descr="{&quot;HashCode&quot;:-510168642,&quot;Placement&quot;:&quot;Footer&quot;}">
            <a:extLst>
              <a:ext uri="{FF2B5EF4-FFF2-40B4-BE49-F238E27FC236}">
                <a16:creationId xmlns:a16="http://schemas.microsoft.com/office/drawing/2014/main" id="{21762C68-FE09-4143-8CE7-282688EAABD8}"/>
              </a:ext>
            </a:extLst>
          </p:cNvPr>
          <p:cNvSpPr txBox="1"/>
          <p:nvPr userDrawn="1"/>
        </p:nvSpPr>
        <p:spPr>
          <a:xfrm>
            <a:off x="0" y="4726126"/>
            <a:ext cx="1719930" cy="41737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lang="fr-FR" sz="1000">
                <a:solidFill>
                  <a:srgbClr val="000000"/>
                </a:solidFill>
                <a:latin typeface="Calibri" panose="020F0502020204030204" pitchFamily="34" charset="0"/>
              </a:rPr>
              <a:t>
 Classification : Confidentiel </a:t>
            </a:r>
          </a:p>
        </p:txBody>
      </p:sp>
    </p:spTree>
    <p:extLst>
      <p:ext uri="{BB962C8B-B14F-4D97-AF65-F5344CB8AC3E}">
        <p14:creationId xmlns:p14="http://schemas.microsoft.com/office/powerpoint/2010/main" val="3220574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4" r:id="rId1"/>
    <p:sldLayoutId id="2147483975" r:id="rId2"/>
    <p:sldLayoutId id="2147483976" r:id="rId3"/>
    <p:sldLayoutId id="2147483977" r:id="rId4"/>
    <p:sldLayoutId id="2147483978" r:id="rId5"/>
    <p:sldLayoutId id="2147483979" r:id="rId6"/>
    <p:sldLayoutId id="2147483980" r:id="rId7"/>
    <p:sldLayoutId id="2147483981" r:id="rId8"/>
    <p:sldLayoutId id="2147483982" r:id="rId9"/>
    <p:sldLayoutId id="2147483983" r:id="rId10"/>
    <p:sldLayoutId id="2147483984" r:id="rId11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>
            <a:extLst>
              <a:ext uri="{FF2B5EF4-FFF2-40B4-BE49-F238E27FC236}">
                <a16:creationId xmlns:a16="http://schemas.microsoft.com/office/drawing/2014/main" id="{9732F89F-B58E-4038-98A2-C18D7C785A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273844"/>
            <a:ext cx="7886700" cy="99417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D976F7BE-FE22-4932-BCA6-7BE8C7FA523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8650" y="1369219"/>
            <a:ext cx="7886700" cy="326350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FA05B57A-6F14-41B6-83B0-E08847471D8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9B17AC69-B495-4836-BD25-7E8DB0B78F2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8047E4F9-AE6B-46C4-A54A-A18683AF0CB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448F244-30DD-438A-ADD2-DF4984FBCA8F}" type="slidenum">
              <a:rPr lang="fr-FR" smtClean="0"/>
              <a:t>‹#›</a:t>
            </a:fld>
            <a:endParaRPr lang="fr-FR"/>
          </a:p>
        </p:txBody>
      </p:sp>
      <p:pic>
        <p:nvPicPr>
          <p:cNvPr id="7" name="Image 6">
            <a:extLst>
              <a:ext uri="{FF2B5EF4-FFF2-40B4-BE49-F238E27FC236}">
                <a16:creationId xmlns:a16="http://schemas.microsoft.com/office/drawing/2014/main" id="{5FED13AA-6501-4B6D-A496-BB405223132B}"/>
              </a:ext>
            </a:extLst>
          </p:cNvPr>
          <p:cNvPicPr>
            <a:picLocks noChangeAspect="1"/>
          </p:cNvPicPr>
          <p:nvPr userDrawn="1"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37571" y="4724401"/>
            <a:ext cx="331946" cy="331946"/>
          </a:xfrm>
          <a:prstGeom prst="rect">
            <a:avLst/>
          </a:prstGeom>
        </p:spPr>
      </p:pic>
      <p:sp>
        <p:nvSpPr>
          <p:cNvPr id="8" name="MSIPCMContentMarking" descr="{&quot;HashCode&quot;:-510168642,&quot;Placement&quot;:&quot;Footer&quot;,&quot;Top&quot;:507.1359,&quot;Left&quot;:0.0,&quot;SlideWidth&quot;:960,&quot;SlideHeight&quot;:540}">
            <a:extLst>
              <a:ext uri="{FF2B5EF4-FFF2-40B4-BE49-F238E27FC236}">
                <a16:creationId xmlns:a16="http://schemas.microsoft.com/office/drawing/2014/main" id="{1848680E-D555-4989-B13A-AF357FD13033}"/>
              </a:ext>
            </a:extLst>
          </p:cNvPr>
          <p:cNvSpPr txBox="1"/>
          <p:nvPr userDrawn="1"/>
        </p:nvSpPr>
        <p:spPr>
          <a:xfrm>
            <a:off x="0" y="4871569"/>
            <a:ext cx="1289948" cy="23083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lang="fr-FR" sz="750">
                <a:solidFill>
                  <a:srgbClr val="000000"/>
                </a:solidFill>
                <a:latin typeface="Calibri" panose="020F0502020204030204" pitchFamily="34" charset="0"/>
              </a:rPr>
              <a:t>
 Classification : Confidentiel </a:t>
            </a:r>
          </a:p>
        </p:txBody>
      </p:sp>
    </p:spTree>
    <p:extLst>
      <p:ext uri="{BB962C8B-B14F-4D97-AF65-F5344CB8AC3E}">
        <p14:creationId xmlns:p14="http://schemas.microsoft.com/office/powerpoint/2010/main" val="12375411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92" r:id="rId1"/>
    <p:sldLayoutId id="2147483993" r:id="rId2"/>
    <p:sldLayoutId id="2147483994" r:id="rId3"/>
    <p:sldLayoutId id="2147483995" r:id="rId4"/>
    <p:sldLayoutId id="2147483996" r:id="rId5"/>
    <p:sldLayoutId id="2147483997" r:id="rId6"/>
    <p:sldLayoutId id="2147483998" r:id="rId7"/>
    <p:sldLayoutId id="2147483999" r:id="rId8"/>
    <p:sldLayoutId id="2147484000" r:id="rId9"/>
    <p:sldLayoutId id="2147484001" r:id="rId10"/>
    <p:sldLayoutId id="2147484002" r:id="rId11"/>
    <p:sldLayoutId id="2147484003" r:id="rId12"/>
    <p:sldLayoutId id="2147484004" r:id="rId13"/>
    <p:sldLayoutId id="2147484005" r:id="rId14"/>
    <p:sldLayoutId id="2147484006" r:id="rId15"/>
    <p:sldLayoutId id="2147484007" r:id="rId16"/>
    <p:sldLayoutId id="2147484008" r:id="rId17"/>
    <p:sldLayoutId id="2147484009" r:id="rId18"/>
    <p:sldLayoutId id="2147484010" r:id="rId19"/>
    <p:sldLayoutId id="2147484011" r:id="rId20"/>
    <p:sldLayoutId id="2147484012" r:id="rId21"/>
    <p:sldLayoutId id="2147484013" r:id="rId22"/>
    <p:sldLayoutId id="2147484014" r:id="rId23"/>
    <p:sldLayoutId id="2147484015" r:id="rId24"/>
    <p:sldLayoutId id="2147484016" r:id="rId25"/>
    <p:sldLayoutId id="2147484017" r:id="rId26"/>
    <p:sldLayoutId id="2147484018" r:id="rId27"/>
    <p:sldLayoutId id="2147484019" r:id="rId28"/>
  </p:sldLayoutIdLst>
  <p:hf hd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0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>
            <a:extLst>
              <a:ext uri="{FF2B5EF4-FFF2-40B4-BE49-F238E27FC236}">
                <a16:creationId xmlns:a16="http://schemas.microsoft.com/office/drawing/2014/main" id="{9732F89F-B58E-4038-98A2-C18D7C785A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273844"/>
            <a:ext cx="7886700" cy="99417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D976F7BE-FE22-4932-BCA6-7BE8C7FA523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8650" y="1369219"/>
            <a:ext cx="7886700" cy="326350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FA05B57A-6F14-41B6-83B0-E08847471D8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9B17AC69-B495-4836-BD25-7E8DB0B78F2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8047E4F9-AE6B-46C4-A54A-A18683AF0CB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448F244-30DD-438A-ADD2-DF4984FBCA8F}" type="slidenum">
              <a:rPr lang="fr-FR" smtClean="0"/>
              <a:t>‹#›</a:t>
            </a:fld>
            <a:endParaRPr lang="fr-FR"/>
          </a:p>
        </p:txBody>
      </p:sp>
      <p:pic>
        <p:nvPicPr>
          <p:cNvPr id="7" name="Image 6">
            <a:extLst>
              <a:ext uri="{FF2B5EF4-FFF2-40B4-BE49-F238E27FC236}">
                <a16:creationId xmlns:a16="http://schemas.microsoft.com/office/drawing/2014/main" id="{5FED13AA-6501-4B6D-A496-BB405223132B}"/>
              </a:ext>
            </a:extLst>
          </p:cNvPr>
          <p:cNvPicPr>
            <a:picLocks noChangeAspect="1"/>
          </p:cNvPicPr>
          <p:nvPr userDrawn="1"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37571" y="4724401"/>
            <a:ext cx="331946" cy="331946"/>
          </a:xfrm>
          <a:prstGeom prst="rect">
            <a:avLst/>
          </a:prstGeom>
        </p:spPr>
      </p:pic>
      <p:sp>
        <p:nvSpPr>
          <p:cNvPr id="8" name="MSIPCMContentMarking" descr="{&quot;HashCode&quot;:-510168642,&quot;Placement&quot;:&quot;Footer&quot;,&quot;Top&quot;:507.1359,&quot;Left&quot;:0.0,&quot;SlideWidth&quot;:960,&quot;SlideHeight&quot;:540}">
            <a:extLst>
              <a:ext uri="{FF2B5EF4-FFF2-40B4-BE49-F238E27FC236}">
                <a16:creationId xmlns:a16="http://schemas.microsoft.com/office/drawing/2014/main" id="{1848680E-D555-4989-B13A-AF357FD13033}"/>
              </a:ext>
            </a:extLst>
          </p:cNvPr>
          <p:cNvSpPr txBox="1"/>
          <p:nvPr userDrawn="1"/>
        </p:nvSpPr>
        <p:spPr>
          <a:xfrm>
            <a:off x="0" y="4871569"/>
            <a:ext cx="1289948" cy="23083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lang="fr-FR" sz="750">
                <a:solidFill>
                  <a:srgbClr val="000000"/>
                </a:solidFill>
                <a:latin typeface="Calibri" panose="020F0502020204030204" pitchFamily="34" charset="0"/>
              </a:rPr>
              <a:t>
 Classification : Confidentiel </a:t>
            </a:r>
          </a:p>
        </p:txBody>
      </p:sp>
    </p:spTree>
    <p:extLst>
      <p:ext uri="{BB962C8B-B14F-4D97-AF65-F5344CB8AC3E}">
        <p14:creationId xmlns:p14="http://schemas.microsoft.com/office/powerpoint/2010/main" val="12375411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92" r:id="rId1"/>
    <p:sldLayoutId id="2147483993" r:id="rId2"/>
    <p:sldLayoutId id="2147483994" r:id="rId3"/>
    <p:sldLayoutId id="2147483995" r:id="rId4"/>
    <p:sldLayoutId id="2147483996" r:id="rId5"/>
    <p:sldLayoutId id="2147483997" r:id="rId6"/>
    <p:sldLayoutId id="2147483998" r:id="rId7"/>
    <p:sldLayoutId id="2147483999" r:id="rId8"/>
    <p:sldLayoutId id="2147484000" r:id="rId9"/>
    <p:sldLayoutId id="2147484001" r:id="rId10"/>
    <p:sldLayoutId id="2147484002" r:id="rId11"/>
    <p:sldLayoutId id="2147484003" r:id="rId12"/>
    <p:sldLayoutId id="2147484004" r:id="rId13"/>
    <p:sldLayoutId id="2147484005" r:id="rId14"/>
    <p:sldLayoutId id="2147484006" r:id="rId15"/>
    <p:sldLayoutId id="2147484007" r:id="rId16"/>
    <p:sldLayoutId id="2147484008" r:id="rId17"/>
    <p:sldLayoutId id="2147484009" r:id="rId18"/>
    <p:sldLayoutId id="2147484010" r:id="rId19"/>
    <p:sldLayoutId id="2147484011" r:id="rId20"/>
    <p:sldLayoutId id="2147484012" r:id="rId21"/>
    <p:sldLayoutId id="2147484013" r:id="rId22"/>
    <p:sldLayoutId id="2147484014" r:id="rId23"/>
    <p:sldLayoutId id="2147484015" r:id="rId24"/>
    <p:sldLayoutId id="2147484016" r:id="rId25"/>
    <p:sldLayoutId id="2147484017" r:id="rId26"/>
    <p:sldLayoutId id="2147484018" r:id="rId27"/>
    <p:sldLayoutId id="2147484019" r:id="rId28"/>
  </p:sldLayoutIdLst>
  <p:hf hd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6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3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11.xml.rels><?xml version="1.0" encoding="UTF-8" standalone="yes"?>
<Relationships xmlns="http://schemas.openxmlformats.org/package/2006/relationships"><Relationship Id="rId2" Type="http://schemas.microsoft.com/office/2018/10/relationships/comments" Target="../comments/modernComment_7FFFCE2D_7C443B10.xml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10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630.png"/><Relationship Id="rId4" Type="http://schemas.openxmlformats.org/officeDocument/2006/relationships/slide" Target="slide250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9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10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3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20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0.xml"/><Relationship Id="rId2" Type="http://schemas.openxmlformats.org/officeDocument/2006/relationships/diagramData" Target="../diagrams/data30.xml"/><Relationship Id="rId1" Type="http://schemas.openxmlformats.org/officeDocument/2006/relationships/slideLayout" Target="../slideLayouts/slideLayout310.xml"/><Relationship Id="rId6" Type="http://schemas.microsoft.com/office/2007/relationships/diagramDrawing" Target="../diagrams/drawing30.xml"/><Relationship Id="rId5" Type="http://schemas.openxmlformats.org/officeDocument/2006/relationships/diagramColors" Target="../diagrams/colors30.xml"/><Relationship Id="rId4" Type="http://schemas.openxmlformats.org/officeDocument/2006/relationships/diagramQuickStyle" Target="../diagrams/quickStyle30.xml"/></Relationships>
</file>

<file path=ppt/slides/_rels/slide21.xml.rels><?xml version="1.0" encoding="UTF-8" standalone="yes"?>
<Relationships xmlns="http://schemas.openxmlformats.org/package/2006/relationships"><Relationship Id="rId2" Type="http://schemas.microsoft.com/office/2018/10/relationships/comments" Target="../comments/modernComment_7FFFCE1E_A8CADD34.xml"/><Relationship Id="rId1" Type="http://schemas.openxmlformats.org/officeDocument/2006/relationships/slideLayout" Target="../slideLayouts/slideLayout3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7.png"/><Relationship Id="rId3" Type="http://schemas.openxmlformats.org/officeDocument/2006/relationships/image" Target="../media/image64.png"/><Relationship Id="rId7" Type="http://schemas.openxmlformats.org/officeDocument/2006/relationships/image" Target="../media/image660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Relationship Id="rId6" Type="http://schemas.openxmlformats.org/officeDocument/2006/relationships/slide" Target="slide260.xml"/><Relationship Id="rId5" Type="http://schemas.openxmlformats.org/officeDocument/2006/relationships/image" Target="../media/image66.png"/><Relationship Id="rId10" Type="http://schemas.openxmlformats.org/officeDocument/2006/relationships/image" Target="../media/image670.png"/><Relationship Id="rId4" Type="http://schemas.openxmlformats.org/officeDocument/2006/relationships/image" Target="../media/image65.png"/><Relationship Id="rId9" Type="http://schemas.openxmlformats.org/officeDocument/2006/relationships/slide" Target="slide270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slide" Target="slide280.xml"/><Relationship Id="rId2" Type="http://schemas.openxmlformats.org/officeDocument/2006/relationships/image" Target="../media/image68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680.png"/></Relationships>
</file>

<file path=ppt/slides/_rels/slide25.xml.rels><?xml version="1.0" encoding="UTF-8" standalone="yes"?>
<Relationships xmlns="http://schemas.openxmlformats.org/package/2006/relationships"><Relationship Id="rId8" Type="http://schemas.microsoft.com/office/2007/relationships/hdphoto" Target="../media/hdphoto8.wdp"/><Relationship Id="rId3" Type="http://schemas.openxmlformats.org/officeDocument/2006/relationships/image" Target="../media/image69.jpeg"/><Relationship Id="rId7" Type="http://schemas.openxmlformats.org/officeDocument/2006/relationships/image" Target="../media/image72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Relationship Id="rId6" Type="http://schemas.microsoft.com/office/2007/relationships/hdphoto" Target="../media/hdphoto7.wdp"/><Relationship Id="rId5" Type="http://schemas.openxmlformats.org/officeDocument/2006/relationships/image" Target="../media/image71.png"/><Relationship Id="rId4" Type="http://schemas.openxmlformats.org/officeDocument/2006/relationships/image" Target="../media/image70.png"/></Relationships>
</file>

<file path=ppt/slides/_rels/slide250.xml.rels><?xml version="1.0" encoding="UTF-8" standalone="yes"?>
<Relationships xmlns="http://schemas.openxmlformats.org/package/2006/relationships"><Relationship Id="rId8" Type="http://schemas.microsoft.com/office/2007/relationships/hdphoto" Target="../media/hdphoto8.wdp"/><Relationship Id="rId3" Type="http://schemas.openxmlformats.org/officeDocument/2006/relationships/image" Target="../media/image69.jpeg"/><Relationship Id="rId7" Type="http://schemas.openxmlformats.org/officeDocument/2006/relationships/image" Target="../media/image72.png"/><Relationship Id="rId2" Type="http://schemas.openxmlformats.org/officeDocument/2006/relationships/notesSlide" Target="../notesSlides/notesSlide60.xml"/><Relationship Id="rId1" Type="http://schemas.openxmlformats.org/officeDocument/2006/relationships/slideLayout" Target="../slideLayouts/slideLayout310.xml"/><Relationship Id="rId6" Type="http://schemas.microsoft.com/office/2007/relationships/hdphoto" Target="../media/hdphoto7.wdp"/><Relationship Id="rId5" Type="http://schemas.openxmlformats.org/officeDocument/2006/relationships/image" Target="../media/image71.png"/><Relationship Id="rId4" Type="http://schemas.openxmlformats.org/officeDocument/2006/relationships/image" Target="../media/image70.png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74.png"/><Relationship Id="rId3" Type="http://schemas.openxmlformats.org/officeDocument/2006/relationships/diagramLayout" Target="../diagrams/layout4.xml"/><Relationship Id="rId7" Type="http://schemas.openxmlformats.org/officeDocument/2006/relationships/image" Target="../media/image73.png"/><Relationship Id="rId2" Type="http://schemas.openxmlformats.org/officeDocument/2006/relationships/diagramData" Target="../diagrams/data4.xml"/><Relationship Id="rId1" Type="http://schemas.openxmlformats.org/officeDocument/2006/relationships/slideLayout" Target="../slideLayouts/slideLayout33.xml"/><Relationship Id="rId6" Type="http://schemas.microsoft.com/office/2007/relationships/diagramDrawing" Target="../diagrams/drawing4.xml"/><Relationship Id="rId5" Type="http://schemas.openxmlformats.org/officeDocument/2006/relationships/diagramColors" Target="../diagrams/colors4.xml"/><Relationship Id="rId10" Type="http://schemas.openxmlformats.org/officeDocument/2006/relationships/image" Target="../media/image76.png"/><Relationship Id="rId4" Type="http://schemas.openxmlformats.org/officeDocument/2006/relationships/diagramQuickStyle" Target="../diagrams/quickStyle4.xml"/><Relationship Id="rId9" Type="http://schemas.openxmlformats.org/officeDocument/2006/relationships/image" Target="../media/image75.png"/></Relationships>
</file>

<file path=ppt/slides/_rels/slide260.xml.rels><?xml version="1.0" encoding="UTF-8" standalone="yes"?>
<Relationships xmlns="http://schemas.openxmlformats.org/package/2006/relationships"><Relationship Id="rId8" Type="http://schemas.openxmlformats.org/officeDocument/2006/relationships/image" Target="../media/image74.png"/><Relationship Id="rId3" Type="http://schemas.openxmlformats.org/officeDocument/2006/relationships/diagramLayout" Target="../diagrams/layout40.xml"/><Relationship Id="rId7" Type="http://schemas.openxmlformats.org/officeDocument/2006/relationships/image" Target="../media/image73.png"/><Relationship Id="rId2" Type="http://schemas.openxmlformats.org/officeDocument/2006/relationships/diagramData" Target="../diagrams/data40.xml"/><Relationship Id="rId1" Type="http://schemas.openxmlformats.org/officeDocument/2006/relationships/slideLayout" Target="../slideLayouts/slideLayout330.xml"/><Relationship Id="rId6" Type="http://schemas.microsoft.com/office/2007/relationships/diagramDrawing" Target="../diagrams/drawing40.xml"/><Relationship Id="rId5" Type="http://schemas.openxmlformats.org/officeDocument/2006/relationships/diagramColors" Target="../diagrams/colors40.xml"/><Relationship Id="rId10" Type="http://schemas.openxmlformats.org/officeDocument/2006/relationships/image" Target="../media/image76.png"/><Relationship Id="rId4" Type="http://schemas.openxmlformats.org/officeDocument/2006/relationships/diagramQuickStyle" Target="../diagrams/quickStyle40.xml"/><Relationship Id="rId9" Type="http://schemas.openxmlformats.org/officeDocument/2006/relationships/image" Target="../media/image75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5.xml"/><Relationship Id="rId7" Type="http://schemas.openxmlformats.org/officeDocument/2006/relationships/image" Target="../media/image77.emf"/><Relationship Id="rId2" Type="http://schemas.openxmlformats.org/officeDocument/2006/relationships/diagramData" Target="../diagrams/data5.xml"/><Relationship Id="rId1" Type="http://schemas.openxmlformats.org/officeDocument/2006/relationships/slideLayout" Target="../slideLayouts/slideLayout33.xml"/><Relationship Id="rId6" Type="http://schemas.microsoft.com/office/2007/relationships/diagramDrawing" Target="../diagrams/drawing5.xml"/><Relationship Id="rId5" Type="http://schemas.openxmlformats.org/officeDocument/2006/relationships/diagramColors" Target="../diagrams/colors5.xml"/><Relationship Id="rId4" Type="http://schemas.openxmlformats.org/officeDocument/2006/relationships/diagramQuickStyle" Target="../diagrams/quickStyle5.xml"/></Relationships>
</file>

<file path=ppt/slides/_rels/slide27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50.xml"/><Relationship Id="rId7" Type="http://schemas.openxmlformats.org/officeDocument/2006/relationships/image" Target="../media/image77.emf"/><Relationship Id="rId2" Type="http://schemas.openxmlformats.org/officeDocument/2006/relationships/diagramData" Target="../diagrams/data50.xml"/><Relationship Id="rId1" Type="http://schemas.openxmlformats.org/officeDocument/2006/relationships/slideLayout" Target="../slideLayouts/slideLayout330.xml"/><Relationship Id="rId6" Type="http://schemas.microsoft.com/office/2007/relationships/diagramDrawing" Target="../diagrams/drawing50.xml"/><Relationship Id="rId5" Type="http://schemas.openxmlformats.org/officeDocument/2006/relationships/diagramColors" Target="../diagrams/colors50.xml"/><Relationship Id="rId4" Type="http://schemas.openxmlformats.org/officeDocument/2006/relationships/diagramQuickStyle" Target="../diagrams/quickStyle50.xml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6.jpeg"/><Relationship Id="rId13" Type="http://schemas.openxmlformats.org/officeDocument/2006/relationships/image" Target="../media/image49.png"/><Relationship Id="rId3" Type="http://schemas.openxmlformats.org/officeDocument/2006/relationships/image" Target="../media/image31.jpeg"/><Relationship Id="rId7" Type="http://schemas.microsoft.com/office/2007/relationships/hdphoto" Target="../media/hdphoto6.wdp"/><Relationship Id="rId12" Type="http://schemas.openxmlformats.org/officeDocument/2006/relationships/image" Target="../media/image28.jpeg"/><Relationship Id="rId2" Type="http://schemas.openxmlformats.org/officeDocument/2006/relationships/image" Target="../media/image30.png"/><Relationship Id="rId16" Type="http://schemas.openxmlformats.org/officeDocument/2006/relationships/image" Target="../media/image52.svg"/><Relationship Id="rId1" Type="http://schemas.openxmlformats.org/officeDocument/2006/relationships/slideLayout" Target="../slideLayouts/slideLayout33.xml"/><Relationship Id="rId6" Type="http://schemas.openxmlformats.org/officeDocument/2006/relationships/image" Target="../media/image45.png"/><Relationship Id="rId11" Type="http://schemas.openxmlformats.org/officeDocument/2006/relationships/image" Target="../media/image29.png"/><Relationship Id="rId5" Type="http://schemas.openxmlformats.org/officeDocument/2006/relationships/image" Target="../media/image44.png"/><Relationship Id="rId15" Type="http://schemas.openxmlformats.org/officeDocument/2006/relationships/image" Target="../media/image51.png"/><Relationship Id="rId10" Type="http://schemas.openxmlformats.org/officeDocument/2006/relationships/image" Target="../media/image48.jpeg"/><Relationship Id="rId4" Type="http://schemas.openxmlformats.org/officeDocument/2006/relationships/image" Target="../media/image43.png"/><Relationship Id="rId9" Type="http://schemas.openxmlformats.org/officeDocument/2006/relationships/image" Target="../media/image47.png"/><Relationship Id="rId14" Type="http://schemas.openxmlformats.org/officeDocument/2006/relationships/image" Target="../media/image50.svg"/></Relationships>
</file>

<file path=ppt/slides/_rels/slide28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6.jpeg"/><Relationship Id="rId13" Type="http://schemas.openxmlformats.org/officeDocument/2006/relationships/image" Target="../media/image490.png"/><Relationship Id="rId3" Type="http://schemas.openxmlformats.org/officeDocument/2006/relationships/image" Target="../media/image31.jpeg"/><Relationship Id="rId7" Type="http://schemas.microsoft.com/office/2007/relationships/hdphoto" Target="../media/hdphoto6.wdp"/><Relationship Id="rId12" Type="http://schemas.openxmlformats.org/officeDocument/2006/relationships/image" Target="../media/image28.jpeg"/><Relationship Id="rId2" Type="http://schemas.openxmlformats.org/officeDocument/2006/relationships/image" Target="../media/image30.png"/><Relationship Id="rId16" Type="http://schemas.openxmlformats.org/officeDocument/2006/relationships/image" Target="../media/image52.svg"/><Relationship Id="rId1" Type="http://schemas.openxmlformats.org/officeDocument/2006/relationships/slideLayout" Target="../slideLayouts/slideLayout330.xml"/><Relationship Id="rId6" Type="http://schemas.openxmlformats.org/officeDocument/2006/relationships/image" Target="../media/image45.png"/><Relationship Id="rId11" Type="http://schemas.openxmlformats.org/officeDocument/2006/relationships/image" Target="../media/image29.png"/><Relationship Id="rId5" Type="http://schemas.openxmlformats.org/officeDocument/2006/relationships/image" Target="../media/image44.png"/><Relationship Id="rId15" Type="http://schemas.openxmlformats.org/officeDocument/2006/relationships/image" Target="../media/image510.png"/><Relationship Id="rId10" Type="http://schemas.openxmlformats.org/officeDocument/2006/relationships/image" Target="../media/image48.jpeg"/><Relationship Id="rId4" Type="http://schemas.openxmlformats.org/officeDocument/2006/relationships/image" Target="../media/image43.png"/><Relationship Id="rId9" Type="http://schemas.openxmlformats.org/officeDocument/2006/relationships/image" Target="../media/image47.png"/><Relationship Id="rId14" Type="http://schemas.openxmlformats.org/officeDocument/2006/relationships/image" Target="../media/image50.svg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1.xml.rels><?xml version="1.0" encoding="UTF-8" standalone="yes"?>
<Relationships xmlns="http://schemas.openxmlformats.org/package/2006/relationships"><Relationship Id="rId8" Type="http://schemas.microsoft.com/office/2007/relationships/hdphoto" Target="../media/hdphoto10.wdp"/><Relationship Id="rId3" Type="http://schemas.openxmlformats.org/officeDocument/2006/relationships/image" Target="../media/image28.jpeg"/><Relationship Id="rId7" Type="http://schemas.openxmlformats.org/officeDocument/2006/relationships/image" Target="../media/image79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2.xml"/><Relationship Id="rId6" Type="http://schemas.microsoft.com/office/2007/relationships/hdphoto" Target="../media/hdphoto9.wdp"/><Relationship Id="rId11" Type="http://schemas.openxmlformats.org/officeDocument/2006/relationships/image" Target="../media/image82.png"/><Relationship Id="rId5" Type="http://schemas.openxmlformats.org/officeDocument/2006/relationships/image" Target="../media/image78.png"/><Relationship Id="rId10" Type="http://schemas.openxmlformats.org/officeDocument/2006/relationships/image" Target="../media/image81.png"/><Relationship Id="rId4" Type="http://schemas.openxmlformats.org/officeDocument/2006/relationships/image" Target="../media/image29.png"/><Relationship Id="rId9" Type="http://schemas.openxmlformats.org/officeDocument/2006/relationships/image" Target="../media/image80.png"/></Relationships>
</file>

<file path=ppt/slides/_rels/slide310.xml.rels><?xml version="1.0" encoding="UTF-8" standalone="yes"?>
<Relationships xmlns="http://schemas.openxmlformats.org/package/2006/relationships"><Relationship Id="rId8" Type="http://schemas.microsoft.com/office/2007/relationships/hdphoto" Target="../media/hdphoto10.wdp"/><Relationship Id="rId3" Type="http://schemas.openxmlformats.org/officeDocument/2006/relationships/image" Target="../media/image28.jpeg"/><Relationship Id="rId7" Type="http://schemas.openxmlformats.org/officeDocument/2006/relationships/image" Target="../media/image79.png"/><Relationship Id="rId2" Type="http://schemas.openxmlformats.org/officeDocument/2006/relationships/notesSlide" Target="../notesSlides/notesSlide70.xml"/><Relationship Id="rId1" Type="http://schemas.openxmlformats.org/officeDocument/2006/relationships/slideLayout" Target="../slideLayouts/slideLayout720.xml"/><Relationship Id="rId6" Type="http://schemas.microsoft.com/office/2007/relationships/hdphoto" Target="../media/hdphoto9.wdp"/><Relationship Id="rId11" Type="http://schemas.openxmlformats.org/officeDocument/2006/relationships/image" Target="../media/image82.png"/><Relationship Id="rId5" Type="http://schemas.openxmlformats.org/officeDocument/2006/relationships/image" Target="../media/image78.png"/><Relationship Id="rId10" Type="http://schemas.openxmlformats.org/officeDocument/2006/relationships/image" Target="../media/image81.png"/><Relationship Id="rId4" Type="http://schemas.openxmlformats.org/officeDocument/2006/relationships/image" Target="../media/image29.png"/><Relationship Id="rId9" Type="http://schemas.openxmlformats.org/officeDocument/2006/relationships/image" Target="../media/image80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1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png"/><Relationship Id="rId13" Type="http://schemas.openxmlformats.org/officeDocument/2006/relationships/image" Target="../media/image38.png"/><Relationship Id="rId3" Type="http://schemas.openxmlformats.org/officeDocument/2006/relationships/image" Target="../media/image29.png"/><Relationship Id="rId7" Type="http://schemas.openxmlformats.org/officeDocument/2006/relationships/image" Target="../media/image33.png"/><Relationship Id="rId12" Type="http://schemas.openxmlformats.org/officeDocument/2006/relationships/image" Target="../media/image37.png"/><Relationship Id="rId2" Type="http://schemas.openxmlformats.org/officeDocument/2006/relationships/image" Target="../media/image28.jpe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32.png"/><Relationship Id="rId11" Type="http://schemas.microsoft.com/office/2007/relationships/hdphoto" Target="../media/hdphoto5.wdp"/><Relationship Id="rId5" Type="http://schemas.openxmlformats.org/officeDocument/2006/relationships/image" Target="../media/image31.jpeg"/><Relationship Id="rId15" Type="http://schemas.openxmlformats.org/officeDocument/2006/relationships/image" Target="../media/image380.png"/><Relationship Id="rId10" Type="http://schemas.openxmlformats.org/officeDocument/2006/relationships/image" Target="../media/image36.png"/><Relationship Id="rId4" Type="http://schemas.openxmlformats.org/officeDocument/2006/relationships/image" Target="../media/image30.png"/><Relationship Id="rId9" Type="http://schemas.openxmlformats.org/officeDocument/2006/relationships/image" Target="../media/image35.png"/><Relationship Id="rId14" Type="http://schemas.openxmlformats.org/officeDocument/2006/relationships/slide" Target="slide280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390.png"/><Relationship Id="rId4" Type="http://schemas.openxmlformats.org/officeDocument/2006/relationships/slide" Target="slide310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slide" Target="slide190.xml"/><Relationship Id="rId13" Type="http://schemas.openxmlformats.org/officeDocument/2006/relationships/image" Target="../media/image42.png"/><Relationship Id="rId3" Type="http://schemas.openxmlformats.org/officeDocument/2006/relationships/diagramLayout" Target="../diagrams/layout1.xml"/><Relationship Id="rId7" Type="http://schemas.openxmlformats.org/officeDocument/2006/relationships/image" Target="../media/image40.png"/><Relationship Id="rId12" Type="http://schemas.openxmlformats.org/officeDocument/2006/relationships/image" Target="../media/image410.pn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3.xml"/><Relationship Id="rId6" Type="http://schemas.microsoft.com/office/2007/relationships/diagramDrawing" Target="../diagrams/drawing1.xml"/><Relationship Id="rId11" Type="http://schemas.openxmlformats.org/officeDocument/2006/relationships/slide" Target="slide140.xml"/><Relationship Id="rId5" Type="http://schemas.openxmlformats.org/officeDocument/2006/relationships/diagramColors" Target="../diagrams/colors1.xml"/><Relationship Id="rId15" Type="http://schemas.openxmlformats.org/officeDocument/2006/relationships/image" Target="../media/image420.png"/><Relationship Id="rId10" Type="http://schemas.openxmlformats.org/officeDocument/2006/relationships/image" Target="../media/image41.png"/><Relationship Id="rId4" Type="http://schemas.openxmlformats.org/officeDocument/2006/relationships/diagramQuickStyle" Target="../diagrams/quickStyle1.xml"/><Relationship Id="rId9" Type="http://schemas.openxmlformats.org/officeDocument/2006/relationships/image" Target="../media/image400.png"/><Relationship Id="rId14" Type="http://schemas.openxmlformats.org/officeDocument/2006/relationships/slide" Target="slide200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6.jpeg"/><Relationship Id="rId13" Type="http://schemas.openxmlformats.org/officeDocument/2006/relationships/image" Target="../media/image49.png"/><Relationship Id="rId3" Type="http://schemas.openxmlformats.org/officeDocument/2006/relationships/image" Target="../media/image31.jpeg"/><Relationship Id="rId7" Type="http://schemas.microsoft.com/office/2007/relationships/hdphoto" Target="../media/hdphoto6.wdp"/><Relationship Id="rId12" Type="http://schemas.openxmlformats.org/officeDocument/2006/relationships/image" Target="../media/image28.jpeg"/><Relationship Id="rId2" Type="http://schemas.openxmlformats.org/officeDocument/2006/relationships/image" Target="../media/image30.png"/><Relationship Id="rId16" Type="http://schemas.openxmlformats.org/officeDocument/2006/relationships/image" Target="../media/image52.sv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45.png"/><Relationship Id="rId11" Type="http://schemas.openxmlformats.org/officeDocument/2006/relationships/image" Target="../media/image29.png"/><Relationship Id="rId5" Type="http://schemas.openxmlformats.org/officeDocument/2006/relationships/image" Target="../media/image44.png"/><Relationship Id="rId15" Type="http://schemas.openxmlformats.org/officeDocument/2006/relationships/image" Target="../media/image51.png"/><Relationship Id="rId10" Type="http://schemas.openxmlformats.org/officeDocument/2006/relationships/image" Target="../media/image48.jpeg"/><Relationship Id="rId4" Type="http://schemas.openxmlformats.org/officeDocument/2006/relationships/image" Target="../media/image43.png"/><Relationship Id="rId9" Type="http://schemas.openxmlformats.org/officeDocument/2006/relationships/image" Target="../media/image47.png"/><Relationship Id="rId14" Type="http://schemas.openxmlformats.org/officeDocument/2006/relationships/image" Target="../media/image50.sv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9.png"/><Relationship Id="rId3" Type="http://schemas.openxmlformats.org/officeDocument/2006/relationships/image" Target="../media/image54.png"/><Relationship Id="rId7" Type="http://schemas.openxmlformats.org/officeDocument/2006/relationships/image" Target="../media/image58.png"/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57.png"/><Relationship Id="rId11" Type="http://schemas.openxmlformats.org/officeDocument/2006/relationships/image" Target="../media/image62.png"/><Relationship Id="rId5" Type="http://schemas.openxmlformats.org/officeDocument/2006/relationships/image" Target="../media/image56.svg"/><Relationship Id="rId10" Type="http://schemas.openxmlformats.org/officeDocument/2006/relationships/image" Target="../media/image61.png"/><Relationship Id="rId4" Type="http://schemas.openxmlformats.org/officeDocument/2006/relationships/image" Target="../media/image55.png"/><Relationship Id="rId9" Type="http://schemas.openxmlformats.org/officeDocument/2006/relationships/image" Target="../media/image6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C38C4DC-8E93-075C-EE50-84D8B21E8E20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sz="1400" dirty="0"/>
              <a:t>Guilde de Test</a:t>
            </a:r>
          </a:p>
          <a:p>
            <a:pPr marL="0" indent="0">
              <a:buNone/>
            </a:pPr>
            <a:r>
              <a:rPr lang="en-US" sz="1400" dirty="0"/>
              <a:t>Version 3.0</a:t>
            </a:r>
          </a:p>
          <a:p>
            <a:pPr marL="0" indent="0">
              <a:buNone/>
            </a:pPr>
            <a:r>
              <a:rPr lang="en-US" sz="1400" dirty="0"/>
              <a:t>20 mars 2023</a:t>
            </a:r>
            <a:endParaRPr lang="fr-FR" sz="140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B8EDB6E-57FA-AE03-DAE3-5C986DE06B1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54480" y="1695452"/>
            <a:ext cx="7238999" cy="2400298"/>
          </a:xfrm>
        </p:spPr>
        <p:txBody>
          <a:bodyPr/>
          <a:lstStyle/>
          <a:p>
            <a:r>
              <a:rPr lang="fr-FR" sz="4400" dirty="0">
                <a:solidFill>
                  <a:prstClr val="white"/>
                </a:solidFill>
                <a:latin typeface="Source Sans Pro Black" pitchFamily="34" charset="0"/>
                <a:cs typeface="+mj-cs"/>
              </a:rPr>
              <a:t>Stratégie et Approches d’A</a:t>
            </a:r>
            <a:r>
              <a:rPr lang="fr-FR" sz="4000" dirty="0">
                <a:solidFill>
                  <a:prstClr val="white"/>
                </a:solidFill>
                <a:latin typeface="Source Sans Pro Black" pitchFamily="34" charset="0"/>
                <a:cs typeface="+mj-cs"/>
              </a:rPr>
              <a:t>utomatisation de test</a:t>
            </a:r>
            <a:br>
              <a:rPr lang="fr-FR" sz="4000" b="1" dirty="0">
                <a:solidFill>
                  <a:schemeClr val="bg1"/>
                </a:solidFill>
                <a:latin typeface="+mj-lt"/>
              </a:rPr>
            </a:br>
            <a:endParaRPr lang="fr-FR" sz="4800" dirty="0"/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Rectangle 40">
            <a:extLst>
              <a:ext uri="{FF2B5EF4-FFF2-40B4-BE49-F238E27FC236}">
                <a16:creationId xmlns:a16="http://schemas.microsoft.com/office/drawing/2014/main" id="{06AC8089-0D4E-4838-A696-251DA0B8BB2F}"/>
              </a:ext>
            </a:extLst>
          </p:cNvPr>
          <p:cNvSpPr/>
          <p:nvPr/>
        </p:nvSpPr>
        <p:spPr>
          <a:xfrm>
            <a:off x="0" y="3520906"/>
            <a:ext cx="273150" cy="112210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728973F2-F3AF-4155-A49C-67BF6D37CF2B}"/>
              </a:ext>
            </a:extLst>
          </p:cNvPr>
          <p:cNvSpPr/>
          <p:nvPr/>
        </p:nvSpPr>
        <p:spPr>
          <a:xfrm>
            <a:off x="0" y="3077146"/>
            <a:ext cx="273150" cy="442945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34BB7444-6A7B-4A63-805B-923BE359F94F}"/>
              </a:ext>
            </a:extLst>
          </p:cNvPr>
          <p:cNvSpPr/>
          <p:nvPr/>
        </p:nvSpPr>
        <p:spPr>
          <a:xfrm>
            <a:off x="0" y="2219541"/>
            <a:ext cx="273150" cy="86909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6F0644C-FBE3-418D-846E-E0C7A578B7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Planning &amp; Gouvernanc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142C2DB-4B85-4156-9FD4-BBAA52DE7CE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fr-FR"/>
              <a:t>Exemple de planning d’activité dans une cadenc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16732CF-FDDE-4C8C-9A04-D734BA6020D5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438FEFB8-6B6E-4DC1-A5E4-A1258711B442}" type="slidenum">
              <a:rPr lang="fr-FR" smtClean="0"/>
              <a:pPr/>
              <a:t>10</a:t>
            </a:fld>
            <a:endParaRPr lang="fr-FR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B470C6E2-F4B7-4CDC-B708-A765C968D195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33E2A876-6808-42D7-B9E9-0E9017F3C491}" type="datetime1">
              <a:rPr lang="fr-FR" smtClean="0"/>
              <a:t>20/03/2023</a:t>
            </a:fld>
            <a:endParaRPr lang="fr-FR"/>
          </a:p>
        </p:txBody>
      </p:sp>
      <p:graphicFrame>
        <p:nvGraphicFramePr>
          <p:cNvPr id="9" name="Diagram 8">
            <a:extLst>
              <a:ext uri="{FF2B5EF4-FFF2-40B4-BE49-F238E27FC236}">
                <a16:creationId xmlns:a16="http://schemas.microsoft.com/office/drawing/2014/main" id="{5A9BEC4D-F2E0-4739-8E3F-C70BC67DE21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546627086"/>
              </p:ext>
            </p:extLst>
          </p:nvPr>
        </p:nvGraphicFramePr>
        <p:xfrm>
          <a:off x="273895" y="1019091"/>
          <a:ext cx="8596106" cy="110218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11" name="TextBox 10">
            <a:extLst>
              <a:ext uri="{FF2B5EF4-FFF2-40B4-BE49-F238E27FC236}">
                <a16:creationId xmlns:a16="http://schemas.microsoft.com/office/drawing/2014/main" id="{74D18408-8A84-41CE-AB31-C492A7E834AE}"/>
              </a:ext>
            </a:extLst>
          </p:cNvPr>
          <p:cNvSpPr txBox="1"/>
          <p:nvPr/>
        </p:nvSpPr>
        <p:spPr bwMode="auto">
          <a:xfrm>
            <a:off x="567746" y="3768864"/>
            <a:ext cx="2317123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r>
              <a:rPr lang="fr-FR" sz="800">
                <a:highlight>
                  <a:srgbClr val="00FF00"/>
                </a:highlight>
              </a:rPr>
              <a:t>Identification/revue </a:t>
            </a:r>
            <a:r>
              <a:rPr lang="fr-FR" sz="800"/>
              <a:t>des parcours clés</a:t>
            </a:r>
          </a:p>
          <a:p>
            <a:r>
              <a:rPr lang="fr-FR" sz="800"/>
              <a:t>Montée en compétence sur l’automatisation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6BA8E73F-69D9-4A00-9942-E61D2C6605CE}"/>
              </a:ext>
            </a:extLst>
          </p:cNvPr>
          <p:cNvSpPr/>
          <p:nvPr/>
        </p:nvSpPr>
        <p:spPr>
          <a:xfrm>
            <a:off x="2190789" y="2698802"/>
            <a:ext cx="4182534" cy="19327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800"/>
              <a:t>Automatisation des test Web Service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DBF682B6-C40F-437D-A59A-528F80379521}"/>
              </a:ext>
            </a:extLst>
          </p:cNvPr>
          <p:cNvSpPr/>
          <p:nvPr/>
        </p:nvSpPr>
        <p:spPr>
          <a:xfrm>
            <a:off x="6959800" y="3197017"/>
            <a:ext cx="590204" cy="193270"/>
          </a:xfrm>
          <a:prstGeom prst="rect">
            <a:avLst/>
          </a:prstGeom>
          <a:noFill/>
          <a:ln w="9525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5"/>
          </a:fontRef>
        </p:style>
        <p:txBody>
          <a:bodyPr rtlCol="0" anchor="ctr"/>
          <a:lstStyle/>
          <a:p>
            <a:pPr algn="ctr"/>
            <a:r>
              <a:rPr lang="fr-FR" sz="800"/>
              <a:t>Pair-Test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9428182F-924D-413C-975E-22724D7CE075}"/>
              </a:ext>
            </a:extLst>
          </p:cNvPr>
          <p:cNvSpPr/>
          <p:nvPr/>
        </p:nvSpPr>
        <p:spPr>
          <a:xfrm>
            <a:off x="3882498" y="3197017"/>
            <a:ext cx="590204" cy="193270"/>
          </a:xfrm>
          <a:prstGeom prst="rect">
            <a:avLst/>
          </a:prstGeom>
          <a:noFill/>
          <a:ln w="9525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5"/>
          </a:fontRef>
        </p:style>
        <p:txBody>
          <a:bodyPr rtlCol="0" anchor="ctr"/>
          <a:lstStyle/>
          <a:p>
            <a:pPr algn="ctr"/>
            <a:r>
              <a:rPr lang="fr-FR" sz="800"/>
              <a:t>Pair-Test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8252C95C-886B-42F4-8836-DAE2347B7C34}"/>
              </a:ext>
            </a:extLst>
          </p:cNvPr>
          <p:cNvSpPr/>
          <p:nvPr/>
        </p:nvSpPr>
        <p:spPr>
          <a:xfrm>
            <a:off x="5421149" y="3197017"/>
            <a:ext cx="590204" cy="193270"/>
          </a:xfrm>
          <a:prstGeom prst="rect">
            <a:avLst/>
          </a:prstGeom>
          <a:noFill/>
          <a:ln w="9525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5"/>
          </a:fontRef>
        </p:style>
        <p:txBody>
          <a:bodyPr rtlCol="0" anchor="ctr"/>
          <a:lstStyle/>
          <a:p>
            <a:pPr algn="ctr"/>
            <a:r>
              <a:rPr lang="fr-FR" sz="800"/>
              <a:t>Pair-Test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E8B1724-D357-426D-96D5-5B2F11D07FF5}"/>
              </a:ext>
            </a:extLst>
          </p:cNvPr>
          <p:cNvSpPr/>
          <p:nvPr/>
        </p:nvSpPr>
        <p:spPr>
          <a:xfrm>
            <a:off x="2343847" y="3197017"/>
            <a:ext cx="590204" cy="193270"/>
          </a:xfrm>
          <a:prstGeom prst="rect">
            <a:avLst/>
          </a:prstGeom>
          <a:noFill/>
          <a:ln w="9525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5"/>
          </a:fontRef>
        </p:style>
        <p:txBody>
          <a:bodyPr rtlCol="0" anchor="ctr"/>
          <a:lstStyle/>
          <a:p>
            <a:pPr algn="ctr"/>
            <a:r>
              <a:rPr lang="fr-FR" sz="800"/>
              <a:t>Pair-Test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7B06F6D-376C-424D-AAEC-477127F69DE6}"/>
              </a:ext>
            </a:extLst>
          </p:cNvPr>
          <p:cNvSpPr/>
          <p:nvPr/>
        </p:nvSpPr>
        <p:spPr>
          <a:xfrm>
            <a:off x="4435001" y="3847020"/>
            <a:ext cx="3535680" cy="193270"/>
          </a:xfrm>
          <a:prstGeom prst="rect">
            <a:avLst/>
          </a:prstGeom>
          <a:noFill/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3"/>
          </a:fontRef>
        </p:style>
        <p:txBody>
          <a:bodyPr rtlCol="0" anchor="ctr"/>
          <a:lstStyle/>
          <a:p>
            <a:pPr algn="ctr"/>
            <a:r>
              <a:rPr lang="fr-FR" sz="800"/>
              <a:t>Test système (Recette)</a:t>
            </a:r>
          </a:p>
        </p:txBody>
      </p:sp>
      <p:sp>
        <p:nvSpPr>
          <p:cNvPr id="18" name="Arrow: Chevron 17">
            <a:extLst>
              <a:ext uri="{FF2B5EF4-FFF2-40B4-BE49-F238E27FC236}">
                <a16:creationId xmlns:a16="http://schemas.microsoft.com/office/drawing/2014/main" id="{6DD5A138-18AA-4638-B173-C0E549FB63A9}"/>
              </a:ext>
            </a:extLst>
          </p:cNvPr>
          <p:cNvSpPr/>
          <p:nvPr/>
        </p:nvSpPr>
        <p:spPr>
          <a:xfrm>
            <a:off x="4435001" y="4088925"/>
            <a:ext cx="4480136" cy="193270"/>
          </a:xfrm>
          <a:prstGeom prst="chevron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800"/>
              <a:t>Automatisation des </a:t>
            </a:r>
            <a:r>
              <a:rPr lang="fr-FR" sz="800">
                <a:highlight>
                  <a:srgbClr val="00FF00"/>
                </a:highlight>
              </a:rPr>
              <a:t>nouveaux parcours </a:t>
            </a:r>
            <a:r>
              <a:rPr lang="fr-FR" sz="800"/>
              <a:t>clés / </a:t>
            </a:r>
            <a:r>
              <a:rPr lang="fr-FR" sz="800">
                <a:highlight>
                  <a:srgbClr val="00FF00"/>
                </a:highlight>
              </a:rPr>
              <a:t>Maintenance</a:t>
            </a:r>
            <a:r>
              <a:rPr lang="fr-FR" sz="800"/>
              <a:t> des parcours existants</a:t>
            </a:r>
          </a:p>
        </p:txBody>
      </p:sp>
      <p:sp>
        <p:nvSpPr>
          <p:cNvPr id="7" name="Arrow: Up 6">
            <a:extLst>
              <a:ext uri="{FF2B5EF4-FFF2-40B4-BE49-F238E27FC236}">
                <a16:creationId xmlns:a16="http://schemas.microsoft.com/office/drawing/2014/main" id="{782B906B-24EF-4479-9839-35096C18A08C}"/>
              </a:ext>
            </a:extLst>
          </p:cNvPr>
          <p:cNvSpPr/>
          <p:nvPr/>
        </p:nvSpPr>
        <p:spPr>
          <a:xfrm>
            <a:off x="4435001" y="3576231"/>
            <a:ext cx="47413" cy="193270"/>
          </a:xfrm>
          <a:prstGeom prst="up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9" name="Arrow: Up 18">
            <a:extLst>
              <a:ext uri="{FF2B5EF4-FFF2-40B4-BE49-F238E27FC236}">
                <a16:creationId xmlns:a16="http://schemas.microsoft.com/office/drawing/2014/main" id="{538F6CA4-9C1B-494F-926E-ED125032F245}"/>
              </a:ext>
            </a:extLst>
          </p:cNvPr>
          <p:cNvSpPr/>
          <p:nvPr/>
        </p:nvSpPr>
        <p:spPr>
          <a:xfrm>
            <a:off x="522549" y="3832419"/>
            <a:ext cx="47413" cy="193270"/>
          </a:xfrm>
          <a:prstGeom prst="up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DFB34521-E8F2-4F02-9467-DAC4A694D185}"/>
              </a:ext>
            </a:extLst>
          </p:cNvPr>
          <p:cNvSpPr txBox="1"/>
          <p:nvPr/>
        </p:nvSpPr>
        <p:spPr bwMode="auto">
          <a:xfrm>
            <a:off x="4482414" y="3519277"/>
            <a:ext cx="4139037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r>
              <a:rPr lang="fr-FR" sz="800"/>
              <a:t>Début de recette  (MMF testable)</a:t>
            </a:r>
          </a:p>
          <a:p>
            <a:r>
              <a:rPr lang="fr-FR" sz="800"/>
              <a:t>Début d’automatisation</a:t>
            </a:r>
          </a:p>
        </p:txBody>
      </p:sp>
      <p:sp>
        <p:nvSpPr>
          <p:cNvPr id="21" name="Arrow: Up 20">
            <a:extLst>
              <a:ext uri="{FF2B5EF4-FFF2-40B4-BE49-F238E27FC236}">
                <a16:creationId xmlns:a16="http://schemas.microsoft.com/office/drawing/2014/main" id="{36CA6C6F-646C-4186-B9FA-E914DEBFFE06}"/>
              </a:ext>
            </a:extLst>
          </p:cNvPr>
          <p:cNvSpPr/>
          <p:nvPr/>
        </p:nvSpPr>
        <p:spPr>
          <a:xfrm>
            <a:off x="2190789" y="2445719"/>
            <a:ext cx="47413" cy="193270"/>
          </a:xfrm>
          <a:prstGeom prst="up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D99B19BC-B26A-4758-9151-4AD1AD61D450}"/>
              </a:ext>
            </a:extLst>
          </p:cNvPr>
          <p:cNvSpPr txBox="1"/>
          <p:nvPr/>
        </p:nvSpPr>
        <p:spPr bwMode="auto">
          <a:xfrm>
            <a:off x="2214495" y="2373077"/>
            <a:ext cx="2546647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r>
              <a:rPr lang="fr-FR" sz="800"/>
              <a:t>Début de test composant et son automatisation en environnement dev/intégration</a:t>
            </a:r>
          </a:p>
        </p:txBody>
      </p:sp>
      <p:sp>
        <p:nvSpPr>
          <p:cNvPr id="23" name="Arrow: Up 22">
            <a:extLst>
              <a:ext uri="{FF2B5EF4-FFF2-40B4-BE49-F238E27FC236}">
                <a16:creationId xmlns:a16="http://schemas.microsoft.com/office/drawing/2014/main" id="{172C49A7-BE6C-447D-B10C-EF9FEAF9E053}"/>
              </a:ext>
            </a:extLst>
          </p:cNvPr>
          <p:cNvSpPr/>
          <p:nvPr/>
        </p:nvSpPr>
        <p:spPr>
          <a:xfrm>
            <a:off x="2797089" y="4447084"/>
            <a:ext cx="45719" cy="193270"/>
          </a:xfrm>
          <a:prstGeom prst="upArrow">
            <a:avLst/>
          </a:prstGeom>
          <a:solidFill>
            <a:schemeClr val="dk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77AB5D36-4B2D-4FE8-9D79-E244F82B837A}"/>
              </a:ext>
            </a:extLst>
          </p:cNvPr>
          <p:cNvSpPr txBox="1"/>
          <p:nvPr/>
        </p:nvSpPr>
        <p:spPr bwMode="auto">
          <a:xfrm>
            <a:off x="2819948" y="4448695"/>
            <a:ext cx="1146428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r>
              <a:rPr lang="fr-FR" sz="700"/>
              <a:t>Exécution Test régression</a:t>
            </a:r>
          </a:p>
        </p:txBody>
      </p:sp>
      <p:sp>
        <p:nvSpPr>
          <p:cNvPr id="33" name="Arrow: Up 32">
            <a:extLst>
              <a:ext uri="{FF2B5EF4-FFF2-40B4-BE49-F238E27FC236}">
                <a16:creationId xmlns:a16="http://schemas.microsoft.com/office/drawing/2014/main" id="{00B5A998-0482-4281-84AF-2ED694FE698E}"/>
              </a:ext>
            </a:extLst>
          </p:cNvPr>
          <p:cNvSpPr/>
          <p:nvPr/>
        </p:nvSpPr>
        <p:spPr>
          <a:xfrm>
            <a:off x="4196051" y="4442957"/>
            <a:ext cx="45719" cy="193270"/>
          </a:xfrm>
          <a:prstGeom prst="upArrow">
            <a:avLst/>
          </a:prstGeom>
          <a:solidFill>
            <a:schemeClr val="dk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E6F5AF4B-C889-4BB5-B4D8-4A42A23D8887}"/>
              </a:ext>
            </a:extLst>
          </p:cNvPr>
          <p:cNvSpPr txBox="1"/>
          <p:nvPr/>
        </p:nvSpPr>
        <p:spPr bwMode="auto">
          <a:xfrm>
            <a:off x="4218910" y="4444568"/>
            <a:ext cx="1347926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r>
              <a:rPr lang="fr-FR" sz="700"/>
              <a:t>Exécution Test régression</a:t>
            </a:r>
          </a:p>
        </p:txBody>
      </p:sp>
      <p:sp>
        <p:nvSpPr>
          <p:cNvPr id="35" name="Arrow: Up 34">
            <a:extLst>
              <a:ext uri="{FF2B5EF4-FFF2-40B4-BE49-F238E27FC236}">
                <a16:creationId xmlns:a16="http://schemas.microsoft.com/office/drawing/2014/main" id="{F82E9FDC-D9C1-4954-B2DC-06BC68924FF7}"/>
              </a:ext>
            </a:extLst>
          </p:cNvPr>
          <p:cNvSpPr/>
          <p:nvPr/>
        </p:nvSpPr>
        <p:spPr>
          <a:xfrm>
            <a:off x="5566836" y="4441346"/>
            <a:ext cx="45719" cy="193270"/>
          </a:xfrm>
          <a:prstGeom prst="upArrow">
            <a:avLst/>
          </a:prstGeom>
          <a:solidFill>
            <a:schemeClr val="dk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9F1AE134-7FF8-4DC1-9AC8-5592A1CD3119}"/>
              </a:ext>
            </a:extLst>
          </p:cNvPr>
          <p:cNvSpPr txBox="1"/>
          <p:nvPr/>
        </p:nvSpPr>
        <p:spPr bwMode="auto">
          <a:xfrm>
            <a:off x="5589696" y="4442957"/>
            <a:ext cx="1370104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r>
              <a:rPr lang="fr-FR" sz="700"/>
              <a:t>Exécution Test régression</a:t>
            </a:r>
          </a:p>
        </p:txBody>
      </p:sp>
      <p:sp>
        <p:nvSpPr>
          <p:cNvPr id="37" name="Arrow: Up 36">
            <a:extLst>
              <a:ext uri="{FF2B5EF4-FFF2-40B4-BE49-F238E27FC236}">
                <a16:creationId xmlns:a16="http://schemas.microsoft.com/office/drawing/2014/main" id="{C32A26F0-10AF-4400-98D3-7F66307C7918}"/>
              </a:ext>
            </a:extLst>
          </p:cNvPr>
          <p:cNvSpPr/>
          <p:nvPr/>
        </p:nvSpPr>
        <p:spPr>
          <a:xfrm>
            <a:off x="7006201" y="4441346"/>
            <a:ext cx="45719" cy="193270"/>
          </a:xfrm>
          <a:prstGeom prst="upArrow">
            <a:avLst/>
          </a:prstGeom>
          <a:solidFill>
            <a:schemeClr val="dk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DC71BC99-5A94-411D-82A5-592D7BE9E8F7}"/>
              </a:ext>
            </a:extLst>
          </p:cNvPr>
          <p:cNvSpPr txBox="1"/>
          <p:nvPr/>
        </p:nvSpPr>
        <p:spPr bwMode="auto">
          <a:xfrm>
            <a:off x="7029060" y="4442957"/>
            <a:ext cx="1789357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r>
              <a:rPr lang="fr-FR" sz="700"/>
              <a:t>Exécution Test régression</a:t>
            </a:r>
          </a:p>
        </p:txBody>
      </p: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DF7B0EA5-F1F9-4E23-BBB1-801D880AF502}"/>
              </a:ext>
            </a:extLst>
          </p:cNvPr>
          <p:cNvCxnSpPr/>
          <p:nvPr/>
        </p:nvCxnSpPr>
        <p:spPr>
          <a:xfrm>
            <a:off x="0" y="3077146"/>
            <a:ext cx="9144000" cy="0"/>
          </a:xfrm>
          <a:prstGeom prst="line">
            <a:avLst/>
          </a:prstGeom>
          <a:ln w="317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98711BA3-1335-4880-8A5B-E0341A6DFB40}"/>
              </a:ext>
            </a:extLst>
          </p:cNvPr>
          <p:cNvCxnSpPr>
            <a:cxnSpLocks/>
          </p:cNvCxnSpPr>
          <p:nvPr/>
        </p:nvCxnSpPr>
        <p:spPr>
          <a:xfrm>
            <a:off x="0" y="3520091"/>
            <a:ext cx="9144000" cy="0"/>
          </a:xfrm>
          <a:prstGeom prst="line">
            <a:avLst/>
          </a:prstGeom>
          <a:ln w="317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52E6956E-36AE-4D53-84BF-60C58A3F4F1F}"/>
              </a:ext>
            </a:extLst>
          </p:cNvPr>
          <p:cNvCxnSpPr/>
          <p:nvPr/>
        </p:nvCxnSpPr>
        <p:spPr>
          <a:xfrm>
            <a:off x="0" y="2219541"/>
            <a:ext cx="9144000" cy="0"/>
          </a:xfrm>
          <a:prstGeom prst="line">
            <a:avLst/>
          </a:prstGeom>
          <a:ln w="317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CDC5AB7E-05D7-472A-8C71-D8C1A8797FB0}"/>
              </a:ext>
            </a:extLst>
          </p:cNvPr>
          <p:cNvCxnSpPr/>
          <p:nvPr/>
        </p:nvCxnSpPr>
        <p:spPr>
          <a:xfrm>
            <a:off x="0" y="4643012"/>
            <a:ext cx="9144000" cy="0"/>
          </a:xfrm>
          <a:prstGeom prst="line">
            <a:avLst/>
          </a:prstGeom>
          <a:ln w="317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Rectangle 3">
            <a:extLst>
              <a:ext uri="{FF2B5EF4-FFF2-40B4-BE49-F238E27FC236}">
                <a16:creationId xmlns:a16="http://schemas.microsoft.com/office/drawing/2014/main" id="{54AF75BB-C0CB-CADD-4A0A-C9640DC96270}"/>
              </a:ext>
            </a:extLst>
          </p:cNvPr>
          <p:cNvSpPr/>
          <p:nvPr/>
        </p:nvSpPr>
        <p:spPr>
          <a:xfrm>
            <a:off x="6615563" y="0"/>
            <a:ext cx="2583440" cy="58477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fr-FR" b="0" cap="none" spc="0">
                <a:ln w="0"/>
                <a:gradFill>
                  <a:gsLst>
                    <a:gs pos="0">
                      <a:schemeClr val="accent5">
                        <a:lumMod val="50000"/>
                      </a:schemeClr>
                    </a:gs>
                    <a:gs pos="50000">
                      <a:schemeClr val="accent5"/>
                    </a:gs>
                    <a:gs pos="100000">
                      <a:schemeClr val="accent5">
                        <a:lumMod val="60000"/>
                        <a:lumOff val="40000"/>
                      </a:schemeClr>
                    </a:gs>
                  </a:gsLst>
                  <a:lin ang="5400000"/>
                </a:gradFill>
                <a:effectLst>
                  <a:reflection blurRad="6350" stA="53000" endA="300" endPos="35500" dir="5400000" sy="-90000" algn="bl" rotWithShape="0"/>
                </a:effectLst>
              </a:rPr>
              <a:t>A adapter selon la configuration de l’équipe</a:t>
            </a:r>
          </a:p>
        </p:txBody>
      </p:sp>
    </p:spTree>
    <p:extLst>
      <p:ext uri="{BB962C8B-B14F-4D97-AF65-F5344CB8AC3E}">
        <p14:creationId xmlns:p14="http://schemas.microsoft.com/office/powerpoint/2010/main" val="138699436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D79FA95-99FB-49AA-A7DD-8BF230A621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Reporting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8AF8710-928C-4B35-9F5D-394182D2518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/>
              <a:t>Les KPI </a:t>
            </a:r>
            <a:r>
              <a:rPr lang="en-US" err="1"/>
              <a:t>suivants</a:t>
            </a:r>
            <a:r>
              <a:rPr lang="en-US"/>
              <a:t> </a:t>
            </a:r>
            <a:r>
              <a:rPr lang="en-US" err="1"/>
              <a:t>sont</a:t>
            </a:r>
            <a:r>
              <a:rPr lang="en-US"/>
              <a:t> </a:t>
            </a:r>
            <a:r>
              <a:rPr lang="fr-FR"/>
              <a:t>à</a:t>
            </a:r>
            <a:r>
              <a:rPr lang="en-US"/>
              <a:t> </a:t>
            </a:r>
            <a:r>
              <a:rPr lang="en-US" err="1"/>
              <a:t>suivre</a:t>
            </a:r>
            <a:r>
              <a:rPr lang="en-US"/>
              <a:t> </a:t>
            </a:r>
            <a:r>
              <a:rPr lang="fr-FR"/>
              <a:t>à</a:t>
            </a:r>
            <a:r>
              <a:rPr lang="en-US"/>
              <a:t> </a:t>
            </a:r>
            <a:r>
              <a:rPr lang="en-US" err="1"/>
              <a:t>chaque</a:t>
            </a:r>
            <a:r>
              <a:rPr lang="en-US"/>
              <a:t> </a:t>
            </a:r>
            <a:r>
              <a:rPr lang="en-US" err="1"/>
              <a:t>niveau</a:t>
            </a:r>
            <a:r>
              <a:rPr lang="en-US"/>
              <a:t> de test</a:t>
            </a:r>
            <a:endParaRPr lang="fr-FR"/>
          </a:p>
        </p:txBody>
      </p:sp>
      <p:graphicFrame>
        <p:nvGraphicFramePr>
          <p:cNvPr id="7" name="Table 7">
            <a:extLst>
              <a:ext uri="{FF2B5EF4-FFF2-40B4-BE49-F238E27FC236}">
                <a16:creationId xmlns:a16="http://schemas.microsoft.com/office/drawing/2014/main" id="{4ECCEC33-3996-458E-AA0F-54A813E68776}"/>
              </a:ext>
            </a:extLst>
          </p:cNvPr>
          <p:cNvGraphicFramePr>
            <a:graphicFrameLocks noGrp="1"/>
          </p:cNvGraphicFramePr>
          <p:nvPr>
            <p:ph sz="quarter" idx="13"/>
            <p:extLst>
              <p:ext uri="{D42A27DB-BD31-4B8C-83A1-F6EECF244321}">
                <p14:modId xmlns:p14="http://schemas.microsoft.com/office/powerpoint/2010/main" val="998023177"/>
              </p:ext>
            </p:extLst>
          </p:nvPr>
        </p:nvGraphicFramePr>
        <p:xfrm>
          <a:off x="228599" y="1019270"/>
          <a:ext cx="8641402" cy="304343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421312">
                  <a:extLst>
                    <a:ext uri="{9D8B030D-6E8A-4147-A177-3AD203B41FA5}">
                      <a16:colId xmlns:a16="http://schemas.microsoft.com/office/drawing/2014/main" val="1879703544"/>
                    </a:ext>
                  </a:extLst>
                </a:gridCol>
                <a:gridCol w="917250">
                  <a:extLst>
                    <a:ext uri="{9D8B030D-6E8A-4147-A177-3AD203B41FA5}">
                      <a16:colId xmlns:a16="http://schemas.microsoft.com/office/drawing/2014/main" val="1792290600"/>
                    </a:ext>
                  </a:extLst>
                </a:gridCol>
                <a:gridCol w="5302840">
                  <a:extLst>
                    <a:ext uri="{9D8B030D-6E8A-4147-A177-3AD203B41FA5}">
                      <a16:colId xmlns:a16="http://schemas.microsoft.com/office/drawing/2014/main" val="3583133201"/>
                    </a:ext>
                  </a:extLst>
                </a:gridCol>
              </a:tblGrid>
              <a:tr h="265550">
                <a:tc>
                  <a:txBody>
                    <a:bodyPr/>
                    <a:lstStyle/>
                    <a:p>
                      <a:r>
                        <a:rPr lang="fr-FR" sz="900" noProof="0"/>
                        <a:t>KPI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900" noProof="0"/>
                        <a:t>Typ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900" noProof="0"/>
                        <a:t>Contenu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60657940"/>
                  </a:ext>
                </a:extLst>
              </a:tr>
              <a:tr h="424880">
                <a:tc>
                  <a:txBody>
                    <a:bodyPr/>
                    <a:lstStyle/>
                    <a:p>
                      <a:r>
                        <a:rPr lang="fr-FR" sz="900" noProof="0">
                          <a:highlight>
                            <a:srgbClr val="00FF00"/>
                          </a:highlight>
                        </a:rPr>
                        <a:t>Avancement de projet d’automatisa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900" noProof="0"/>
                        <a:t>Construc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900" noProof="0"/>
                        <a:t>Nombre de tests automatisés vs Nombre de tests à automatiser</a:t>
                      </a:r>
                      <a:br>
                        <a:rPr lang="fr-FR" sz="900" noProof="0"/>
                      </a:br>
                      <a:r>
                        <a:rPr lang="fr-FR" sz="900" noProof="0"/>
                        <a:t>(Global, ou composant par composant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81407639"/>
                  </a:ext>
                </a:extLst>
              </a:tr>
              <a:tr h="265550">
                <a:tc>
                  <a:txBody>
                    <a:bodyPr/>
                    <a:lstStyle/>
                    <a:p>
                      <a:r>
                        <a:rPr lang="fr-FR" sz="900" noProof="0">
                          <a:highlight>
                            <a:srgbClr val="00FF00"/>
                          </a:highlight>
                        </a:rPr>
                        <a:t>Couverture de test automatisé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900" noProof="0"/>
                        <a:t>Construc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900" noProof="0"/>
                        <a:t>Nombre de tests automatisés par rapport à l’ensemble des cas de test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01306581"/>
                  </a:ext>
                </a:extLst>
              </a:tr>
              <a:tr h="265550">
                <a:tc>
                  <a:txBody>
                    <a:bodyPr/>
                    <a:lstStyle/>
                    <a:p>
                      <a:r>
                        <a:rPr lang="fr-FR" sz="900" noProof="0"/>
                        <a:t>Efforts de construction des test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900" noProof="0"/>
                        <a:t>Construc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900" noProof="0"/>
                        <a:t>Coût moyen pour l’automatisation d’un cas de test/suite de tes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028327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81628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900" noProof="0"/>
                        <a:t>Efforts de maintenanc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900" noProof="0"/>
                        <a:t>Construc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900" noProof="0"/>
                        <a:t>Coût pour maintenir la solution sur les cas de test non-impactés par les aspects fonctionnel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24189050"/>
                  </a:ext>
                </a:extLst>
              </a:tr>
              <a:tr h="265550">
                <a:tc>
                  <a:txBody>
                    <a:bodyPr/>
                    <a:lstStyle/>
                    <a:p>
                      <a:r>
                        <a:rPr lang="fr-FR" sz="900" noProof="0"/>
                        <a:t>Temps d’exécution des tests automatisé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900" noProof="0"/>
                        <a:t>Exécu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900" noProof="0"/>
                        <a:t>Nb d’heures pour l’exécution des tests. (si trop lent =&gt; parallélisation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74570951"/>
                  </a:ext>
                </a:extLst>
              </a:tr>
              <a:tr h="265550">
                <a:tc>
                  <a:txBody>
                    <a:bodyPr/>
                    <a:lstStyle/>
                    <a:p>
                      <a:r>
                        <a:rPr lang="fr-FR" sz="900" noProof="0">
                          <a:highlight>
                            <a:srgbClr val="00FF00"/>
                          </a:highlight>
                        </a:rPr>
                        <a:t>Résultat d’exécution de tes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900" noProof="0"/>
                        <a:t>Exécu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900" noProof="0"/>
                        <a:t>Nombre de Tests OK/KO vs. le nombre de tests auto total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75966120"/>
                  </a:ext>
                </a:extLst>
              </a:tr>
              <a:tr h="265550">
                <a:tc>
                  <a:txBody>
                    <a:bodyPr/>
                    <a:lstStyle/>
                    <a:p>
                      <a:r>
                        <a:rPr lang="fr-FR" sz="900" noProof="0">
                          <a:highlight>
                            <a:srgbClr val="00FF00"/>
                          </a:highlight>
                        </a:rPr>
                        <a:t>Avancement d’exécution de tes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81628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900" noProof="0"/>
                        <a:t>Exécu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900" noProof="0"/>
                        <a:t>Nombre de Tests exécutés vs. le nombre de tests auto total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23351166"/>
                  </a:ext>
                </a:extLst>
              </a:tr>
              <a:tr h="265550">
                <a:tc>
                  <a:txBody>
                    <a:bodyPr/>
                    <a:lstStyle/>
                    <a:p>
                      <a:r>
                        <a:rPr lang="fr-FR" sz="900" noProof="0"/>
                        <a:t>Effort pour analyser les test en echec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81628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900" noProof="0"/>
                        <a:t>Exécu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900" noProof="0"/>
                        <a:t>Le temps moyen par cas de test pour savoir pourquoi le test est KO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43262359"/>
                  </a:ext>
                </a:extLst>
              </a:tr>
              <a:tr h="265550">
                <a:tc>
                  <a:txBody>
                    <a:bodyPr/>
                    <a:lstStyle/>
                    <a:p>
                      <a:r>
                        <a:rPr lang="fr-FR" sz="900" noProof="0">
                          <a:highlight>
                            <a:srgbClr val="00FF00"/>
                          </a:highlight>
                        </a:rPr>
                        <a:t>EMT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81628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900" noProof="0"/>
                        <a:t>Exécu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900" noProof="0"/>
                        <a:t>Efforts nécessaires si tous les tests automatisés sont exécutés manuellement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52033435"/>
                  </a:ext>
                </a:extLst>
              </a:tr>
              <a:tr h="265550">
                <a:tc>
                  <a:txBody>
                    <a:bodyPr/>
                    <a:lstStyle/>
                    <a:p>
                      <a:r>
                        <a:rPr lang="fr-FR" sz="900" noProof="0">
                          <a:highlight>
                            <a:srgbClr val="00FF00"/>
                          </a:highlight>
                        </a:rPr>
                        <a:t>Nombre d’anomalies découvert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900" noProof="0"/>
                        <a:t>Exécu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900" noProof="0"/>
                        <a:t>Nombre d’anomalies découvertes grâce aux tests automatisé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2795687"/>
                  </a:ext>
                </a:extLst>
              </a:tr>
            </a:tbl>
          </a:graphicData>
        </a:graphic>
      </p:graphicFrame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BD14F44-FF5C-4254-9DCC-0322B57A097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438FEFB8-6B6E-4DC1-A5E4-A1258711B442}" type="slidenum">
              <a:rPr lang="fr-FR" smtClean="0"/>
              <a:pPr/>
              <a:t>11</a:t>
            </a:fld>
            <a:endParaRPr lang="fr-FR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18E7A924-43DB-457E-AC4B-F6B42DBE5105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33E2A876-6808-42D7-B9E9-0E9017F3C491}" type="datetime1">
              <a:rPr lang="fr-FR" smtClean="0"/>
              <a:t>20/03/202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084846352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2"/>
    </p:ext>
  </p:extLs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FCA69EE1-5CB9-0D5A-AD8A-880E7C0E0F3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203960" y="2269492"/>
            <a:ext cx="8067039" cy="1752600"/>
          </a:xfrm>
        </p:spPr>
        <p:txBody>
          <a:bodyPr/>
          <a:lstStyle/>
          <a:p>
            <a:r>
              <a:rPr lang="en-US"/>
              <a:t>Questions &amp; Reponses ?</a:t>
            </a:r>
            <a:endParaRPr lang="fr-FR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395D8ED-23B4-A0B9-A083-BB7A9472494A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0" y="4805363"/>
            <a:ext cx="252413" cy="168275"/>
          </a:xfrm>
        </p:spPr>
        <p:txBody>
          <a:bodyPr/>
          <a:lstStyle/>
          <a:p>
            <a:fld id="{438FEFB8-6B6E-4DC1-A5E4-A1258711B442}" type="slidenum">
              <a:rPr lang="en-GB" noProof="0" smtClean="0"/>
              <a:pPr/>
              <a:t>12</a:t>
            </a:fld>
            <a:endParaRPr lang="en-GB" noProof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FBDD9DA8-AEE7-A1EF-AE70-2ED659A345FC}"/>
              </a:ext>
            </a:extLst>
          </p:cNvPr>
          <p:cNvSpPr>
            <a:spLocks noGrp="1"/>
          </p:cNvSpPr>
          <p:nvPr>
            <p:ph type="dt" sz="half" idx="4294967295"/>
          </p:nvPr>
        </p:nvSpPr>
        <p:spPr>
          <a:xfrm>
            <a:off x="0" y="4756150"/>
            <a:ext cx="2133600" cy="273050"/>
          </a:xfrm>
        </p:spPr>
        <p:txBody>
          <a:bodyPr/>
          <a:lstStyle/>
          <a:p>
            <a:fld id="{33E2A876-6808-42D7-B9E9-0E9017F3C491}" type="datetime1">
              <a:rPr lang="fr-FR" smtClean="0"/>
              <a:t>20/03/202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40025304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FCAD9822-55B0-8A0A-ED87-47304374B7A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66521" y="1766572"/>
            <a:ext cx="7777480" cy="1752600"/>
          </a:xfrm>
        </p:spPr>
        <p:txBody>
          <a:bodyPr/>
          <a:lstStyle/>
          <a:p>
            <a:r>
              <a:rPr lang="en-US" sz="4400"/>
              <a:t>Annexes: </a:t>
            </a:r>
            <a:br>
              <a:rPr lang="en-US" sz="4400"/>
            </a:br>
            <a:r>
              <a:rPr lang="en-US" sz="3600"/>
              <a:t>Les </a:t>
            </a:r>
            <a:r>
              <a:rPr lang="en-US" sz="3600" err="1"/>
              <a:t>Approches</a:t>
            </a:r>
            <a:r>
              <a:rPr lang="en-US" sz="3600"/>
              <a:t> </a:t>
            </a:r>
            <a:r>
              <a:rPr lang="en-US" sz="3600" err="1"/>
              <a:t>d’Automatisation</a:t>
            </a:r>
            <a:endParaRPr lang="fr-FR" sz="440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B7E0F10-D9E8-9060-9D6A-7B627EFAA3E2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0" y="4805363"/>
            <a:ext cx="252413" cy="168275"/>
          </a:xfrm>
        </p:spPr>
        <p:txBody>
          <a:bodyPr/>
          <a:lstStyle/>
          <a:p>
            <a:fld id="{438FEFB8-6B6E-4DC1-A5E4-A1258711B442}" type="slidenum">
              <a:rPr lang="en-GB" noProof="0" smtClean="0"/>
              <a:pPr/>
              <a:t>13</a:t>
            </a:fld>
            <a:endParaRPr lang="en-GB" noProof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76F7F714-A0CF-DF46-5FF1-7024F07AC1FC}"/>
              </a:ext>
            </a:extLst>
          </p:cNvPr>
          <p:cNvSpPr>
            <a:spLocks noGrp="1"/>
          </p:cNvSpPr>
          <p:nvPr>
            <p:ph type="dt" sz="half" idx="4294967295"/>
          </p:nvPr>
        </p:nvSpPr>
        <p:spPr>
          <a:xfrm>
            <a:off x="0" y="4756150"/>
            <a:ext cx="2133600" cy="273050"/>
          </a:xfrm>
        </p:spPr>
        <p:txBody>
          <a:bodyPr/>
          <a:lstStyle/>
          <a:p>
            <a:fld id="{33E2A876-6808-42D7-B9E9-0E9017F3C491}" type="datetime1">
              <a:rPr lang="fr-FR" smtClean="0"/>
              <a:t>20/03/202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83943084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6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8CB7A46-1C35-44FD-AD41-6313CAE8F1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Approche de test API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1F37CE3-19B2-453F-96EB-8F7BAD9140B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fr-FR"/>
              <a:t>Automatisation de Test WebServic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BCEC541-8D21-43A8-9810-5D0CE5A42B93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438FEFB8-6B6E-4DC1-A5E4-A1258711B442}" type="slidenum">
              <a:rPr lang="fr-FR" smtClean="0"/>
              <a:pPr/>
              <a:t>14</a:t>
            </a:fld>
            <a:endParaRPr lang="fr-FR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DB4916DD-4428-4BBF-A557-69D8DC1314FB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33E2A876-6808-42D7-B9E9-0E9017F3C491}" type="datetime1">
              <a:rPr lang="fr-FR" smtClean="0"/>
              <a:t>20/03/2023</a:t>
            </a:fld>
            <a:endParaRPr lang="fr-FR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DF9CCF64-6268-424C-8F5E-B436235D6302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lvl="0"/>
            <a:r>
              <a:rPr lang="fr-FR"/>
              <a:t>Objectif</a:t>
            </a:r>
          </a:p>
          <a:p>
            <a:pPr lvl="1">
              <a:lnSpc>
                <a:spcPct val="100000"/>
              </a:lnSpc>
            </a:pPr>
            <a:r>
              <a:rPr lang="fr-FR"/>
              <a:t>Pouvoir démarrer le test au plus tôt et relever un maximum d’anomalies au plus tôt (Shift-</a:t>
            </a:r>
            <a:r>
              <a:rPr lang="fr-FR" err="1"/>
              <a:t>Left</a:t>
            </a:r>
            <a:r>
              <a:rPr lang="fr-FR"/>
              <a:t>)</a:t>
            </a:r>
          </a:p>
          <a:p>
            <a:pPr lvl="1">
              <a:lnSpc>
                <a:spcPct val="100000"/>
              </a:lnSpc>
            </a:pPr>
            <a:endParaRPr lang="fr-FR"/>
          </a:p>
          <a:p>
            <a:pPr lvl="0"/>
            <a:r>
              <a:rPr lang="fr-FR"/>
              <a:t>Avantage</a:t>
            </a:r>
          </a:p>
          <a:p>
            <a:pPr lvl="1">
              <a:lnSpc>
                <a:spcPct val="100000"/>
              </a:lnSpc>
            </a:pPr>
            <a:r>
              <a:rPr lang="fr-FR"/>
              <a:t>Pouvoir utiliser des techniques de conceptions de tests pour des cas de tests “efficaces”</a:t>
            </a:r>
          </a:p>
          <a:p>
            <a:pPr lvl="1">
              <a:lnSpc>
                <a:spcPct val="100000"/>
              </a:lnSpc>
            </a:pPr>
            <a:r>
              <a:rPr lang="fr-FR"/>
              <a:t>Les cas de tests sont plus ciblés et moins complexes.</a:t>
            </a:r>
          </a:p>
          <a:p>
            <a:pPr lvl="1">
              <a:lnSpc>
                <a:spcPct val="100000"/>
              </a:lnSpc>
            </a:pPr>
            <a:r>
              <a:rPr lang="fr-FR"/>
              <a:t>Plus facile à analyser les résultats et de localiser les problèmes.</a:t>
            </a:r>
          </a:p>
          <a:p>
            <a:pPr lvl="1">
              <a:lnSpc>
                <a:spcPct val="100000"/>
              </a:lnSpc>
            </a:pPr>
            <a:r>
              <a:rPr lang="fr-FR"/>
              <a:t>Coût d’automatisation et maintenance est inférieure aux tests IHM.</a:t>
            </a:r>
          </a:p>
          <a:p>
            <a:pPr lvl="1">
              <a:lnSpc>
                <a:spcPct val="100000"/>
              </a:lnSpc>
            </a:pPr>
            <a:r>
              <a:rPr lang="fr-FR"/>
              <a:t>Les tests sont exécutés plus rapidement.</a:t>
            </a:r>
          </a:p>
          <a:p>
            <a:pPr lvl="1">
              <a:lnSpc>
                <a:spcPct val="100000"/>
              </a:lnSpc>
            </a:pPr>
            <a:r>
              <a:rPr lang="fr-FR"/>
              <a:t>Plus de confiance au niveau composant, moins de tests bout-en-bout sont nécessaire.</a:t>
            </a:r>
          </a:p>
          <a:p>
            <a:pPr lvl="1">
              <a:lnSpc>
                <a:spcPct val="100000"/>
              </a:lnSpc>
            </a:pPr>
            <a:endParaRPr lang="fr-FR"/>
          </a:p>
          <a:p>
            <a:pPr lvl="0"/>
            <a:r>
              <a:rPr lang="fr-FR"/>
              <a:t>Connaissances et compétences à prévoir </a:t>
            </a:r>
          </a:p>
          <a:p>
            <a:pPr lvl="1"/>
            <a:r>
              <a:rPr lang="fr-FR"/>
              <a:t>Besoin de connaissances techniques sur les protocoles </a:t>
            </a:r>
            <a:r>
              <a:rPr lang="fr-FR" err="1"/>
              <a:t>WebService</a:t>
            </a:r>
            <a:r>
              <a:rPr lang="fr-FR"/>
              <a:t> (SOAP, REST, HTTP, …)</a:t>
            </a:r>
          </a:p>
          <a:p>
            <a:pPr lvl="1">
              <a:lnSpc>
                <a:spcPct val="100000"/>
              </a:lnSpc>
            </a:pPr>
            <a:r>
              <a:rPr lang="fr-FR"/>
              <a:t>Besoin de connaissances sur les outils de tests (</a:t>
            </a:r>
            <a:r>
              <a:rPr lang="fr-FR" err="1"/>
              <a:t>ReadyAPI</a:t>
            </a:r>
            <a:r>
              <a:rPr lang="fr-FR"/>
              <a:t>, Bouchon, etc..)</a:t>
            </a:r>
          </a:p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92693578"/>
      </p:ext>
    </p:extLst>
  </p:cSld>
  <p:clrMapOvr>
    <a:masterClrMapping/>
  </p:clrMapOvr>
</p:sld>
</file>

<file path=ppt/slides/slide1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6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8CB7A46-1C35-44FD-AD41-6313CAE8F1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Approche de test API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1F37CE3-19B2-453F-96EB-8F7BAD9140B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fr-FR"/>
              <a:t>Automatisation de Test WebServic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BCEC541-8D21-43A8-9810-5D0CE5A42B93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438FEFB8-6B6E-4DC1-A5E4-A1258711B442}" type="slidenum">
              <a:rPr lang="fr-FR" smtClean="0"/>
              <a:pPr/>
              <a:t>14</a:t>
            </a:fld>
            <a:endParaRPr lang="fr-FR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DB4916DD-4428-4BBF-A557-69D8DC1314FB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33E2A876-6808-42D7-B9E9-0E9017F3C491}" type="datetime1">
              <a:rPr lang="fr-FR" smtClean="0"/>
              <a:t>13/03/2023</a:t>
            </a:fld>
            <a:endParaRPr lang="fr-FR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DF9CCF64-6268-424C-8F5E-B436235D6302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lvl="0"/>
            <a:r>
              <a:rPr lang="fr-FR"/>
              <a:t>Objectif</a:t>
            </a:r>
          </a:p>
          <a:p>
            <a:pPr lvl="1">
              <a:lnSpc>
                <a:spcPct val="100000"/>
              </a:lnSpc>
            </a:pPr>
            <a:r>
              <a:rPr lang="fr-FR"/>
              <a:t>Pouvoir démarrer le test au plus tôt et relever un maximum d’anomalies au plus tôt (Shift-</a:t>
            </a:r>
            <a:r>
              <a:rPr lang="fr-FR" err="1"/>
              <a:t>Left</a:t>
            </a:r>
            <a:r>
              <a:rPr lang="fr-FR"/>
              <a:t>)</a:t>
            </a:r>
          </a:p>
          <a:p>
            <a:pPr lvl="1">
              <a:lnSpc>
                <a:spcPct val="100000"/>
              </a:lnSpc>
            </a:pPr>
            <a:endParaRPr lang="fr-FR"/>
          </a:p>
          <a:p>
            <a:pPr lvl="0"/>
            <a:r>
              <a:rPr lang="fr-FR"/>
              <a:t>Avantage</a:t>
            </a:r>
          </a:p>
          <a:p>
            <a:pPr lvl="1">
              <a:lnSpc>
                <a:spcPct val="100000"/>
              </a:lnSpc>
            </a:pPr>
            <a:r>
              <a:rPr lang="fr-FR"/>
              <a:t>Pouvoir utiliser des techniques de conceptions de tests pour des cas de tests “efficaces”</a:t>
            </a:r>
          </a:p>
          <a:p>
            <a:pPr lvl="1">
              <a:lnSpc>
                <a:spcPct val="100000"/>
              </a:lnSpc>
            </a:pPr>
            <a:r>
              <a:rPr lang="fr-FR"/>
              <a:t>Les cas de tests sont plus ciblés et moins complexes.</a:t>
            </a:r>
          </a:p>
          <a:p>
            <a:pPr lvl="1">
              <a:lnSpc>
                <a:spcPct val="100000"/>
              </a:lnSpc>
            </a:pPr>
            <a:r>
              <a:rPr lang="fr-FR"/>
              <a:t>Plus facile à analyser les résultats et de localiser les problèmes.</a:t>
            </a:r>
          </a:p>
          <a:p>
            <a:pPr lvl="1">
              <a:lnSpc>
                <a:spcPct val="100000"/>
              </a:lnSpc>
            </a:pPr>
            <a:r>
              <a:rPr lang="fr-FR"/>
              <a:t>Coût d’automatisation et maintenance est inférieure aux tests IHM.</a:t>
            </a:r>
          </a:p>
          <a:p>
            <a:pPr lvl="1">
              <a:lnSpc>
                <a:spcPct val="100000"/>
              </a:lnSpc>
            </a:pPr>
            <a:r>
              <a:rPr lang="fr-FR"/>
              <a:t>Les tests sont exécutés plus rapidement.</a:t>
            </a:r>
          </a:p>
          <a:p>
            <a:pPr lvl="1">
              <a:lnSpc>
                <a:spcPct val="100000"/>
              </a:lnSpc>
            </a:pPr>
            <a:r>
              <a:rPr lang="fr-FR"/>
              <a:t>Plus de confiance au niveau composant, moins de tests bout-en-bout sont nécessaire.</a:t>
            </a:r>
          </a:p>
          <a:p>
            <a:pPr lvl="1">
              <a:lnSpc>
                <a:spcPct val="100000"/>
              </a:lnSpc>
            </a:pPr>
            <a:endParaRPr lang="fr-FR"/>
          </a:p>
          <a:p>
            <a:pPr lvl="0"/>
            <a:r>
              <a:rPr lang="fr-FR"/>
              <a:t>Connaissances et compétences à prévoir </a:t>
            </a:r>
          </a:p>
          <a:p>
            <a:pPr lvl="1"/>
            <a:r>
              <a:rPr lang="fr-FR"/>
              <a:t>Besoin de connaissances techniques sur les protocoles </a:t>
            </a:r>
            <a:r>
              <a:rPr lang="fr-FR" err="1"/>
              <a:t>WebService</a:t>
            </a:r>
            <a:r>
              <a:rPr lang="fr-FR"/>
              <a:t> (SOAP, REST, HTTP, …)</a:t>
            </a:r>
          </a:p>
          <a:p>
            <a:pPr lvl="1">
              <a:lnSpc>
                <a:spcPct val="100000"/>
              </a:lnSpc>
            </a:pPr>
            <a:r>
              <a:rPr lang="fr-FR"/>
              <a:t>Besoin de connaissances sur les outils de tests (</a:t>
            </a:r>
            <a:r>
              <a:rPr lang="fr-FR" err="1"/>
              <a:t>ReadyAPI</a:t>
            </a:r>
            <a:r>
              <a:rPr lang="fr-FR"/>
              <a:t>, Bouchon, etc..)</a:t>
            </a:r>
          </a:p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9269357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6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BC4C480-D603-48C5-9664-BBE026D4EF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Approche de test API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B0A22C4-C265-457A-A0EF-0DF8E589AEA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fr-FR"/>
              <a:t>Identifier et Analyser les </a:t>
            </a:r>
            <a:r>
              <a:rPr lang="fr-FR" err="1"/>
              <a:t>WebServices</a:t>
            </a:r>
            <a:r>
              <a:rPr lang="fr-FR"/>
              <a:t> à Tester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19B59EE-2045-4AF3-BCF0-6671EDC674B4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228696" y="1133912"/>
            <a:ext cx="6435340" cy="3567175"/>
          </a:xfrm>
        </p:spPr>
        <p:txBody>
          <a:bodyPr/>
          <a:lstStyle/>
          <a:p>
            <a:r>
              <a:rPr lang="fr-FR"/>
              <a:t>Identifier la fonctionnalité de service</a:t>
            </a:r>
          </a:p>
          <a:p>
            <a:pPr lvl="1"/>
            <a:r>
              <a:rPr lang="fr-FR"/>
              <a:t>Tester la fonctionnalité sur le composant porteur du service</a:t>
            </a:r>
          </a:p>
          <a:p>
            <a:pPr lvl="1"/>
            <a:r>
              <a:rPr lang="fr-FR"/>
              <a:t>Eliminer les tests en doublons et non efficaces</a:t>
            </a:r>
          </a:p>
          <a:p>
            <a:endParaRPr lang="fr-FR"/>
          </a:p>
          <a:p>
            <a:r>
              <a:rPr lang="fr-FR"/>
              <a:t>Identifier le protocole de service</a:t>
            </a:r>
          </a:p>
          <a:p>
            <a:pPr lvl="1"/>
            <a:r>
              <a:rPr lang="fr-FR"/>
              <a:t>SOAP (Description de service WSDL)</a:t>
            </a:r>
          </a:p>
          <a:p>
            <a:pPr lvl="1"/>
            <a:r>
              <a:rPr lang="fr-FR"/>
              <a:t>REST (Description de service </a:t>
            </a:r>
            <a:r>
              <a:rPr lang="fr-FR" err="1"/>
              <a:t>Swagger</a:t>
            </a:r>
            <a:r>
              <a:rPr lang="fr-FR"/>
              <a:t>)</a:t>
            </a:r>
          </a:p>
          <a:p>
            <a:pPr lvl="1"/>
            <a:r>
              <a:rPr lang="fr-FR"/>
              <a:t>Type d’authentification (BASIC, Windows, OAuth2)</a:t>
            </a:r>
          </a:p>
          <a:p>
            <a:pPr lvl="1"/>
            <a:endParaRPr lang="fr-FR"/>
          </a:p>
          <a:p>
            <a:r>
              <a:rPr lang="fr-FR"/>
              <a:t>Identifier les outils et environnement de test</a:t>
            </a:r>
          </a:p>
          <a:p>
            <a:pPr lvl="1"/>
            <a:r>
              <a:rPr lang="fr-FR"/>
              <a:t>Injecteur </a:t>
            </a:r>
            <a:r>
              <a:rPr lang="fr-FR" sz="1050"/>
              <a:t>(simuler le consommateur de service)</a:t>
            </a:r>
          </a:p>
          <a:p>
            <a:pPr lvl="1"/>
            <a:r>
              <a:rPr lang="fr-FR"/>
              <a:t>Bouchon </a:t>
            </a:r>
            <a:r>
              <a:rPr lang="fr-FR" sz="1050"/>
              <a:t>(simuler le fournisseur de service)</a:t>
            </a:r>
            <a:endParaRPr lang="fr-FR"/>
          </a:p>
          <a:p>
            <a:pPr lvl="1"/>
            <a:r>
              <a:rPr lang="fr-FR"/>
              <a:t>Environnement isolé pour réaliser les tests avec bouchon</a:t>
            </a:r>
          </a:p>
          <a:p>
            <a:pPr lvl="1"/>
            <a:endParaRPr lang="fr-FR"/>
          </a:p>
          <a:p>
            <a:pPr lvl="2"/>
            <a:endParaRPr lang="fr-FR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1E9A263-53B2-4C56-9649-8616D5601360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438FEFB8-6B6E-4DC1-A5E4-A1258711B442}" type="slidenum">
              <a:rPr lang="fr-FR" smtClean="0"/>
              <a:pPr/>
              <a:t>15</a:t>
            </a:fld>
            <a:endParaRPr lang="fr-FR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67671870-6AEB-42A7-9876-CCE790085E0C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97F91EFF-60BA-4809-A0AA-2C1F616DF9B6}" type="datetime1">
              <a:rPr lang="fr-FR" smtClean="0"/>
              <a:t>20/03/2023</a:t>
            </a:fld>
            <a:endParaRPr lang="fr-FR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0527CA3-4EE1-409A-B9C5-D38FC31CCC66}"/>
              </a:ext>
            </a:extLst>
          </p:cNvPr>
          <p:cNvSpPr/>
          <p:nvPr/>
        </p:nvSpPr>
        <p:spPr>
          <a:xfrm>
            <a:off x="6751314" y="0"/>
            <a:ext cx="2392686" cy="514350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indent="-285750">
              <a:buClr>
                <a:schemeClr val="accent1"/>
              </a:buClr>
              <a:buFont typeface="FontAwesome" pitchFamily="2" charset="0"/>
              <a:buChar char=""/>
            </a:pPr>
            <a:endParaRPr lang="fr-FR" sz="1200">
              <a:solidFill>
                <a:schemeClr val="tx1"/>
              </a:solidFill>
            </a:endParaRPr>
          </a:p>
          <a:p>
            <a:pPr marL="285750" indent="-285750">
              <a:buClr>
                <a:schemeClr val="accent1"/>
              </a:buClr>
              <a:buFont typeface="FontAwesome" pitchFamily="2" charset="0"/>
              <a:buChar char=""/>
            </a:pPr>
            <a:endParaRPr lang="fr-FR" sz="1200">
              <a:solidFill>
                <a:schemeClr val="tx1"/>
              </a:solidFill>
            </a:endParaRPr>
          </a:p>
          <a:p>
            <a:pPr marL="285750" indent="-285750">
              <a:buClr>
                <a:schemeClr val="accent1"/>
              </a:buClr>
              <a:buFont typeface="FontAwesome" pitchFamily="2" charset="0"/>
              <a:buChar char=""/>
            </a:pPr>
            <a:endParaRPr lang="fr-FR" sz="1200">
              <a:solidFill>
                <a:schemeClr val="tx1"/>
              </a:solidFill>
            </a:endParaRPr>
          </a:p>
          <a:p>
            <a:pPr marL="285750" indent="-285750">
              <a:buClr>
                <a:schemeClr val="accent1"/>
              </a:buClr>
              <a:buFont typeface="FontAwesome" pitchFamily="2" charset="0"/>
              <a:buChar char=""/>
            </a:pPr>
            <a:endParaRPr lang="fr-FR" sz="1200">
              <a:solidFill>
                <a:schemeClr val="tx1"/>
              </a:solidFill>
            </a:endParaRPr>
          </a:p>
          <a:p>
            <a:pPr>
              <a:buClr>
                <a:schemeClr val="accent1"/>
              </a:buClr>
            </a:pPr>
            <a:endParaRPr lang="fr-FR" sz="1200">
              <a:solidFill>
                <a:schemeClr val="tx1"/>
              </a:solidFill>
            </a:endParaRPr>
          </a:p>
          <a:p>
            <a:pPr>
              <a:buClr>
                <a:schemeClr val="accent1"/>
              </a:buClr>
            </a:pPr>
            <a:endParaRPr lang="fr-FR" sz="1200">
              <a:solidFill>
                <a:schemeClr val="tx1"/>
              </a:solidFill>
            </a:endParaRPr>
          </a:p>
          <a:p>
            <a:pPr marL="285750" indent="-285750">
              <a:buClr>
                <a:schemeClr val="accent1"/>
              </a:buClr>
              <a:buFont typeface="FontAwesome" pitchFamily="2" charset="0"/>
              <a:buChar char=""/>
            </a:pPr>
            <a:r>
              <a:rPr lang="fr-FR" sz="1400">
                <a:solidFill>
                  <a:schemeClr val="tx1"/>
                </a:solidFill>
              </a:rPr>
              <a:t>Prérequis</a:t>
            </a:r>
          </a:p>
          <a:p>
            <a:pPr lvl="1" indent="0">
              <a:buClr>
                <a:schemeClr val="accent1"/>
              </a:buClr>
            </a:pPr>
            <a:endParaRPr lang="fr-FR" sz="1100">
              <a:solidFill>
                <a:schemeClr val="tx1"/>
              </a:solidFill>
            </a:endParaRPr>
          </a:p>
          <a:p>
            <a:pPr marL="360000" lvl="1" indent="-171450">
              <a:spcBef>
                <a:spcPts val="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fr-FR" sz="900">
                <a:solidFill>
                  <a:schemeClr val="tx1"/>
                </a:solidFill>
              </a:rPr>
              <a:t>Spécifications de l’API</a:t>
            </a:r>
          </a:p>
          <a:p>
            <a:pPr marL="188550" lvl="1" indent="0">
              <a:spcBef>
                <a:spcPts val="0"/>
              </a:spcBef>
              <a:buClr>
                <a:schemeClr val="accent1"/>
              </a:buClr>
            </a:pPr>
            <a:r>
              <a:rPr lang="fr-FR" sz="900">
                <a:solidFill>
                  <a:schemeClr val="tx1"/>
                </a:solidFill>
              </a:rPr>
              <a:t>(Diagramme de flux, Diagramme de séquence, règles de gestion, …)</a:t>
            </a:r>
          </a:p>
          <a:p>
            <a:pPr marL="360000" lvl="1" indent="-171450">
              <a:spcBef>
                <a:spcPts val="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endParaRPr lang="fr-FR" sz="900">
              <a:solidFill>
                <a:schemeClr val="tx1"/>
              </a:solidFill>
            </a:endParaRPr>
          </a:p>
          <a:p>
            <a:pPr marL="360000" lvl="1" indent="-171450">
              <a:spcBef>
                <a:spcPts val="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fr-FR" sz="900">
                <a:solidFill>
                  <a:schemeClr val="tx1"/>
                </a:solidFill>
              </a:rPr>
              <a:t>Description de Service</a:t>
            </a:r>
          </a:p>
          <a:p>
            <a:pPr marL="188550" lvl="1" indent="0">
              <a:spcBef>
                <a:spcPts val="0"/>
              </a:spcBef>
              <a:buClr>
                <a:schemeClr val="accent1"/>
              </a:buClr>
            </a:pPr>
            <a:r>
              <a:rPr lang="fr-FR" sz="900">
                <a:solidFill>
                  <a:schemeClr val="tx1"/>
                </a:solidFill>
              </a:rPr>
              <a:t>(WSDL, </a:t>
            </a:r>
            <a:r>
              <a:rPr lang="fr-FR" sz="900" err="1">
                <a:solidFill>
                  <a:schemeClr val="tx1"/>
                </a:solidFill>
              </a:rPr>
              <a:t>Swagger</a:t>
            </a:r>
            <a:r>
              <a:rPr lang="fr-FR" sz="900">
                <a:solidFill>
                  <a:schemeClr val="tx1"/>
                </a:solidFill>
              </a:rPr>
              <a:t>, …)</a:t>
            </a:r>
          </a:p>
          <a:p>
            <a:pPr>
              <a:buClr>
                <a:schemeClr val="accent1"/>
              </a:buClr>
            </a:pPr>
            <a:endParaRPr lang="fr-FR" sz="1100">
              <a:solidFill>
                <a:schemeClr val="tx1"/>
              </a:solidFill>
            </a:endParaRPr>
          </a:p>
          <a:p>
            <a:pPr marL="285750" indent="-285750">
              <a:buClr>
                <a:schemeClr val="accent1"/>
              </a:buClr>
              <a:buFont typeface="FontAwesome" pitchFamily="2" charset="0"/>
              <a:buChar char=""/>
            </a:pPr>
            <a:r>
              <a:rPr lang="fr-FR" sz="1400">
                <a:solidFill>
                  <a:schemeClr val="tx1"/>
                </a:solidFill>
              </a:rPr>
              <a:t>Outils</a:t>
            </a:r>
          </a:p>
          <a:p>
            <a:pPr marL="285750" indent="-285750">
              <a:buClr>
                <a:schemeClr val="accent1"/>
              </a:buClr>
              <a:buFont typeface="FontAwesome" pitchFamily="2" charset="0"/>
              <a:buChar char=""/>
            </a:pPr>
            <a:endParaRPr lang="fr-FR" sz="1200">
              <a:solidFill>
                <a:schemeClr val="tx1"/>
              </a:solidFill>
            </a:endParaRPr>
          </a:p>
          <a:p>
            <a:pPr marL="360000" lvl="1" indent="-171450">
              <a:spcBef>
                <a:spcPts val="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fr-FR" sz="900" err="1">
                <a:solidFill>
                  <a:schemeClr val="tx1"/>
                </a:solidFill>
              </a:rPr>
              <a:t>SoapUI</a:t>
            </a:r>
            <a:r>
              <a:rPr lang="fr-FR" sz="900">
                <a:solidFill>
                  <a:schemeClr val="tx1"/>
                </a:solidFill>
              </a:rPr>
              <a:t>/</a:t>
            </a:r>
            <a:r>
              <a:rPr lang="fr-FR" sz="900" err="1">
                <a:solidFill>
                  <a:schemeClr val="tx1"/>
                </a:solidFill>
              </a:rPr>
              <a:t>ReadyAPI</a:t>
            </a:r>
            <a:r>
              <a:rPr lang="fr-FR" sz="900">
                <a:solidFill>
                  <a:schemeClr val="tx1"/>
                </a:solidFill>
              </a:rPr>
              <a:t> </a:t>
            </a:r>
          </a:p>
          <a:p>
            <a:pPr marL="360000" lvl="1" indent="-171450">
              <a:spcBef>
                <a:spcPts val="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endParaRPr lang="fr-FR" sz="900">
              <a:solidFill>
                <a:schemeClr val="tx1"/>
              </a:solidFill>
            </a:endParaRPr>
          </a:p>
          <a:p>
            <a:pPr marL="360000" lvl="1" indent="-171450">
              <a:spcBef>
                <a:spcPts val="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fr-FR" sz="900">
                <a:solidFill>
                  <a:schemeClr val="tx1"/>
                </a:solidFill>
              </a:rPr>
              <a:t>Service </a:t>
            </a:r>
            <a:r>
              <a:rPr lang="fr-FR" sz="900" err="1">
                <a:solidFill>
                  <a:schemeClr val="tx1"/>
                </a:solidFill>
              </a:rPr>
              <a:t>Virtualization</a:t>
            </a:r>
            <a:endParaRPr lang="fr-FR" sz="900">
              <a:solidFill>
                <a:schemeClr val="tx1"/>
              </a:solidFill>
            </a:endParaRPr>
          </a:p>
          <a:p>
            <a:pPr lvl="1" indent="0">
              <a:buClr>
                <a:schemeClr val="accent1"/>
              </a:buClr>
            </a:pPr>
            <a:endParaRPr lang="fr-FR" sz="1200">
              <a:solidFill>
                <a:schemeClr val="tx1"/>
              </a:solidFill>
            </a:endParaRPr>
          </a:p>
          <a:p>
            <a:pPr lvl="1" indent="0">
              <a:buClr>
                <a:schemeClr val="accent1"/>
              </a:buClr>
            </a:pPr>
            <a:endParaRPr lang="fr-FR" sz="1200">
              <a:solidFill>
                <a:schemeClr val="tx1"/>
              </a:solidFill>
            </a:endParaRPr>
          </a:p>
          <a:p>
            <a:pPr>
              <a:buClr>
                <a:schemeClr val="accent1"/>
              </a:buClr>
            </a:pPr>
            <a:endParaRPr lang="fr-FR" sz="1200">
              <a:solidFill>
                <a:schemeClr val="tx1"/>
              </a:solidFill>
            </a:endParaRPr>
          </a:p>
          <a:p>
            <a:pPr>
              <a:buClr>
                <a:schemeClr val="accent1"/>
              </a:buClr>
            </a:pPr>
            <a:endParaRPr lang="fr-FR" sz="1100">
              <a:solidFill>
                <a:schemeClr val="tx1"/>
              </a:solidFill>
            </a:endParaRP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4A9A5029-C907-4BC5-9E38-26D19CB447B3}"/>
              </a:ext>
            </a:extLst>
          </p:cNvPr>
          <p:cNvCxnSpPr>
            <a:cxnSpLocks/>
          </p:cNvCxnSpPr>
          <p:nvPr/>
        </p:nvCxnSpPr>
        <p:spPr>
          <a:xfrm>
            <a:off x="6751320" y="0"/>
            <a:ext cx="0" cy="51435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9159070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6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9309B85-7D1F-4D6A-B8A6-81D46C849B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Approche de test API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B570E3D-A1DB-49E1-82B0-B5180E35D0B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fr-FR"/>
              <a:t>Methodes de conception et type de couverture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A53111B-216B-4CC0-B0F8-CCD904F73A2D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228696" y="1133912"/>
            <a:ext cx="6522615" cy="3412889"/>
          </a:xfrm>
        </p:spPr>
        <p:txBody>
          <a:bodyPr/>
          <a:lstStyle/>
          <a:p>
            <a:r>
              <a:rPr lang="fr-FR"/>
              <a:t>Définir une couverture de test:</a:t>
            </a:r>
          </a:p>
          <a:p>
            <a:pPr lvl="1"/>
            <a:r>
              <a:rPr lang="fr-FR"/>
              <a:t>Selon la criticité (valeurs métiers) du Web Service</a:t>
            </a:r>
          </a:p>
          <a:p>
            <a:pPr lvl="1"/>
            <a:r>
              <a:rPr lang="fr-FR"/>
              <a:t>Selon les spécifications</a:t>
            </a:r>
          </a:p>
          <a:p>
            <a:pPr lvl="1"/>
            <a:r>
              <a:rPr lang="fr-FR"/>
              <a:t>Selon la nature du service</a:t>
            </a:r>
          </a:p>
          <a:p>
            <a:pPr lvl="2"/>
            <a:r>
              <a:rPr lang="fr-FR"/>
              <a:t>Prend-il  une décision ?</a:t>
            </a:r>
          </a:p>
          <a:p>
            <a:pPr lvl="2"/>
            <a:r>
              <a:rPr lang="fr-FR"/>
              <a:t>Orchestre-t-il les actions ?</a:t>
            </a:r>
          </a:p>
          <a:p>
            <a:pPr lvl="2"/>
            <a:r>
              <a:rPr lang="fr-FR"/>
              <a:t>Transforme et persiste-t-il des données ?</a:t>
            </a:r>
          </a:p>
          <a:p>
            <a:pPr lvl="2"/>
            <a:endParaRPr lang="fr-FR"/>
          </a:p>
          <a:p>
            <a:r>
              <a:rPr lang="fr-FR"/>
              <a:t>Recommandations</a:t>
            </a:r>
          </a:p>
          <a:p>
            <a:pPr lvl="1"/>
            <a:r>
              <a:rPr lang="fr-FR"/>
              <a:t>Composant Décisionnel : Couverture de décision/condition modifiée</a:t>
            </a:r>
          </a:p>
          <a:p>
            <a:pPr lvl="1"/>
            <a:r>
              <a:rPr lang="fr-FR"/>
              <a:t>Composant Orchestration : Couverture de chemin</a:t>
            </a:r>
          </a:p>
          <a:p>
            <a:pPr lvl="1"/>
            <a:r>
              <a:rPr lang="fr-FR"/>
              <a:t>Sans spécification claire : Pair-</a:t>
            </a:r>
            <a:r>
              <a:rPr lang="fr-FR" err="1"/>
              <a:t>wise</a:t>
            </a:r>
            <a:endParaRPr lang="fr-FR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288A8D5-7834-4596-8653-0BA3302E1509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438FEFB8-6B6E-4DC1-A5E4-A1258711B442}" type="slidenum">
              <a:rPr lang="fr-FR" smtClean="0"/>
              <a:pPr/>
              <a:t>16</a:t>
            </a:fld>
            <a:endParaRPr lang="fr-FR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12FCFB52-8009-4305-97A3-46B85A21B667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9BDF7955-F206-42ED-AF71-7F007BA32E75}" type="datetime1">
              <a:rPr lang="fr-FR" smtClean="0"/>
              <a:t>20/03/2023</a:t>
            </a:fld>
            <a:endParaRPr lang="fr-FR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4B9A501-E82C-44CF-9FF0-1F1B56A6DF4A}"/>
              </a:ext>
            </a:extLst>
          </p:cNvPr>
          <p:cNvSpPr/>
          <p:nvPr/>
        </p:nvSpPr>
        <p:spPr>
          <a:xfrm>
            <a:off x="6751314" y="0"/>
            <a:ext cx="2392686" cy="514350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indent="-285750">
              <a:buClr>
                <a:schemeClr val="accent1"/>
              </a:buClr>
              <a:buFont typeface="FontAwesome" pitchFamily="2" charset="0"/>
              <a:buChar char=""/>
            </a:pPr>
            <a:endParaRPr lang="fr-FR" sz="1200">
              <a:solidFill>
                <a:schemeClr val="tx1"/>
              </a:solidFill>
            </a:endParaRPr>
          </a:p>
          <a:p>
            <a:pPr marL="285750" indent="-285750">
              <a:buClr>
                <a:schemeClr val="accent1"/>
              </a:buClr>
              <a:buFont typeface="FontAwesome" pitchFamily="2" charset="0"/>
              <a:buChar char=""/>
            </a:pPr>
            <a:endParaRPr lang="fr-FR" sz="1200">
              <a:solidFill>
                <a:schemeClr val="tx1"/>
              </a:solidFill>
            </a:endParaRPr>
          </a:p>
          <a:p>
            <a:pPr marL="285750" indent="-285750">
              <a:buClr>
                <a:schemeClr val="accent1"/>
              </a:buClr>
              <a:buFont typeface="FontAwesome" pitchFamily="2" charset="0"/>
              <a:buChar char=""/>
            </a:pPr>
            <a:endParaRPr lang="fr-FR" sz="1200">
              <a:solidFill>
                <a:schemeClr val="tx1"/>
              </a:solidFill>
            </a:endParaRPr>
          </a:p>
          <a:p>
            <a:pPr>
              <a:buClr>
                <a:schemeClr val="accent1"/>
              </a:buClr>
            </a:pPr>
            <a:endParaRPr lang="fr-FR" sz="1200">
              <a:solidFill>
                <a:schemeClr val="tx1"/>
              </a:solidFill>
            </a:endParaRPr>
          </a:p>
          <a:p>
            <a:pPr marL="285750" indent="-285750">
              <a:buClr>
                <a:schemeClr val="accent1"/>
              </a:buClr>
              <a:buFont typeface="FontAwesome" pitchFamily="2" charset="0"/>
              <a:buChar char=""/>
            </a:pPr>
            <a:endParaRPr lang="fr-FR" sz="1200">
              <a:solidFill>
                <a:schemeClr val="tx1"/>
              </a:solidFill>
            </a:endParaRPr>
          </a:p>
          <a:p>
            <a:pPr marL="285750" indent="-285750">
              <a:buClr>
                <a:schemeClr val="accent1"/>
              </a:buClr>
              <a:buFont typeface="FontAwesome" pitchFamily="2" charset="0"/>
              <a:buChar char=""/>
            </a:pPr>
            <a:r>
              <a:rPr lang="fr-FR" sz="1400">
                <a:solidFill>
                  <a:schemeClr val="tx1"/>
                </a:solidFill>
              </a:rPr>
              <a:t>Méthodes boite blanche</a:t>
            </a:r>
          </a:p>
          <a:p>
            <a:pPr lvl="1" indent="0">
              <a:buClr>
                <a:schemeClr val="accent1"/>
              </a:buClr>
            </a:pPr>
            <a:endParaRPr lang="fr-FR" sz="1100">
              <a:solidFill>
                <a:schemeClr val="tx1"/>
              </a:solidFill>
            </a:endParaRPr>
          </a:p>
          <a:p>
            <a:pPr marL="360000" indent="-171450">
              <a:spcBef>
                <a:spcPts val="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fr-FR" sz="900">
                <a:solidFill>
                  <a:schemeClr val="tx1"/>
                </a:solidFill>
              </a:rPr>
              <a:t>Couverture des Conditions</a:t>
            </a:r>
          </a:p>
          <a:p>
            <a:pPr marL="360000" indent="-171450">
              <a:spcBef>
                <a:spcPts val="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fr-FR" sz="900">
                <a:solidFill>
                  <a:schemeClr val="tx1"/>
                </a:solidFill>
              </a:rPr>
              <a:t>Couverture des Décisions</a:t>
            </a:r>
          </a:p>
          <a:p>
            <a:pPr marL="360000" indent="-171450">
              <a:spcBef>
                <a:spcPts val="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fr-FR" sz="900">
                <a:solidFill>
                  <a:schemeClr val="tx1"/>
                </a:solidFill>
              </a:rPr>
              <a:t>Couverture des Conditions/Décisions</a:t>
            </a:r>
          </a:p>
          <a:p>
            <a:pPr marL="360000" indent="-171450">
              <a:spcBef>
                <a:spcPts val="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fr-FR" sz="900">
                <a:solidFill>
                  <a:schemeClr val="tx1"/>
                </a:solidFill>
              </a:rPr>
              <a:t>Couverture des Décisions/Conditions modifié</a:t>
            </a:r>
          </a:p>
          <a:p>
            <a:pPr marL="360000" indent="-171450">
              <a:spcBef>
                <a:spcPts val="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fr-FR" sz="900">
                <a:solidFill>
                  <a:schemeClr val="tx1"/>
                </a:solidFill>
              </a:rPr>
              <a:t>Couverture des Chemins</a:t>
            </a:r>
          </a:p>
          <a:p>
            <a:pPr marL="360000" indent="-171450">
              <a:spcBef>
                <a:spcPts val="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fr-FR" sz="900">
                <a:solidFill>
                  <a:schemeClr val="tx1"/>
                </a:solidFill>
              </a:rPr>
              <a:t>Couverture des Branches</a:t>
            </a:r>
          </a:p>
          <a:p>
            <a:pPr>
              <a:buClr>
                <a:schemeClr val="accent1"/>
              </a:buClr>
            </a:pPr>
            <a:endParaRPr lang="fr-FR" sz="1100">
              <a:solidFill>
                <a:schemeClr val="tx1"/>
              </a:solidFill>
            </a:endParaRPr>
          </a:p>
          <a:p>
            <a:pPr marL="285750" indent="-285750">
              <a:buClr>
                <a:schemeClr val="accent1"/>
              </a:buClr>
              <a:buFont typeface="FontAwesome" pitchFamily="2" charset="0"/>
              <a:buChar char=""/>
            </a:pPr>
            <a:r>
              <a:rPr lang="fr-FR" sz="1400">
                <a:solidFill>
                  <a:schemeClr val="tx1"/>
                </a:solidFill>
              </a:rPr>
              <a:t>Méthodes boite noire</a:t>
            </a:r>
          </a:p>
          <a:p>
            <a:pPr lvl="1" indent="0">
              <a:buClr>
                <a:schemeClr val="accent1"/>
              </a:buClr>
            </a:pPr>
            <a:endParaRPr lang="fr-FR" sz="1200">
              <a:solidFill>
                <a:schemeClr val="tx1"/>
              </a:solidFill>
            </a:endParaRPr>
          </a:p>
          <a:p>
            <a:pPr marL="360000" lvl="1" indent="-171450">
              <a:spcBef>
                <a:spcPts val="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fr-FR" sz="900">
                <a:solidFill>
                  <a:schemeClr val="tx1"/>
                </a:solidFill>
              </a:rPr>
              <a:t>Pairwise</a:t>
            </a:r>
          </a:p>
          <a:p>
            <a:pPr marL="360000" lvl="1" indent="-171450">
              <a:spcBef>
                <a:spcPts val="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fr-FR" sz="900">
                <a:solidFill>
                  <a:schemeClr val="tx1"/>
                </a:solidFill>
              </a:rPr>
              <a:t>Tableaux de Décision</a:t>
            </a:r>
          </a:p>
          <a:p>
            <a:pPr marL="360000" lvl="1" indent="-171450">
              <a:spcBef>
                <a:spcPts val="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fr-FR" sz="900">
                <a:solidFill>
                  <a:schemeClr val="tx1"/>
                </a:solidFill>
              </a:rPr>
              <a:t>Cas d’usage</a:t>
            </a:r>
          </a:p>
          <a:p>
            <a:pPr>
              <a:spcBef>
                <a:spcPts val="0"/>
              </a:spcBef>
              <a:buClr>
                <a:schemeClr val="accent1"/>
              </a:buClr>
            </a:pPr>
            <a:endParaRPr lang="fr-FR" sz="1000">
              <a:solidFill>
                <a:schemeClr val="tx1"/>
              </a:solidFill>
            </a:endParaRPr>
          </a:p>
          <a:p>
            <a:pPr marL="285750" lvl="0" indent="-285750">
              <a:buClr>
                <a:srgbClr val="027180"/>
              </a:buClr>
              <a:buFont typeface="FontAwesome" pitchFamily="2" charset="0"/>
              <a:buChar char=""/>
            </a:pPr>
            <a:r>
              <a:rPr lang="fr-FR" sz="1400">
                <a:solidFill>
                  <a:srgbClr val="103184"/>
                </a:solidFill>
              </a:rPr>
              <a:t>Référence</a:t>
            </a:r>
          </a:p>
          <a:p>
            <a:pPr lvl="1" indent="0">
              <a:buClr>
                <a:schemeClr val="accent1"/>
              </a:buClr>
            </a:pPr>
            <a:endParaRPr lang="fr-FR" sz="1200">
              <a:solidFill>
                <a:schemeClr val="tx1"/>
              </a:solidFill>
            </a:endParaRPr>
          </a:p>
          <a:p>
            <a:pPr lvl="1" indent="0">
              <a:buClr>
                <a:schemeClr val="accent1"/>
              </a:buClr>
            </a:pPr>
            <a:endParaRPr lang="fr-FR" sz="1200">
              <a:solidFill>
                <a:schemeClr val="tx1"/>
              </a:solidFill>
            </a:endParaRPr>
          </a:p>
          <a:p>
            <a:pPr>
              <a:buClr>
                <a:schemeClr val="accent1"/>
              </a:buClr>
            </a:pPr>
            <a:endParaRPr lang="fr-FR" sz="1200">
              <a:solidFill>
                <a:schemeClr val="tx1"/>
              </a:solidFill>
            </a:endParaRPr>
          </a:p>
          <a:p>
            <a:pPr>
              <a:buClr>
                <a:schemeClr val="accent1"/>
              </a:buClr>
            </a:pPr>
            <a:endParaRPr lang="fr-FR" sz="1100">
              <a:solidFill>
                <a:schemeClr val="tx1"/>
              </a:solidFill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B70E9573-CE24-4AE6-BF35-9876FF5DB587}"/>
              </a:ext>
            </a:extLst>
          </p:cNvPr>
          <p:cNvCxnSpPr>
            <a:cxnSpLocks/>
          </p:cNvCxnSpPr>
          <p:nvPr/>
        </p:nvCxnSpPr>
        <p:spPr>
          <a:xfrm>
            <a:off x="6751320" y="0"/>
            <a:ext cx="0" cy="51435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CD05DAFC-8BD5-449F-B43C-D42C439E50A2}"/>
              </a:ext>
            </a:extLst>
          </p:cNvPr>
          <p:cNvSpPr/>
          <p:nvPr/>
        </p:nvSpPr>
        <p:spPr>
          <a:xfrm>
            <a:off x="457107" y="4301112"/>
            <a:ext cx="6030093" cy="491377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100"/>
              <a:t>Déterminer un niveau de couverture dans la stratégie de test permet d’encadrer la conception de test et améliorer l’efficacité de test</a:t>
            </a:r>
            <a:r>
              <a:rPr lang="fr-FR"/>
              <a:t> </a:t>
            </a:r>
          </a:p>
        </p:txBody>
      </p:sp>
      <mc:AlternateContent xmlns:mc="http://schemas.openxmlformats.org/markup-compatibility/2006" xmlns:pslz="http://schemas.microsoft.com/office/powerpoint/2016/slidezoom">
        <mc:Choice Requires="pslz">
          <p:graphicFrame>
            <p:nvGraphicFramePr>
              <p:cNvPr id="11" name="Slide Zoom 10">
                <a:extLst>
                  <a:ext uri="{FF2B5EF4-FFF2-40B4-BE49-F238E27FC236}">
                    <a16:creationId xmlns:a16="http://schemas.microsoft.com/office/drawing/2014/main" id="{F5222697-8A37-4620-A018-41CB75A2982B}"/>
                  </a:ext>
                </a:extLst>
              </p:cNvPr>
              <p:cNvGraphicFramePr>
                <a:graphicFrameLocks noChangeAspect="1"/>
              </p:cNvGraphicFramePr>
              <p:nvPr/>
            </p:nvGraphicFramePr>
            <p:xfrm>
              <a:off x="7057203" y="3816000"/>
              <a:ext cx="1908907" cy="1073761"/>
            </p:xfrm>
            <a:graphic>
              <a:graphicData uri="http://schemas.microsoft.com/office/powerpoint/2016/slidezoom">
                <pslz:sldZm>
                  <pslz:sldZmObj sldId="348" cId="876694218">
                    <pslz:zmPr id="{88C70BB0-7249-424D-99F1-AADCF4D159BB}" transitionDur="1000">
                      <p166:blipFill xmlns:p166="http://schemas.microsoft.com/office/powerpoint/2016/6/main">
                        <a:blip r:embed="rId3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1908907" cy="1073761"/>
                        </a:xfrm>
                        <a:prstGeom prst="rect">
                          <a:avLst/>
                        </a:prstGeom>
                        <a:ln>
                          <a:noFill/>
                        </a:ln>
                        <a:effectLst>
                          <a:outerShdw blurRad="190500" algn="tl" rotWithShape="0">
                            <a:srgbClr val="000000">
                              <a:alpha val="70000"/>
                            </a:srgbClr>
                          </a:outerShdw>
                        </a:effectLst>
                      </p166:spPr>
                    </pslz:zmPr>
                  </pslz:sldZmObj>
                </pslz:sldZm>
              </a:graphicData>
            </a:graphic>
          </p:graphicFrame>
        </mc:Choice>
        <mc:Fallback xmlns="">
          <p:pic>
            <p:nvPicPr>
              <p:cNvPr id="11" name="Slide Zoom 10">
                <a:hlinkClick r:id="rId4" action="ppaction://hlinksldjump"/>
                <a:extLst>
                  <a:ext uri="{FF2B5EF4-FFF2-40B4-BE49-F238E27FC236}">
                    <a16:creationId xmlns:a16="http://schemas.microsoft.com/office/drawing/2014/main" id="{F5222697-8A37-4620-A018-41CB75A2982B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7057203" y="3816000"/>
                <a:ext cx="1908907" cy="1073761"/>
              </a:xfrm>
              <a:prstGeom prst="rect">
                <a:avLst/>
              </a:prstGeom>
              <a:ln>
                <a:noFill/>
              </a:ln>
              <a:effectLst>
                <a:outerShdw blurRad="190500" algn="tl" rotWithShape="0">
                  <a:srgbClr val="000000">
                    <a:alpha val="70000"/>
                  </a:srgbClr>
                </a:outerShdw>
              </a:effectLst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413192536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6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C3D9152-F586-4FEB-A401-A739EE0961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Approche de test API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1B18076-36D6-4AFF-BA30-7246DC78F1F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fr-FR"/>
              <a:t>Web Service à couvrir par le test [Exemple]</a:t>
            </a:r>
          </a:p>
        </p:txBody>
      </p:sp>
      <p:graphicFrame>
        <p:nvGraphicFramePr>
          <p:cNvPr id="7" name="Table 7">
            <a:extLst>
              <a:ext uri="{FF2B5EF4-FFF2-40B4-BE49-F238E27FC236}">
                <a16:creationId xmlns:a16="http://schemas.microsoft.com/office/drawing/2014/main" id="{A75B5804-2BDF-4114-B21D-F67E9B226A38}"/>
              </a:ext>
            </a:extLst>
          </p:cNvPr>
          <p:cNvGraphicFramePr>
            <a:graphicFrameLocks noGrp="1"/>
          </p:cNvGraphicFramePr>
          <p:nvPr>
            <p:ph sz="quarter" idx="13"/>
            <p:extLst>
              <p:ext uri="{D42A27DB-BD31-4B8C-83A1-F6EECF244321}">
                <p14:modId xmlns:p14="http://schemas.microsoft.com/office/powerpoint/2010/main" val="2750265070"/>
              </p:ext>
            </p:extLst>
          </p:nvPr>
        </p:nvGraphicFramePr>
        <p:xfrm>
          <a:off x="228600" y="1133476"/>
          <a:ext cx="8596107" cy="315113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536950">
                  <a:extLst>
                    <a:ext uri="{9D8B030D-6E8A-4147-A177-3AD203B41FA5}">
                      <a16:colId xmlns:a16="http://schemas.microsoft.com/office/drawing/2014/main" val="554437639"/>
                    </a:ext>
                  </a:extLst>
                </a:gridCol>
                <a:gridCol w="2193788">
                  <a:extLst>
                    <a:ext uri="{9D8B030D-6E8A-4147-A177-3AD203B41FA5}">
                      <a16:colId xmlns:a16="http://schemas.microsoft.com/office/drawing/2014/main" val="2612371899"/>
                    </a:ext>
                  </a:extLst>
                </a:gridCol>
                <a:gridCol w="2865369">
                  <a:extLst>
                    <a:ext uri="{9D8B030D-6E8A-4147-A177-3AD203B41FA5}">
                      <a16:colId xmlns:a16="http://schemas.microsoft.com/office/drawing/2014/main" val="2754206167"/>
                    </a:ext>
                  </a:extLst>
                </a:gridCol>
              </a:tblGrid>
              <a:tr h="285007">
                <a:tc>
                  <a:txBody>
                    <a:bodyPr/>
                    <a:lstStyle/>
                    <a:p>
                      <a:r>
                        <a:rPr lang="fr-FR" sz="1100" noProof="0"/>
                        <a:t>Web Servic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1100" noProof="0"/>
                        <a:t>Typ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1100" noProof="0"/>
                        <a:t>Méthode de concep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08881029"/>
                  </a:ext>
                </a:extLst>
              </a:tr>
              <a:tr h="285007">
                <a:tc>
                  <a:txBody>
                    <a:bodyPr/>
                    <a:lstStyle/>
                    <a:p>
                      <a:r>
                        <a:rPr lang="fr-FR" sz="1100" noProof="0"/>
                        <a:t>MRM-Tarifica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1100" noProof="0"/>
                        <a:t>Décisionne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1100" noProof="0"/>
                        <a:t>Pair-wise + Cas d’usag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63684880"/>
                  </a:ext>
                </a:extLst>
              </a:tr>
              <a:tr h="285007">
                <a:tc>
                  <a:txBody>
                    <a:bodyPr/>
                    <a:lstStyle/>
                    <a:p>
                      <a:r>
                        <a:rPr lang="fr-FR" sz="1100" noProof="0"/>
                        <a:t>MRM-Eligibilité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1100" noProof="0"/>
                        <a:t>Décisionne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1100" noProof="0"/>
                        <a:t>MC/DC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82145475"/>
                  </a:ext>
                </a:extLst>
              </a:tr>
              <a:tr h="285007">
                <a:tc>
                  <a:txBody>
                    <a:bodyPr/>
                    <a:lstStyle/>
                    <a:p>
                      <a:r>
                        <a:rPr lang="fr-FR" sz="1100" noProof="0" err="1"/>
                        <a:t>ProjetetDevis-Mng-Quote</a:t>
                      </a:r>
                      <a:endParaRPr lang="fr-FR" sz="1100" noProof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1100" noProof="0"/>
                        <a:t>Persistence de donné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1100" noProof="0"/>
                        <a:t>Condition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67826835"/>
                  </a:ext>
                </a:extLst>
              </a:tr>
              <a:tr h="285007">
                <a:tc>
                  <a:txBody>
                    <a:bodyPr/>
                    <a:lstStyle/>
                    <a:p>
                      <a:r>
                        <a:rPr lang="fr-FR" sz="1100" noProof="0"/>
                        <a:t>Api-</a:t>
                      </a:r>
                      <a:r>
                        <a:rPr lang="fr-FR" sz="1100" noProof="0" err="1"/>
                        <a:t>eBusiness</a:t>
                      </a:r>
                      <a:endParaRPr lang="fr-FR" sz="1100" noProof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1100" noProof="0"/>
                        <a:t>Orchestra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1100" noProof="0"/>
                        <a:t>Couverture par chemi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31577583"/>
                  </a:ext>
                </a:extLst>
              </a:tr>
              <a:tr h="301068">
                <a:tc>
                  <a:txBody>
                    <a:bodyPr/>
                    <a:lstStyle/>
                    <a:p>
                      <a:r>
                        <a:rPr lang="fr-FR" sz="1100" noProof="0"/>
                        <a:t>…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sz="1100" noProof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sz="1100" noProof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38785239"/>
                  </a:ext>
                </a:extLst>
              </a:tr>
              <a:tr h="285007">
                <a:tc>
                  <a:txBody>
                    <a:bodyPr/>
                    <a:lstStyle/>
                    <a:p>
                      <a:r>
                        <a:rPr lang="fr-FR" sz="1100" noProof="0"/>
                        <a:t>…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sz="1100" noProof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sz="1100" noProof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98854148"/>
                  </a:ext>
                </a:extLst>
              </a:tr>
              <a:tr h="285007">
                <a:tc>
                  <a:txBody>
                    <a:bodyPr/>
                    <a:lstStyle/>
                    <a:p>
                      <a:endParaRPr lang="fr-FR" sz="1100" noProof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sz="1100" noProof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sz="1100" noProof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93034331"/>
                  </a:ext>
                </a:extLst>
              </a:tr>
              <a:tr h="285007">
                <a:tc>
                  <a:txBody>
                    <a:bodyPr/>
                    <a:lstStyle/>
                    <a:p>
                      <a:endParaRPr lang="fr-FR" sz="1100" noProof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sz="1100" noProof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sz="1100" noProof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07526179"/>
                  </a:ext>
                </a:extLst>
              </a:tr>
              <a:tr h="285007">
                <a:tc>
                  <a:txBody>
                    <a:bodyPr/>
                    <a:lstStyle/>
                    <a:p>
                      <a:endParaRPr lang="fr-FR" sz="1100" noProof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sz="1100" noProof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sz="1100" noProof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99534038"/>
                  </a:ext>
                </a:extLst>
              </a:tr>
              <a:tr h="285007">
                <a:tc>
                  <a:txBody>
                    <a:bodyPr/>
                    <a:lstStyle/>
                    <a:p>
                      <a:endParaRPr lang="fr-FR" sz="1100" noProof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sz="1100" noProof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sz="1100" noProof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20833157"/>
                  </a:ext>
                </a:extLst>
              </a:tr>
            </a:tbl>
          </a:graphicData>
        </a:graphic>
      </p:graphicFrame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495A04D-F2A0-48D7-8FBD-25275B09DF61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438FEFB8-6B6E-4DC1-A5E4-A1258711B442}" type="slidenum">
              <a:rPr lang="fr-FR" smtClean="0"/>
              <a:pPr/>
              <a:t>17</a:t>
            </a:fld>
            <a:endParaRPr lang="fr-FR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68A860ED-DF56-45BD-B4E1-313168C65400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33E2A876-6808-42D7-B9E9-0E9017F3C491}" type="datetime1">
              <a:rPr lang="fr-FR" smtClean="0"/>
              <a:t>20/03/202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00564887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6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05DEB7E-49EE-45D7-9B97-E1C9DBBAF6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Approche de test API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EAFC710-A60F-4600-930F-E04031798AA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fr-FR"/>
              <a:t>Réalisation de test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E4A9147-04B7-4744-BD77-A41EFA0C8DA8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228696" y="1133912"/>
            <a:ext cx="8556096" cy="3616658"/>
          </a:xfrm>
        </p:spPr>
        <p:txBody>
          <a:bodyPr>
            <a:normAutofit fontScale="92500" lnSpcReduction="20000"/>
          </a:bodyPr>
          <a:lstStyle/>
          <a:p>
            <a:r>
              <a:rPr lang="fr-FR"/>
              <a:t>Analyser les impacts sur les Service</a:t>
            </a:r>
          </a:p>
          <a:p>
            <a:pPr lvl="1"/>
            <a:r>
              <a:rPr lang="fr-FR"/>
              <a:t>En général pendant/après la session des 3-amigos</a:t>
            </a:r>
          </a:p>
          <a:p>
            <a:pPr lvl="1"/>
            <a:endParaRPr lang="fr-FR"/>
          </a:p>
          <a:p>
            <a:r>
              <a:rPr lang="fr-FR"/>
              <a:t>Le test doit être réalisé au plus tôt</a:t>
            </a:r>
          </a:p>
          <a:p>
            <a:pPr lvl="1"/>
            <a:r>
              <a:rPr lang="fr-FR"/>
              <a:t>La conception peut s’effectuer dès que la spécification est prête</a:t>
            </a:r>
          </a:p>
          <a:p>
            <a:pPr lvl="1"/>
            <a:r>
              <a:rPr lang="fr-FR"/>
              <a:t>L’exécution peut s’effectuer dès que le composant est installé sur l’environnement DEV.</a:t>
            </a:r>
          </a:p>
          <a:p>
            <a:pPr lvl="1"/>
            <a:endParaRPr lang="fr-FR"/>
          </a:p>
          <a:p>
            <a:r>
              <a:rPr lang="fr-FR"/>
              <a:t>Respecter la couverture de tests et les méthodes de conception de tests</a:t>
            </a:r>
          </a:p>
          <a:p>
            <a:pPr lvl="1"/>
            <a:r>
              <a:rPr lang="fr-FR"/>
              <a:t>Effectuer des tests suffisants</a:t>
            </a:r>
          </a:p>
          <a:p>
            <a:pPr lvl="1"/>
            <a:r>
              <a:rPr lang="fr-FR"/>
              <a:t>Eviter les cas de tests non “efficaces” </a:t>
            </a:r>
          </a:p>
          <a:p>
            <a:endParaRPr lang="fr-FR"/>
          </a:p>
          <a:p>
            <a:r>
              <a:rPr lang="fr-FR"/>
              <a:t>Appliquer des bonnes pratiques d’automatisation</a:t>
            </a:r>
          </a:p>
          <a:p>
            <a:pPr lvl="1"/>
            <a:r>
              <a:rPr lang="fr-FR"/>
              <a:t>Utiliser les assertions pour vérifier les résultats de test</a:t>
            </a:r>
          </a:p>
          <a:p>
            <a:pPr lvl="1"/>
            <a:r>
              <a:rPr lang="fr-FR"/>
              <a:t>Utiliser les données dynamiques (</a:t>
            </a:r>
            <a:r>
              <a:rPr lang="fr-FR" err="1"/>
              <a:t>Acces</a:t>
            </a:r>
            <a:r>
              <a:rPr lang="fr-FR"/>
              <a:t> </a:t>
            </a:r>
            <a:r>
              <a:rPr lang="fr-FR" err="1"/>
              <a:t>Token</a:t>
            </a:r>
            <a:r>
              <a:rPr lang="fr-FR"/>
              <a:t>, </a:t>
            </a:r>
            <a:r>
              <a:rPr lang="fr-FR" err="1"/>
              <a:t>Personas</a:t>
            </a:r>
            <a:r>
              <a:rPr lang="fr-FR"/>
              <a:t>)</a:t>
            </a:r>
          </a:p>
          <a:p>
            <a:pPr lvl="1"/>
            <a:r>
              <a:rPr lang="fr-FR"/>
              <a:t>Utiliser les méthodes adaptées</a:t>
            </a:r>
            <a:r>
              <a:rPr lang="en-US"/>
              <a:t> : </a:t>
            </a:r>
            <a:r>
              <a:rPr lang="fr-FR"/>
              <a:t>test piloté par les données par exemple</a:t>
            </a:r>
          </a:p>
          <a:p>
            <a:pPr lvl="1"/>
            <a:r>
              <a:rPr lang="fr-FR"/>
              <a:t>Exécuter les tests sur plusieurs environnement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22DA2EC-3E3D-4A34-B6DC-6BE2306BA781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438FEFB8-6B6E-4DC1-A5E4-A1258711B442}" type="slidenum">
              <a:rPr lang="fr-FR" smtClean="0"/>
              <a:pPr/>
              <a:t>18</a:t>
            </a:fld>
            <a:endParaRPr lang="fr-FR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30C160D2-2559-489E-822D-5CA8DE5583C6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B4A680D3-9AFD-42F4-AF6A-12822E2B8DD2}" type="datetime1">
              <a:rPr lang="fr-FR" smtClean="0"/>
              <a:t>20/03/202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05777806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5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68118C-5BF6-443C-A2EC-463F5CAA2F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Approche de test Scenarios d’Acceptation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95B1184-1EAB-4FA1-BF84-E943A1FD9E3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fr-FR"/>
              <a:t>Automatisation des scenarios d’Acceptation</a:t>
            </a:r>
          </a:p>
        </p:txBody>
      </p:sp>
      <p:sp>
        <p:nvSpPr>
          <p:cNvPr id="11" name="Content Placeholder 9">
            <a:extLst>
              <a:ext uri="{FF2B5EF4-FFF2-40B4-BE49-F238E27FC236}">
                <a16:creationId xmlns:a16="http://schemas.microsoft.com/office/drawing/2014/main" id="{94FCB41A-BFF6-4A94-B8EF-097D6FBF744F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>
            <a:normAutofit/>
          </a:bodyPr>
          <a:lstStyle/>
          <a:p>
            <a:r>
              <a:rPr lang="fr-FR"/>
              <a:t>Identification</a:t>
            </a:r>
          </a:p>
          <a:p>
            <a:pPr lvl="1"/>
            <a:r>
              <a:rPr lang="fr-FR"/>
              <a:t>Qui : Développeur Front, PO, Testeur</a:t>
            </a:r>
          </a:p>
          <a:p>
            <a:pPr lvl="1"/>
            <a:r>
              <a:rPr lang="fr-FR"/>
              <a:t>Quand : Durant la session des 3-Amigos, Définir les scenarios d’acceptance pour US et sélectionner les scenarios à automatiser.</a:t>
            </a:r>
          </a:p>
          <a:p>
            <a:endParaRPr lang="fr-FR"/>
          </a:p>
          <a:p>
            <a:r>
              <a:rPr lang="fr-FR"/>
              <a:t>Développement et Déploiement</a:t>
            </a:r>
          </a:p>
          <a:p>
            <a:pPr lvl="1"/>
            <a:r>
              <a:rPr lang="fr-FR"/>
              <a:t>L’automatisation des scenarios d’acceptance est en générale assurée par le développeur front, via la méthode BDD (</a:t>
            </a:r>
            <a:r>
              <a:rPr lang="fr-FR" err="1"/>
              <a:t>Behavior</a:t>
            </a:r>
            <a:r>
              <a:rPr lang="fr-FR"/>
              <a:t> Driven </a:t>
            </a:r>
            <a:r>
              <a:rPr lang="fr-FR" err="1"/>
              <a:t>Development</a:t>
            </a:r>
            <a:r>
              <a:rPr lang="fr-FR"/>
              <a:t>)</a:t>
            </a:r>
          </a:p>
          <a:p>
            <a:pPr lvl="1"/>
            <a:r>
              <a:rPr lang="fr-FR"/>
              <a:t>Les scénarios sont souvent exprimés en </a:t>
            </a:r>
            <a:r>
              <a:rPr lang="fr-FR" err="1"/>
              <a:t>Gherkin</a:t>
            </a:r>
            <a:r>
              <a:rPr lang="fr-FR"/>
              <a:t> et automatisés avec l’outil habituel des développeurs</a:t>
            </a:r>
          </a:p>
          <a:p>
            <a:pPr lvl="1"/>
            <a:r>
              <a:rPr lang="fr-FR"/>
              <a:t>L’ exécution de ces tests est intégrée dans le process DevOp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96EEE8B-CDD6-48A7-8A7E-ED70175464CF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438FEFB8-6B6E-4DC1-A5E4-A1258711B442}" type="slidenum">
              <a:rPr lang="fr-FR" smtClean="0"/>
              <a:pPr/>
              <a:t>19</a:t>
            </a:fld>
            <a:endParaRPr lang="fr-FR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34B04065-B5E0-4C04-98E9-A81C2DA0CEB1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33E2A876-6808-42D7-B9E9-0E9017F3C491}" type="datetime1">
              <a:rPr lang="fr-FR"/>
              <a:t>20/03/202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675789009"/>
      </p:ext>
    </p:extLst>
  </p:cSld>
  <p:clrMapOvr>
    <a:masterClrMapping/>
  </p:clrMapOvr>
</p:sld>
</file>

<file path=ppt/slides/slide1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5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68118C-5BF6-443C-A2EC-463F5CAA2F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Approche de test Scenarios d’Acceptation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95B1184-1EAB-4FA1-BF84-E943A1FD9E3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fr-FR"/>
              <a:t>Automatisation des scenarios d’Acceptation</a:t>
            </a:r>
          </a:p>
        </p:txBody>
      </p:sp>
      <p:sp>
        <p:nvSpPr>
          <p:cNvPr id="11" name="Content Placeholder 9">
            <a:extLst>
              <a:ext uri="{FF2B5EF4-FFF2-40B4-BE49-F238E27FC236}">
                <a16:creationId xmlns:a16="http://schemas.microsoft.com/office/drawing/2014/main" id="{94FCB41A-BFF6-4A94-B8EF-097D6FBF744F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>
            <a:normAutofit/>
          </a:bodyPr>
          <a:lstStyle/>
          <a:p>
            <a:r>
              <a:rPr lang="fr-FR"/>
              <a:t>Identification</a:t>
            </a:r>
          </a:p>
          <a:p>
            <a:pPr lvl="1"/>
            <a:r>
              <a:rPr lang="fr-FR"/>
              <a:t>Qui : Développeur Front, PO, Testeur</a:t>
            </a:r>
          </a:p>
          <a:p>
            <a:pPr lvl="1"/>
            <a:r>
              <a:rPr lang="fr-FR"/>
              <a:t>Quand : Durant la session des 3-Amigos, Définir les scenarios d’acceptance pour US et sélectionner les scenarios à automatiser.</a:t>
            </a:r>
          </a:p>
          <a:p>
            <a:endParaRPr lang="fr-FR"/>
          </a:p>
          <a:p>
            <a:r>
              <a:rPr lang="fr-FR"/>
              <a:t>Développement et Déploiement</a:t>
            </a:r>
          </a:p>
          <a:p>
            <a:pPr lvl="1"/>
            <a:r>
              <a:rPr lang="fr-FR"/>
              <a:t>L’automatisation des scenarios d’acceptance est en générale assurée par le développeur front, via la méthode BDD (</a:t>
            </a:r>
            <a:r>
              <a:rPr lang="fr-FR" err="1"/>
              <a:t>Behavior</a:t>
            </a:r>
            <a:r>
              <a:rPr lang="fr-FR"/>
              <a:t> Driven </a:t>
            </a:r>
            <a:r>
              <a:rPr lang="fr-FR" err="1"/>
              <a:t>Development</a:t>
            </a:r>
            <a:r>
              <a:rPr lang="fr-FR"/>
              <a:t>)</a:t>
            </a:r>
          </a:p>
          <a:p>
            <a:pPr lvl="1"/>
            <a:r>
              <a:rPr lang="fr-FR"/>
              <a:t>Les scénarios sont souvent exprimés en </a:t>
            </a:r>
            <a:r>
              <a:rPr lang="fr-FR" err="1"/>
              <a:t>Gherkin</a:t>
            </a:r>
            <a:r>
              <a:rPr lang="fr-FR"/>
              <a:t> et automatisés avec l’outil habituel des développeurs</a:t>
            </a:r>
          </a:p>
          <a:p>
            <a:pPr lvl="1"/>
            <a:r>
              <a:rPr lang="fr-FR"/>
              <a:t>L’ exécution de ces tests est intégrée dans le process DevOp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96EEE8B-CDD6-48A7-8A7E-ED70175464CF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438FEFB8-6B6E-4DC1-A5E4-A1258711B442}" type="slidenum">
              <a:rPr lang="fr-FR" smtClean="0"/>
              <a:pPr/>
              <a:t>19</a:t>
            </a:fld>
            <a:endParaRPr lang="fr-FR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34B04065-B5E0-4C04-98E9-A81C2DA0CEB1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33E2A876-6808-42D7-B9E9-0E9017F3C491}" type="datetime1">
              <a:rPr lang="fr-FR"/>
              <a:t>13/03/202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67578900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F749EA5F-3AD8-955B-E738-92595941DFB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Objectif de ce document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941C25D-979D-354B-A812-B7B8A930A62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B280346A-5616-9285-6DB6-D5491275A797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fr-FR"/>
              <a:t>Ce document partage la stratégie d’automatisation de test et aussi un guideline sur les approches et les moyens pour implémenter cette stratégie dans une tribu.</a:t>
            </a:r>
          </a:p>
          <a:p>
            <a:endParaRPr lang="fr-FR"/>
          </a:p>
          <a:p>
            <a:r>
              <a:rPr lang="fr-FR"/>
              <a:t>Ce document pourrait servir à construire et à</a:t>
            </a:r>
            <a:r>
              <a:rPr lang="en-US"/>
              <a:t> completer</a:t>
            </a:r>
            <a:r>
              <a:rPr lang="fr-FR"/>
              <a:t> la stratégie de test tribu en fonction de la configuration d’équipe. </a:t>
            </a:r>
          </a:p>
          <a:p>
            <a:pPr marL="0" indent="0">
              <a:buNone/>
            </a:pP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10586291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1F4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0DFCC74-A22C-4FF0-9ECA-9EF632A226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Approche de test Parcours clé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22AC73B-5D32-4F10-89D5-F4EE5BBE8C4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fr-FR"/>
              <a:t>Automatisation de Parcours clé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08B9969-6075-4216-9F0F-2637BC8B1EFC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fr-FR"/>
              <a:t>Objectif:</a:t>
            </a:r>
          </a:p>
          <a:p>
            <a:pPr lvl="1"/>
            <a:r>
              <a:rPr lang="fr-FR"/>
              <a:t>Automatiser le test de parcours clés pour assurer l’utilisabilité</a:t>
            </a:r>
            <a:r>
              <a:rPr lang="en-US"/>
              <a:t> du </a:t>
            </a:r>
            <a:r>
              <a:rPr lang="en-US" err="1"/>
              <a:t>Système</a:t>
            </a:r>
            <a:r>
              <a:rPr lang="en-US"/>
              <a:t> Informatique </a:t>
            </a:r>
            <a:endParaRPr lang="fr-FR"/>
          </a:p>
          <a:p>
            <a:pPr lvl="1"/>
            <a:endParaRPr lang="fr-FR"/>
          </a:p>
          <a:p>
            <a:r>
              <a:rPr lang="fr-FR"/>
              <a:t>Définition</a:t>
            </a:r>
          </a:p>
          <a:p>
            <a:pPr lvl="1"/>
            <a:r>
              <a:rPr lang="fr-FR"/>
              <a:t>Un parcours est un processus métier contenant un enchainement d’actions permettant à un client de répondre à son besoin.</a:t>
            </a:r>
          </a:p>
          <a:p>
            <a:pPr lvl="1"/>
            <a:r>
              <a:rPr lang="fr-FR"/>
              <a:t>Un parcours est jugé clé lorsqu'il représente une forte valeur pour le client et pour l’entreprise.</a:t>
            </a:r>
          </a:p>
          <a:p>
            <a:pPr lvl="1"/>
            <a:r>
              <a:rPr lang="fr-FR"/>
              <a:t>La stratégie d’automatisation vise à couvrir prioritairement ces parcours clés.</a:t>
            </a:r>
          </a:p>
          <a:p>
            <a:pPr marL="406974" lvl="1" indent="0">
              <a:buNone/>
            </a:pPr>
            <a:endParaRPr lang="fr-FR"/>
          </a:p>
          <a:p>
            <a:r>
              <a:rPr lang="fr-FR"/>
              <a:t>Processus: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BF06FFF-625E-4677-9A30-717F30D45621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438FEFB8-6B6E-4DC1-A5E4-A1258711B442}" type="slidenum">
              <a:rPr lang="fr-FR" smtClean="0"/>
              <a:pPr/>
              <a:t>20</a:t>
            </a:fld>
            <a:endParaRPr lang="fr-FR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77DE8886-EE79-4691-B3C5-04736A8CAF5E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33E2A876-6808-42D7-B9E9-0E9017F3C491}" type="datetime1">
              <a:rPr lang="fr-FR" smtClean="0"/>
              <a:t>20/03/2023</a:t>
            </a:fld>
            <a:endParaRPr lang="fr-FR"/>
          </a:p>
        </p:txBody>
      </p:sp>
      <p:graphicFrame>
        <p:nvGraphicFramePr>
          <p:cNvPr id="7" name="Diagram 6">
            <a:extLst>
              <a:ext uri="{FF2B5EF4-FFF2-40B4-BE49-F238E27FC236}">
                <a16:creationId xmlns:a16="http://schemas.microsoft.com/office/drawing/2014/main" id="{FC1242F6-099D-4226-8B6C-DABE46575A3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36328415"/>
              </p:ext>
            </p:extLst>
          </p:nvPr>
        </p:nvGraphicFramePr>
        <p:xfrm>
          <a:off x="1398694" y="3464311"/>
          <a:ext cx="6096000" cy="151003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1728893319"/>
      </p:ext>
    </p:extLst>
  </p:cSld>
  <p:clrMapOvr>
    <a:masterClrMapping/>
  </p:clrMapOvr>
</p:sld>
</file>

<file path=ppt/slides/slide2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1F4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0DFCC74-A22C-4FF0-9ECA-9EF632A226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Approche de test Parcours clé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22AC73B-5D32-4F10-89D5-F4EE5BBE8C4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fr-FR"/>
              <a:t>Automatisation de Parcours clé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08B9969-6075-4216-9F0F-2637BC8B1EFC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fr-FR"/>
              <a:t>Objectif:</a:t>
            </a:r>
          </a:p>
          <a:p>
            <a:pPr lvl="1"/>
            <a:r>
              <a:rPr lang="fr-FR"/>
              <a:t>Automatiser le test de parcours clés pour assurer l’utilisabilité</a:t>
            </a:r>
            <a:r>
              <a:rPr lang="en-US"/>
              <a:t> du </a:t>
            </a:r>
            <a:r>
              <a:rPr lang="en-US" err="1"/>
              <a:t>Système</a:t>
            </a:r>
            <a:r>
              <a:rPr lang="en-US"/>
              <a:t> Informatique </a:t>
            </a:r>
            <a:endParaRPr lang="fr-FR"/>
          </a:p>
          <a:p>
            <a:pPr lvl="1"/>
            <a:endParaRPr lang="fr-FR"/>
          </a:p>
          <a:p>
            <a:r>
              <a:rPr lang="fr-FR"/>
              <a:t>Définition</a:t>
            </a:r>
          </a:p>
          <a:p>
            <a:pPr lvl="1"/>
            <a:r>
              <a:rPr lang="fr-FR"/>
              <a:t>Un parcours est un processus métier contenant un enchainement d’actions permettant à un client de répondre à son besoin.</a:t>
            </a:r>
          </a:p>
          <a:p>
            <a:pPr lvl="1"/>
            <a:r>
              <a:rPr lang="fr-FR"/>
              <a:t>Un parcours est jugé clé lorsqu'il représente une forte valeur pour le client et pour l’entreprise.</a:t>
            </a:r>
          </a:p>
          <a:p>
            <a:pPr lvl="1"/>
            <a:r>
              <a:rPr lang="fr-FR"/>
              <a:t>La stratégie d’automatisation vise à couvrir prioritairement ces parcours clés.</a:t>
            </a:r>
          </a:p>
          <a:p>
            <a:pPr marL="406974" lvl="1" indent="0">
              <a:buNone/>
            </a:pPr>
            <a:endParaRPr lang="fr-FR"/>
          </a:p>
          <a:p>
            <a:r>
              <a:rPr lang="fr-FR"/>
              <a:t>Processus: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BF06FFF-625E-4677-9A30-717F30D45621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438FEFB8-6B6E-4DC1-A5E4-A1258711B442}" type="slidenum">
              <a:rPr lang="fr-FR" smtClean="0"/>
              <a:pPr/>
              <a:t>20</a:t>
            </a:fld>
            <a:endParaRPr lang="fr-FR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77DE8886-EE79-4691-B3C5-04736A8CAF5E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33E2A876-6808-42D7-B9E9-0E9017F3C491}" type="datetime1">
              <a:rPr lang="fr-FR" smtClean="0"/>
              <a:t>13/03/2023</a:t>
            </a:fld>
            <a:endParaRPr lang="fr-FR"/>
          </a:p>
        </p:txBody>
      </p:sp>
      <p:graphicFrame>
        <p:nvGraphicFramePr>
          <p:cNvPr id="7" name="Diagram 6">
            <a:extLst>
              <a:ext uri="{FF2B5EF4-FFF2-40B4-BE49-F238E27FC236}">
                <a16:creationId xmlns:a16="http://schemas.microsoft.com/office/drawing/2014/main" id="{FC1242F6-099D-4226-8B6C-DABE46575A3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36328415"/>
              </p:ext>
            </p:extLst>
          </p:nvPr>
        </p:nvGraphicFramePr>
        <p:xfrm>
          <a:off x="1398694" y="3464311"/>
          <a:ext cx="6096000" cy="151003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172889331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1F4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11B5C40-23A7-4240-B895-F3E6AAF775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3896" y="208520"/>
            <a:ext cx="8596209" cy="337232"/>
          </a:xfrm>
        </p:spPr>
        <p:txBody>
          <a:bodyPr/>
          <a:lstStyle/>
          <a:p>
            <a:r>
              <a:rPr lang="fr-FR"/>
              <a:t>Approche de test Parcours clé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A2447AE-3460-4681-9C32-75C129FD652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73895" y="561398"/>
            <a:ext cx="8596106" cy="252924"/>
          </a:xfrm>
        </p:spPr>
        <p:txBody>
          <a:bodyPr/>
          <a:lstStyle/>
          <a:p>
            <a:r>
              <a:rPr lang="fr-FR"/>
              <a:t>Identification des parcours clés</a:t>
            </a:r>
          </a:p>
          <a:p>
            <a:endParaRPr lang="fr-FR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3082DF56-5EEB-4571-8A6D-0247D9D1CD76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273150" y="864525"/>
            <a:ext cx="8817868" cy="4039195"/>
          </a:xfrm>
        </p:spPr>
        <p:txBody>
          <a:bodyPr lIns="107040" tIns="53520" rIns="107040" bIns="53520" anchor="t">
            <a:normAutofit fontScale="92500" lnSpcReduction="20000"/>
          </a:bodyPr>
          <a:lstStyle/>
          <a:p>
            <a:pPr marL="304165" indent="-304165">
              <a:lnSpc>
                <a:spcPct val="120000"/>
              </a:lnSpc>
            </a:pPr>
            <a:r>
              <a:rPr lang="fr-FR" sz="1200"/>
              <a:t>Quand : Début de la release, idéalement durant la présentation des MMF au PI Planning</a:t>
            </a:r>
            <a:endParaRPr lang="en-US"/>
          </a:p>
          <a:p>
            <a:pPr marL="304165" indent="-304165">
              <a:lnSpc>
                <a:spcPct val="120000"/>
              </a:lnSpc>
            </a:pPr>
            <a:r>
              <a:rPr lang="fr-FR" sz="1200"/>
              <a:t>Qui : Testeur Automaticien, Test Lead, Product </a:t>
            </a:r>
            <a:r>
              <a:rPr lang="fr-FR" sz="1200" err="1"/>
              <a:t>Owner</a:t>
            </a:r>
            <a:r>
              <a:rPr lang="fr-FR" sz="1200"/>
              <a:t> (ou représentant métier)</a:t>
            </a:r>
            <a:endParaRPr lang="fr-FR" sz="1200">
              <a:ea typeface="Source Sans Pro"/>
            </a:endParaRPr>
          </a:p>
          <a:p>
            <a:pPr marL="304165" indent="-304165">
              <a:lnSpc>
                <a:spcPct val="120000"/>
              </a:lnSpc>
            </a:pPr>
            <a:r>
              <a:rPr lang="fr-FR" sz="1200"/>
              <a:t>Fréquence : Identification et Revue des parcours clés à revoir une fois par release:</a:t>
            </a:r>
            <a:endParaRPr lang="fr-FR" sz="1200">
              <a:ea typeface="Source Sans Pro"/>
            </a:endParaRPr>
          </a:p>
          <a:p>
            <a:pPr marL="661035" lvl="1" indent="-254000">
              <a:lnSpc>
                <a:spcPct val="120000"/>
              </a:lnSpc>
            </a:pPr>
            <a:r>
              <a:rPr lang="fr-FR" sz="1100"/>
              <a:t>Ajouter les nouveaux parcours clés</a:t>
            </a:r>
            <a:endParaRPr lang="fr-FR" sz="1100">
              <a:ea typeface="Source Sans Pro"/>
            </a:endParaRPr>
          </a:p>
          <a:p>
            <a:pPr marL="661035" lvl="1" indent="-254000">
              <a:lnSpc>
                <a:spcPct val="120000"/>
              </a:lnSpc>
            </a:pPr>
            <a:r>
              <a:rPr lang="fr-FR" sz="1100"/>
              <a:t>Ajuster la profondeur de test pour un parcours existant</a:t>
            </a:r>
            <a:endParaRPr lang="fr-FR" sz="1100">
              <a:ea typeface="Source Sans Pro"/>
            </a:endParaRPr>
          </a:p>
          <a:p>
            <a:pPr marL="661035" lvl="1" indent="-254000">
              <a:lnSpc>
                <a:spcPct val="120000"/>
              </a:lnSpc>
            </a:pPr>
            <a:r>
              <a:rPr lang="fr-FR" sz="1100"/>
              <a:t>Supprimer les parcours clés obsolètes</a:t>
            </a:r>
            <a:endParaRPr lang="fr-FR" sz="1100">
              <a:ea typeface="Source Sans Pro"/>
            </a:endParaRPr>
          </a:p>
          <a:p>
            <a:pPr marL="945515" lvl="2" indent="-209550">
              <a:lnSpc>
                <a:spcPct val="120000"/>
              </a:lnSpc>
            </a:pPr>
            <a:endParaRPr lang="fr-FR" sz="900">
              <a:ea typeface="Source Sans Pro"/>
            </a:endParaRPr>
          </a:p>
          <a:p>
            <a:pPr marL="304165" indent="-304165">
              <a:lnSpc>
                <a:spcPct val="120000"/>
              </a:lnSpc>
            </a:pPr>
            <a:r>
              <a:rPr lang="fr-FR" sz="1200"/>
              <a:t>Critères d’évaluation des parcours clés</a:t>
            </a:r>
            <a:endParaRPr lang="fr-FR" sz="1200">
              <a:ea typeface="Source Sans Pro"/>
            </a:endParaRPr>
          </a:p>
          <a:p>
            <a:pPr marL="661035" lvl="1" indent="-254000">
              <a:lnSpc>
                <a:spcPct val="120000"/>
              </a:lnSpc>
            </a:pPr>
            <a:r>
              <a:rPr lang="fr-FR" sz="1000" b="1"/>
              <a:t>Risque produit : </a:t>
            </a:r>
          </a:p>
          <a:p>
            <a:pPr lvl="2">
              <a:lnSpc>
                <a:spcPct val="120000"/>
              </a:lnSpc>
            </a:pPr>
            <a:r>
              <a:rPr lang="fr-FR" sz="1000"/>
              <a:t>Le parcours présente une forte valeur pour le client et pour l’entreprise</a:t>
            </a:r>
          </a:p>
          <a:p>
            <a:pPr marL="945515" lvl="2" indent="-209550">
              <a:lnSpc>
                <a:spcPct val="120000"/>
              </a:lnSpc>
            </a:pPr>
            <a:r>
              <a:rPr lang="fr-FR" sz="1000"/>
              <a:t>Ou le parcours présente une couverture fonctionnelle importante</a:t>
            </a:r>
            <a:endParaRPr lang="fr-FR" sz="1000">
              <a:ea typeface="Source Sans Pro"/>
            </a:endParaRPr>
          </a:p>
          <a:p>
            <a:pPr marL="945515" lvl="2" indent="-209550">
              <a:lnSpc>
                <a:spcPct val="120000"/>
              </a:lnSpc>
            </a:pPr>
            <a:r>
              <a:rPr lang="fr-FR" sz="1000"/>
              <a:t>Plus le risque est élevé, plus il est favorable de l’automatiser</a:t>
            </a:r>
            <a:endParaRPr lang="fr-FR" sz="1000">
              <a:ea typeface="Source Sans Pro"/>
            </a:endParaRPr>
          </a:p>
          <a:p>
            <a:pPr marL="661035" lvl="1" indent="-254000">
              <a:lnSpc>
                <a:spcPct val="120000"/>
              </a:lnSpc>
            </a:pPr>
            <a:r>
              <a:rPr lang="fr-FR" sz="1000" b="1"/>
              <a:t>Répétition </a:t>
            </a:r>
            <a:r>
              <a:rPr lang="fr-FR" sz="1000"/>
              <a:t>: </a:t>
            </a:r>
            <a:endParaRPr lang="fr-FR" sz="1000">
              <a:ea typeface="Source Sans Pro"/>
            </a:endParaRPr>
          </a:p>
          <a:p>
            <a:pPr marL="945515" lvl="2" indent="-209550">
              <a:lnSpc>
                <a:spcPct val="120000"/>
              </a:lnSpc>
            </a:pPr>
            <a:r>
              <a:rPr lang="fr-FR" sz="1000"/>
              <a:t>la fonctionnalité de ce parcours sera utilisée sur le long terme</a:t>
            </a:r>
            <a:endParaRPr lang="fr-FR" sz="1000">
              <a:ea typeface="Source Sans Pro"/>
            </a:endParaRPr>
          </a:p>
          <a:p>
            <a:pPr marL="945515" lvl="2" indent="-209550">
              <a:lnSpc>
                <a:spcPct val="120000"/>
              </a:lnSpc>
            </a:pPr>
            <a:r>
              <a:rPr lang="fr-FR" sz="1000"/>
              <a:t>Ne pas automatiser les fonctionnalités temporaires ou contournements qui ne durent qu’une ou deux cadences. </a:t>
            </a:r>
            <a:endParaRPr lang="fr-FR" sz="1000">
              <a:ea typeface="Source Sans Pro"/>
            </a:endParaRPr>
          </a:p>
          <a:p>
            <a:pPr marL="945515" lvl="2" indent="-209550">
              <a:lnSpc>
                <a:spcPct val="120000"/>
              </a:lnSpc>
            </a:pPr>
            <a:r>
              <a:rPr lang="fr-FR" sz="1000"/>
              <a:t>Automatiser les parcours exécutés fréquemment</a:t>
            </a:r>
            <a:endParaRPr lang="fr-FR" sz="1000">
              <a:ea typeface="Source Sans Pro"/>
            </a:endParaRPr>
          </a:p>
          <a:p>
            <a:pPr marL="661035" lvl="1" indent="-254000">
              <a:lnSpc>
                <a:spcPct val="120000"/>
              </a:lnSpc>
            </a:pPr>
            <a:r>
              <a:rPr lang="fr-FR" sz="1000" b="1"/>
              <a:t>Complexité pour le test manuel </a:t>
            </a:r>
            <a:r>
              <a:rPr lang="fr-FR" sz="1000"/>
              <a:t>: </a:t>
            </a:r>
            <a:endParaRPr lang="fr-FR" sz="1000">
              <a:ea typeface="Source Sans Pro"/>
            </a:endParaRPr>
          </a:p>
          <a:p>
            <a:pPr marL="945515" lvl="2" indent="-209550">
              <a:lnSpc>
                <a:spcPct val="120000"/>
              </a:lnSpc>
            </a:pPr>
            <a:r>
              <a:rPr lang="fr-FR" sz="1000"/>
              <a:t>Test manuel complexe (beaucoup de manipulations, de vérifications, des jeux de données ) </a:t>
            </a:r>
            <a:r>
              <a:rPr lang="fr-FR" sz="1000">
                <a:sym typeface="Wingdings" panose="05000000000000000000" pitchFamily="2" charset="2"/>
              </a:rPr>
              <a:t> L’ Automatisation devient très bénéfique pour éviter les erreurs humaines</a:t>
            </a:r>
            <a:endParaRPr lang="fr-FR" sz="1000">
              <a:ea typeface="Source Sans Pro"/>
            </a:endParaRPr>
          </a:p>
          <a:p>
            <a:pPr marL="661035" lvl="1" indent="-254000">
              <a:lnSpc>
                <a:spcPct val="120000"/>
              </a:lnSpc>
            </a:pPr>
            <a:r>
              <a:rPr lang="fr-FR" sz="1000" b="1"/>
              <a:t>Complexité pour l’automatisation : </a:t>
            </a:r>
            <a:endParaRPr lang="fr-FR" sz="1000" b="1">
              <a:ea typeface="Source Sans Pro"/>
            </a:endParaRPr>
          </a:p>
          <a:p>
            <a:pPr marL="945515" lvl="2" indent="-209550">
              <a:lnSpc>
                <a:spcPct val="120000"/>
              </a:lnSpc>
            </a:pPr>
            <a:r>
              <a:rPr lang="fr-FR" sz="1000"/>
              <a:t>Parcours techniquement automatisable avec les outils et technologies existantes ou non </a:t>
            </a:r>
            <a:endParaRPr lang="fr-FR" sz="1000">
              <a:ea typeface="Source Sans Pro"/>
            </a:endParaRPr>
          </a:p>
          <a:p>
            <a:pPr marL="945515" lvl="2" indent="-209550">
              <a:lnSpc>
                <a:spcPct val="120000"/>
              </a:lnSpc>
            </a:pPr>
            <a:r>
              <a:rPr lang="fr-FR" sz="1000"/>
              <a:t>L’environnement de test est stable ou non</a:t>
            </a:r>
            <a:endParaRPr lang="fr-FR" sz="1000">
              <a:ea typeface="Source Sans Pro"/>
            </a:endParaRPr>
          </a:p>
          <a:p>
            <a:pPr marL="945515" lvl="2" indent="-209550">
              <a:lnSpc>
                <a:spcPct val="120000"/>
              </a:lnSpc>
            </a:pPr>
            <a:r>
              <a:rPr lang="fr-FR" sz="1000"/>
              <a:t>Interconnexion avec les composants tiers effectif ou non</a:t>
            </a:r>
            <a:endParaRPr lang="fr-FR" sz="1000">
              <a:ea typeface="Source Sans Pro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3EDD76C-83DA-4A4E-A32F-7CBAFA674DDA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273150" y="4759574"/>
            <a:ext cx="252710" cy="169157"/>
          </a:xfrm>
        </p:spPr>
        <p:txBody>
          <a:bodyPr/>
          <a:lstStyle/>
          <a:p>
            <a:fld id="{438FEFB8-6B6E-4DC1-A5E4-A1258711B442}" type="slidenum">
              <a:rPr lang="fr-FR" smtClean="0"/>
              <a:pPr/>
              <a:t>21</a:t>
            </a:fld>
            <a:endParaRPr lang="fr-FR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D7E4B1E8-AAFE-4971-B0FE-88762DCEBFC6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7827014" y="4702374"/>
            <a:ext cx="754278" cy="273254"/>
          </a:xfrm>
        </p:spPr>
        <p:txBody>
          <a:bodyPr/>
          <a:lstStyle/>
          <a:p>
            <a:fld id="{33E2A876-6808-42D7-B9E9-0E9017F3C491}" type="datetime1">
              <a:rPr lang="fr-FR" smtClean="0"/>
              <a:t>20/03/202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831867188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2"/>
    </p:ext>
  </p:extLs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1F4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290AFE0-0993-470C-B43F-41AFFF87E4E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Approche de test Parcours clé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6DB8F50-9AB5-4150-9684-A33B3C0A0F1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fr-FR"/>
              <a:t>Critères de sélection pour l’automatisation d’un parcours clé</a:t>
            </a:r>
          </a:p>
        </p:txBody>
      </p:sp>
      <p:graphicFrame>
        <p:nvGraphicFramePr>
          <p:cNvPr id="7" name="Table 7">
            <a:extLst>
              <a:ext uri="{FF2B5EF4-FFF2-40B4-BE49-F238E27FC236}">
                <a16:creationId xmlns:a16="http://schemas.microsoft.com/office/drawing/2014/main" id="{C8742BCF-45E8-4D13-AFA9-E0E48607728B}"/>
              </a:ext>
            </a:extLst>
          </p:cNvPr>
          <p:cNvGraphicFramePr>
            <a:graphicFrameLocks noGrp="1"/>
          </p:cNvGraphicFramePr>
          <p:nvPr>
            <p:ph sz="quarter" idx="13"/>
            <p:extLst>
              <p:ext uri="{D42A27DB-BD31-4B8C-83A1-F6EECF244321}">
                <p14:modId xmlns:p14="http://schemas.microsoft.com/office/powerpoint/2010/main" val="2955704152"/>
              </p:ext>
            </p:extLst>
          </p:nvPr>
        </p:nvGraphicFramePr>
        <p:xfrm>
          <a:off x="228600" y="1133475"/>
          <a:ext cx="8556622" cy="21945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592295">
                  <a:extLst>
                    <a:ext uri="{9D8B030D-6E8A-4147-A177-3AD203B41FA5}">
                      <a16:colId xmlns:a16="http://schemas.microsoft.com/office/drawing/2014/main" val="835093652"/>
                    </a:ext>
                  </a:extLst>
                </a:gridCol>
                <a:gridCol w="1237129">
                  <a:extLst>
                    <a:ext uri="{9D8B030D-6E8A-4147-A177-3AD203B41FA5}">
                      <a16:colId xmlns:a16="http://schemas.microsoft.com/office/drawing/2014/main" val="1062120061"/>
                    </a:ext>
                  </a:extLst>
                </a:gridCol>
                <a:gridCol w="1237128">
                  <a:extLst>
                    <a:ext uri="{9D8B030D-6E8A-4147-A177-3AD203B41FA5}">
                      <a16:colId xmlns:a16="http://schemas.microsoft.com/office/drawing/2014/main" val="1788831984"/>
                    </a:ext>
                  </a:extLst>
                </a:gridCol>
                <a:gridCol w="1278965">
                  <a:extLst>
                    <a:ext uri="{9D8B030D-6E8A-4147-A177-3AD203B41FA5}">
                      <a16:colId xmlns:a16="http://schemas.microsoft.com/office/drawing/2014/main" val="3732601858"/>
                    </a:ext>
                  </a:extLst>
                </a:gridCol>
                <a:gridCol w="1237452">
                  <a:extLst>
                    <a:ext uri="{9D8B030D-6E8A-4147-A177-3AD203B41FA5}">
                      <a16:colId xmlns:a16="http://schemas.microsoft.com/office/drawing/2014/main" val="2864220852"/>
                    </a:ext>
                  </a:extLst>
                </a:gridCol>
                <a:gridCol w="973653">
                  <a:extLst>
                    <a:ext uri="{9D8B030D-6E8A-4147-A177-3AD203B41FA5}">
                      <a16:colId xmlns:a16="http://schemas.microsoft.com/office/drawing/2014/main" val="4293262907"/>
                    </a:ext>
                  </a:extLst>
                </a:gridCol>
              </a:tblGrid>
              <a:tr h="208187">
                <a:tc>
                  <a:txBody>
                    <a:bodyPr/>
                    <a:lstStyle/>
                    <a:p>
                      <a:r>
                        <a:rPr lang="fr-FR" sz="900" noProof="0"/>
                        <a:t>Parcour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700" noProof="0"/>
                        <a:t>Risque Produi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700" noProof="0"/>
                        <a:t>Stabilité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700" noProof="0"/>
                        <a:t>Complexité</a:t>
                      </a:r>
                    </a:p>
                    <a:p>
                      <a:pPr algn="ctr"/>
                      <a:r>
                        <a:rPr lang="fr-FR" sz="700" noProof="0"/>
                        <a:t>(pour test manuel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81628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700" noProof="0"/>
                        <a:t>Complexité</a:t>
                      </a:r>
                    </a:p>
                    <a:p>
                      <a:pPr algn="ctr"/>
                      <a:r>
                        <a:rPr lang="fr-FR" sz="700" noProof="0"/>
                        <a:t>(pour automatisation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700" noProof="0"/>
                        <a:t>Choix Final</a:t>
                      </a:r>
                    </a:p>
                    <a:p>
                      <a:pPr algn="ctr"/>
                      <a:r>
                        <a:rPr lang="fr-FR" sz="700" noProof="0"/>
                        <a:t>(A automatiser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63178684"/>
                  </a:ext>
                </a:extLst>
              </a:tr>
              <a:tr h="208187">
                <a:tc>
                  <a:txBody>
                    <a:bodyPr/>
                    <a:lstStyle/>
                    <a:p>
                      <a:r>
                        <a:rPr lang="fr-FR" sz="800" noProof="0"/>
                        <a:t>Souscription d’un contrat pour une personne physiqu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800" noProof="0"/>
                        <a:t>Hau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800" noProof="0"/>
                        <a:t>Stable</a:t>
                      </a:r>
                      <a:br>
                        <a:rPr lang="fr-FR" sz="800" noProof="0"/>
                      </a:br>
                      <a:r>
                        <a:rPr lang="fr-FR" sz="800" noProof="0"/>
                        <a:t>(fonction principale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800" noProof="0"/>
                        <a:t>Complex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800" noProof="0"/>
                        <a:t>Moye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800" noProof="0"/>
                        <a:t>Oui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36504970"/>
                  </a:ext>
                </a:extLst>
              </a:tr>
              <a:tr h="208187">
                <a:tc>
                  <a:txBody>
                    <a:bodyPr/>
                    <a:lstStyle/>
                    <a:p>
                      <a:r>
                        <a:rPr lang="fr-FR" sz="800" noProof="0"/>
                        <a:t>Souscription d’un contrat pour une personne moral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800" noProof="0"/>
                        <a:t>Hau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800" noProof="0"/>
                        <a:t>Stable</a:t>
                      </a:r>
                    </a:p>
                    <a:p>
                      <a:pPr algn="ctr"/>
                      <a:endParaRPr lang="fr-FR" sz="800" noProof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800" noProof="0"/>
                        <a:t>Complex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800" noProof="0"/>
                        <a:t>Moye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800" noProof="0"/>
                        <a:t>Oui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35034332"/>
                  </a:ext>
                </a:extLst>
              </a:tr>
              <a:tr h="208187">
                <a:tc>
                  <a:txBody>
                    <a:bodyPr/>
                    <a:lstStyle/>
                    <a:p>
                      <a:r>
                        <a:rPr lang="fr-FR" sz="800" noProof="0"/>
                        <a:t>Devis engageant pour le clien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800" noProof="0"/>
                        <a:t>Hau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800" noProof="0"/>
                        <a:t>Stabl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800" noProof="0"/>
                        <a:t>Moye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800" noProof="0"/>
                        <a:t>Moye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800" noProof="0"/>
                        <a:t>Oui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95201662"/>
                  </a:ext>
                </a:extLst>
              </a:tr>
              <a:tr h="208187">
                <a:tc>
                  <a:txBody>
                    <a:bodyPr/>
                    <a:lstStyle/>
                    <a:p>
                      <a:r>
                        <a:rPr lang="fr-FR" sz="800" noProof="0"/>
                        <a:t>Reprendre un devis engageant pour la souscription avec modification des option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800" noProof="0"/>
                        <a:t>Hau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800" noProof="0"/>
                        <a:t>Stabl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800" noProof="0"/>
                        <a:t>Complex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800" noProof="0"/>
                        <a:t>Complex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800" noProof="0"/>
                        <a:t>Oui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63804271"/>
                  </a:ext>
                </a:extLst>
              </a:tr>
              <a:tr h="208187">
                <a:tc>
                  <a:txBody>
                    <a:bodyPr/>
                    <a:lstStyle/>
                    <a:p>
                      <a:r>
                        <a:rPr lang="fr-FR" sz="800" noProof="0"/>
                        <a:t>Reprendre un devis engageant pour la souscription sans modifica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800" noProof="0"/>
                        <a:t>Hau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800" noProof="0"/>
                        <a:t>Stabl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800" noProof="0"/>
                        <a:t>Moye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800" noProof="0"/>
                        <a:t>Simpl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800" noProof="0"/>
                        <a:t>Oui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96227445"/>
                  </a:ext>
                </a:extLst>
              </a:tr>
              <a:tr h="208187">
                <a:tc>
                  <a:txBody>
                    <a:bodyPr/>
                    <a:lstStyle/>
                    <a:p>
                      <a:r>
                        <a:rPr lang="fr-FR" sz="800" noProof="0"/>
                        <a:t>Migration de devis V1 vers devis V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800" noProof="0"/>
                        <a:t>Moye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800" noProof="0"/>
                        <a:t>Non-stable</a:t>
                      </a:r>
                    </a:p>
                    <a:p>
                      <a:pPr algn="ctr"/>
                      <a:r>
                        <a:rPr lang="fr-FR" sz="800" noProof="0"/>
                        <a:t>(fonction temporaire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800" noProof="0"/>
                        <a:t>Complex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800" noProof="0"/>
                        <a:t>Complex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800" noProof="0"/>
                        <a:t>N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57026200"/>
                  </a:ext>
                </a:extLst>
              </a:tr>
            </a:tbl>
          </a:graphicData>
        </a:graphic>
      </p:graphicFrame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84CABF6-FD4F-4642-9528-98DEF7CB2D75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438FEFB8-6B6E-4DC1-A5E4-A1258711B442}" type="slidenum">
              <a:rPr lang="fr-FR" smtClean="0"/>
              <a:pPr/>
              <a:t>22</a:t>
            </a:fld>
            <a:endParaRPr lang="fr-FR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E185E1C1-5CB7-4C5A-97CC-B0BF95BB9FC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33E2A876-6808-42D7-B9E9-0E9017F3C491}" type="datetime1">
              <a:rPr lang="fr-FR" smtClean="0"/>
              <a:t>20/03/2023</a:t>
            </a:fld>
            <a:endParaRPr lang="fr-FR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A133D81-9EF9-4CF2-8702-703BE07E407E}"/>
              </a:ext>
            </a:extLst>
          </p:cNvPr>
          <p:cNvSpPr txBox="1"/>
          <p:nvPr/>
        </p:nvSpPr>
        <p:spPr bwMode="auto">
          <a:xfrm>
            <a:off x="273150" y="4305613"/>
            <a:ext cx="5535170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rtlCol="0" anchor="b">
            <a:spAutoFit/>
          </a:bodyPr>
          <a:lstStyle/>
          <a:p>
            <a:pPr eaLnBrk="1" hangingPunct="1"/>
            <a:r>
              <a:rPr lang="fr-FR" sz="1200">
                <a:solidFill>
                  <a:srgbClr val="FF1721"/>
                </a:solidFill>
                <a:latin typeface="Source Sans Pro" pitchFamily="34" charset="0"/>
              </a:rPr>
              <a:t>Les parcours clés sont à documenter dans XRAY sous forme de ticket « Test ».</a:t>
            </a:r>
          </a:p>
          <a:p>
            <a:pPr eaLnBrk="1" hangingPunct="1"/>
            <a:r>
              <a:rPr lang="fr-FR" sz="1200">
                <a:solidFill>
                  <a:srgbClr val="FF1721"/>
                </a:solidFill>
                <a:latin typeface="Source Sans Pro" pitchFamily="34" charset="0"/>
              </a:rPr>
              <a:t>Les parcours clés à automatiser seront taggués avec l’attribut “A automatiser” = “Oui”</a:t>
            </a:r>
          </a:p>
        </p:txBody>
      </p:sp>
    </p:spTree>
    <p:extLst>
      <p:ext uri="{BB962C8B-B14F-4D97-AF65-F5344CB8AC3E}">
        <p14:creationId xmlns:p14="http://schemas.microsoft.com/office/powerpoint/2010/main" val="371112885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1F4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D5DE8C4-8D5B-4E5C-9313-A9077ED0EA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3896" y="145123"/>
            <a:ext cx="8596209" cy="337232"/>
          </a:xfrm>
        </p:spPr>
        <p:txBody>
          <a:bodyPr/>
          <a:lstStyle/>
          <a:p>
            <a:r>
              <a:rPr lang="fr-FR"/>
              <a:t>Approche de test Parcours clés</a:t>
            </a: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C1375BA8-286D-4BD3-A31B-9DFF4D466EC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97940065"/>
              </p:ext>
            </p:extLst>
          </p:nvPr>
        </p:nvGraphicFramePr>
        <p:xfrm>
          <a:off x="69275" y="564278"/>
          <a:ext cx="8980941" cy="30669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993647">
                  <a:extLst>
                    <a:ext uri="{9D8B030D-6E8A-4147-A177-3AD203B41FA5}">
                      <a16:colId xmlns:a16="http://schemas.microsoft.com/office/drawing/2014/main" val="770950005"/>
                    </a:ext>
                  </a:extLst>
                </a:gridCol>
                <a:gridCol w="2993647">
                  <a:extLst>
                    <a:ext uri="{9D8B030D-6E8A-4147-A177-3AD203B41FA5}">
                      <a16:colId xmlns:a16="http://schemas.microsoft.com/office/drawing/2014/main" val="2250579467"/>
                    </a:ext>
                  </a:extLst>
                </a:gridCol>
                <a:gridCol w="2993647">
                  <a:extLst>
                    <a:ext uri="{9D8B030D-6E8A-4147-A177-3AD203B41FA5}">
                      <a16:colId xmlns:a16="http://schemas.microsoft.com/office/drawing/2014/main" val="2177743336"/>
                    </a:ext>
                  </a:extLst>
                </a:gridCol>
              </a:tblGrid>
              <a:tr h="258327">
                <a:tc>
                  <a:txBody>
                    <a:bodyPr/>
                    <a:lstStyle/>
                    <a:p>
                      <a:pPr algn="ctr"/>
                      <a:r>
                        <a:rPr lang="fr-FR" sz="1200" noProof="0"/>
                        <a:t>Piloté par Comportement</a:t>
                      </a:r>
                    </a:p>
                  </a:txBody>
                  <a:tcPr marL="68580" marR="68580" marT="34290" marB="34290" anchor="ctr"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fr-FR" sz="1200" noProof="0"/>
                        <a:t>Piloté par </a:t>
                      </a:r>
                      <a:r>
                        <a:rPr lang="fr-FR" sz="1200" noProof="0" err="1"/>
                        <a:t>Mot-clés</a:t>
                      </a:r>
                      <a:r>
                        <a:rPr lang="fr-FR" sz="1200" noProof="0"/>
                        <a:t>                                                  Piloté par Actions         </a:t>
                      </a:r>
                    </a:p>
                  </a:txBody>
                  <a:tcPr marL="68580" marR="68580" marT="34290" marB="34290" anchor="ctr"/>
                </a:tc>
                <a:tc hMerge="1">
                  <a:txBody>
                    <a:bodyPr/>
                    <a:lstStyle/>
                    <a:p>
                      <a:pPr marL="0" marR="0" lvl="0" indent="0" algn="ctr" defTabSz="81628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200" noProof="0"/>
                        <a:t>Piloté par Mot-clés</a:t>
                      </a:r>
                    </a:p>
                  </a:txBody>
                  <a:tcPr marL="68580" marR="68580" marT="34290" marB="34290" anchor="ctr"/>
                </a:tc>
                <a:extLst>
                  <a:ext uri="{0D108BD9-81ED-4DB2-BD59-A6C34878D82A}">
                    <a16:rowId xmlns:a16="http://schemas.microsoft.com/office/drawing/2014/main" val="1107279029"/>
                  </a:ext>
                </a:extLst>
              </a:tr>
              <a:tr h="2808619">
                <a:tc>
                  <a:txBody>
                    <a:bodyPr/>
                    <a:lstStyle/>
                    <a:p>
                      <a:pPr algn="l"/>
                      <a:endParaRPr lang="fr-FR" sz="900" noProof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l"/>
                      <a:endParaRPr lang="fr-FR" sz="900" noProof="0"/>
                    </a:p>
                    <a:p>
                      <a:pPr algn="l"/>
                      <a:endParaRPr lang="fr-FR" sz="900" noProof="0"/>
                    </a:p>
                    <a:p>
                      <a:pPr algn="l"/>
                      <a:endParaRPr lang="fr-FR" sz="900" noProof="0"/>
                    </a:p>
                    <a:p>
                      <a:pPr algn="l"/>
                      <a:endParaRPr lang="fr-FR" sz="900" noProof="0"/>
                    </a:p>
                    <a:p>
                      <a:pPr algn="l"/>
                      <a:endParaRPr lang="fr-FR" sz="900" noProof="0"/>
                    </a:p>
                    <a:p>
                      <a:pPr algn="l"/>
                      <a:endParaRPr lang="fr-FR" sz="900" noProof="0"/>
                    </a:p>
                    <a:p>
                      <a:pPr algn="l"/>
                      <a:endParaRPr lang="fr-FR" sz="900" noProof="0"/>
                    </a:p>
                    <a:p>
                      <a:pPr algn="l"/>
                      <a:endParaRPr lang="fr-FR" sz="900" noProof="0"/>
                    </a:p>
                    <a:p>
                      <a:pPr algn="l"/>
                      <a:endParaRPr lang="fr-FR" sz="900" noProof="0"/>
                    </a:p>
                    <a:p>
                      <a:pPr algn="l"/>
                      <a:endParaRPr lang="fr-FR" sz="900" noProof="0"/>
                    </a:p>
                    <a:p>
                      <a:pPr algn="l"/>
                      <a:endParaRPr lang="fr-FR" sz="900" noProof="0"/>
                    </a:p>
                    <a:p>
                      <a:pPr algn="l"/>
                      <a:endParaRPr lang="fr-FR" sz="900" noProof="0"/>
                    </a:p>
                    <a:p>
                      <a:pPr algn="l"/>
                      <a:endParaRPr lang="fr-FR" sz="900" noProof="0"/>
                    </a:p>
                    <a:p>
                      <a:pPr algn="l"/>
                      <a:r>
                        <a:rPr lang="fr-FR" sz="1100" noProof="0"/>
                        <a:t>Interpréter un scenario de test par un enchainement de plusieurs actes métier (mots-clés), les mots-clés sont réutilisables d’un scenario à l’autre et découplable quand un mot clé est encore trop complexe.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l"/>
                      <a:endParaRPr lang="fr-FR" sz="1100" noProof="0"/>
                    </a:p>
                    <a:p>
                      <a:pPr algn="l"/>
                      <a:endParaRPr lang="fr-FR" sz="1100" noProof="0"/>
                    </a:p>
                    <a:p>
                      <a:pPr algn="l"/>
                      <a:endParaRPr lang="fr-FR" sz="1100" noProof="0"/>
                    </a:p>
                    <a:p>
                      <a:pPr algn="l"/>
                      <a:endParaRPr lang="fr-FR" sz="1100" noProof="0"/>
                    </a:p>
                    <a:p>
                      <a:pPr algn="l"/>
                      <a:endParaRPr lang="fr-FR" sz="1100" noProof="0"/>
                    </a:p>
                    <a:p>
                      <a:pPr algn="l"/>
                      <a:endParaRPr lang="fr-FR" sz="1100" noProof="0"/>
                    </a:p>
                    <a:p>
                      <a:pPr algn="l"/>
                      <a:endParaRPr lang="fr-FR" sz="1100" noProof="0"/>
                    </a:p>
                    <a:p>
                      <a:pPr algn="l"/>
                      <a:endParaRPr lang="fr-FR" sz="1100" noProof="0"/>
                    </a:p>
                    <a:p>
                      <a:pPr algn="l"/>
                      <a:endParaRPr lang="fr-FR" sz="1100" noProof="0"/>
                    </a:p>
                    <a:p>
                      <a:pPr algn="l"/>
                      <a:endParaRPr lang="fr-FR" sz="1100" noProof="0"/>
                    </a:p>
                    <a:p>
                      <a:pPr marL="0" marR="0" lvl="0" indent="0" algn="l" defTabSz="81628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1100" noProof="0"/>
                    </a:p>
                    <a:p>
                      <a:pPr marL="0" marR="0" lvl="0" indent="0" algn="l" defTabSz="81628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noProof="0"/>
                        <a:t>Interpréter un scenario de test par un enchainement de plusieurs actions (mots-clés prédéfinies).</a:t>
                      </a:r>
                    </a:p>
                    <a:p>
                      <a:pPr marL="0" marR="0" lvl="0" indent="0" algn="l" defTabSz="81628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noProof="0"/>
                        <a:t>Une ligne </a:t>
                      </a:r>
                      <a:r>
                        <a:rPr lang="fr-FR" sz="1100" noProof="0">
                          <a:sym typeface="Wingdings" panose="05000000000000000000" pitchFamily="2" charset="2"/>
                        </a:rPr>
                        <a:t> Une action</a:t>
                      </a:r>
                      <a:endParaRPr lang="fr-FR" sz="1100" noProof="0"/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3000512473"/>
                  </a:ext>
                </a:extLst>
              </a:tr>
            </a:tbl>
          </a:graphicData>
        </a:graphic>
      </p:graphicFrame>
      <p:grpSp>
        <p:nvGrpSpPr>
          <p:cNvPr id="34" name="Group 33">
            <a:extLst>
              <a:ext uri="{FF2B5EF4-FFF2-40B4-BE49-F238E27FC236}">
                <a16:creationId xmlns:a16="http://schemas.microsoft.com/office/drawing/2014/main" id="{692AA995-8C5E-4D2F-A8F5-DB1CBC1E1599}"/>
              </a:ext>
            </a:extLst>
          </p:cNvPr>
          <p:cNvGrpSpPr/>
          <p:nvPr/>
        </p:nvGrpSpPr>
        <p:grpSpPr>
          <a:xfrm>
            <a:off x="198322" y="925883"/>
            <a:ext cx="2557733" cy="2487340"/>
            <a:chOff x="4294221" y="1707661"/>
            <a:chExt cx="3603557" cy="3504381"/>
          </a:xfrm>
        </p:grpSpPr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23BE7609-8495-477D-B3C2-49C314B2559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4294221" y="1707661"/>
              <a:ext cx="3603557" cy="1119430"/>
            </a:xfrm>
            <a:prstGeom prst="rect">
              <a:avLst/>
            </a:prstGeom>
          </p:spPr>
        </p:pic>
        <p:pic>
          <p:nvPicPr>
            <p:cNvPr id="15" name="Picture 14">
              <a:extLst>
                <a:ext uri="{FF2B5EF4-FFF2-40B4-BE49-F238E27FC236}">
                  <a16:creationId xmlns:a16="http://schemas.microsoft.com/office/drawing/2014/main" id="{EC612B3D-FF40-49F3-BAD1-4B77BF96B718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4294221" y="2998198"/>
              <a:ext cx="3603557" cy="2213844"/>
            </a:xfrm>
            <a:prstGeom prst="rect">
              <a:avLst/>
            </a:prstGeom>
          </p:spPr>
        </p:pic>
        <p:cxnSp>
          <p:nvCxnSpPr>
            <p:cNvPr id="30" name="Connector: Elbow 29">
              <a:extLst>
                <a:ext uri="{FF2B5EF4-FFF2-40B4-BE49-F238E27FC236}">
                  <a16:creationId xmlns:a16="http://schemas.microsoft.com/office/drawing/2014/main" id="{EA4E409B-B837-4645-9A62-FDCD52239CD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7627223" y="2675802"/>
              <a:ext cx="18288" cy="2011680"/>
            </a:xfrm>
            <a:prstGeom prst="bentConnector3">
              <a:avLst>
                <a:gd name="adj1" fmla="val 1800000"/>
              </a:avLst>
            </a:prstGeom>
            <a:ln>
              <a:solidFill>
                <a:srgbClr val="FF0000"/>
              </a:solidFill>
              <a:headEnd type="triangle"/>
              <a:tailEnd type="none"/>
            </a:ln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31" name="Connector: Elbow 30">
              <a:extLst>
                <a:ext uri="{FF2B5EF4-FFF2-40B4-BE49-F238E27FC236}">
                  <a16:creationId xmlns:a16="http://schemas.microsoft.com/office/drawing/2014/main" id="{04C3C052-15D3-466C-A815-1F5DB44F892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394167" y="2500176"/>
              <a:ext cx="9144" cy="1097280"/>
            </a:xfrm>
            <a:prstGeom prst="bentConnector3">
              <a:avLst>
                <a:gd name="adj1" fmla="val 4325252"/>
              </a:avLst>
            </a:prstGeom>
            <a:ln>
              <a:solidFill>
                <a:srgbClr val="FF0000"/>
              </a:solidFill>
              <a:headEnd type="triangle"/>
              <a:tailEnd type="none"/>
            </a:ln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33" name="Connector: Elbow 32">
              <a:extLst>
                <a:ext uri="{FF2B5EF4-FFF2-40B4-BE49-F238E27FC236}">
                  <a16:creationId xmlns:a16="http://schemas.microsoft.com/office/drawing/2014/main" id="{915A8298-E53D-4291-9115-55123AAC974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650651" y="2591616"/>
              <a:ext cx="27432" cy="1554480"/>
            </a:xfrm>
            <a:prstGeom prst="bentConnector3">
              <a:avLst>
                <a:gd name="adj1" fmla="val 1800000"/>
              </a:avLst>
            </a:prstGeom>
            <a:ln>
              <a:solidFill>
                <a:srgbClr val="FF0000"/>
              </a:solidFill>
              <a:headEnd type="triangle"/>
              <a:tailEnd type="none"/>
            </a:ln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</p:grpSp>
      <p:grpSp>
        <p:nvGrpSpPr>
          <p:cNvPr id="21" name="Groupe 20">
            <a:extLst>
              <a:ext uri="{FF2B5EF4-FFF2-40B4-BE49-F238E27FC236}">
                <a16:creationId xmlns:a16="http://schemas.microsoft.com/office/drawing/2014/main" id="{0DFE900D-B7C8-DC0B-8766-331C5B0153D2}"/>
              </a:ext>
            </a:extLst>
          </p:cNvPr>
          <p:cNvGrpSpPr/>
          <p:nvPr/>
        </p:nvGrpSpPr>
        <p:grpSpPr>
          <a:xfrm>
            <a:off x="6112144" y="3631224"/>
            <a:ext cx="2926914" cy="1234953"/>
            <a:chOff x="6387947" y="2058598"/>
            <a:chExt cx="2926914" cy="1234953"/>
          </a:xfrm>
        </p:grpSpPr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7A64F2A4-031C-4497-9AC3-863D05335C7C}"/>
                </a:ext>
              </a:extLst>
            </p:cNvPr>
            <p:cNvSpPr txBox="1"/>
            <p:nvPr/>
          </p:nvSpPr>
          <p:spPr>
            <a:xfrm>
              <a:off x="6387947" y="2058598"/>
              <a:ext cx="2926914" cy="123495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825" b="1"/>
                <a:t>Quand utiliser:</a:t>
              </a:r>
            </a:p>
            <a:p>
              <a:pPr marL="180000" lvl="1" indent="0"/>
              <a:r>
                <a:rPr lang="fr-FR" sz="825"/>
                <a:t>Tester des US ou des scénarios courts (équipes avec peu de compétences techniques)</a:t>
              </a:r>
            </a:p>
            <a:p>
              <a:pPr lvl="1"/>
              <a:endParaRPr lang="fr-FR" sz="825"/>
            </a:p>
            <a:p>
              <a:pPr lvl="1"/>
              <a:r>
                <a:rPr lang="fr-FR" sz="825"/>
                <a:t>Facile à écrire pour des sujets simples</a:t>
              </a:r>
            </a:p>
            <a:p>
              <a:pPr lvl="1"/>
              <a:r>
                <a:rPr lang="fr-FR" sz="825"/>
                <a:t>Chiffrage plus aisée</a:t>
              </a:r>
            </a:p>
            <a:p>
              <a:pPr lvl="1"/>
              <a:r>
                <a:rPr lang="fr-FR" sz="825"/>
                <a:t>Nécessite peu de compétence techniques</a:t>
              </a:r>
            </a:p>
            <a:p>
              <a:pPr lvl="1"/>
              <a:endParaRPr lang="fr-FR" sz="825"/>
            </a:p>
            <a:p>
              <a:pPr lvl="1"/>
              <a:r>
                <a:rPr lang="fr-FR" sz="825"/>
                <a:t>Difficile à maintenir (si SUT change souvent)</a:t>
              </a:r>
            </a:p>
          </p:txBody>
        </p:sp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1B70270F-C910-4FB9-AAA5-275A2EDC6FBC}"/>
                </a:ext>
              </a:extLst>
            </p:cNvPr>
            <p:cNvSpPr txBox="1"/>
            <p:nvPr/>
          </p:nvSpPr>
          <p:spPr>
            <a:xfrm>
              <a:off x="6612534" y="2594138"/>
              <a:ext cx="393056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000">
                  <a:solidFill>
                    <a:srgbClr val="00B050"/>
                  </a:solidFill>
                  <a:latin typeface="Segoe UI Symbol" panose="020B0502040204020203" pitchFamily="34" charset="0"/>
                  <a:ea typeface="Segoe UI Symbol" panose="020B0502040204020203" pitchFamily="34" charset="0"/>
                </a:rPr>
                <a:t></a:t>
              </a:r>
              <a:endParaRPr lang="fr-FR" sz="700">
                <a:solidFill>
                  <a:srgbClr val="00B050"/>
                </a:solidFill>
                <a:latin typeface="Segoe UI Symbol" panose="020B0502040204020203" pitchFamily="34" charset="0"/>
                <a:ea typeface="Segoe UI Symbol" panose="020B0502040204020203" pitchFamily="34" charset="0"/>
              </a:endParaRPr>
            </a:p>
          </p:txBody>
        </p:sp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A9F95946-F891-44B8-9FFC-47F7C64EBA7B}"/>
                </a:ext>
              </a:extLst>
            </p:cNvPr>
            <p:cNvSpPr txBox="1"/>
            <p:nvPr/>
          </p:nvSpPr>
          <p:spPr>
            <a:xfrm>
              <a:off x="6612534" y="3047330"/>
              <a:ext cx="393056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000">
                  <a:solidFill>
                    <a:srgbClr val="C00000"/>
                  </a:solidFill>
                  <a:latin typeface="Segoe UI Symbol" panose="020B0502040204020203" pitchFamily="34" charset="0"/>
                  <a:ea typeface="Segoe UI Symbol" panose="020B0502040204020203" pitchFamily="34" charset="0"/>
                </a:rPr>
                <a:t></a:t>
              </a:r>
              <a:endParaRPr lang="fr-FR" sz="700">
                <a:solidFill>
                  <a:srgbClr val="C00000"/>
                </a:solidFill>
                <a:latin typeface="Segoe UI Symbol" panose="020B0502040204020203" pitchFamily="34" charset="0"/>
                <a:ea typeface="Segoe UI Symbol" panose="020B0502040204020203" pitchFamily="34" charset="0"/>
              </a:endParaRPr>
            </a:p>
          </p:txBody>
        </p:sp>
      </p:grpSp>
      <p:grpSp>
        <p:nvGrpSpPr>
          <p:cNvPr id="18" name="Groupe 17">
            <a:extLst>
              <a:ext uri="{FF2B5EF4-FFF2-40B4-BE49-F238E27FC236}">
                <a16:creationId xmlns:a16="http://schemas.microsoft.com/office/drawing/2014/main" id="{98FC4B49-D2FB-62FB-DD83-60ECB010C9A9}"/>
              </a:ext>
            </a:extLst>
          </p:cNvPr>
          <p:cNvGrpSpPr/>
          <p:nvPr/>
        </p:nvGrpSpPr>
        <p:grpSpPr>
          <a:xfrm>
            <a:off x="69275" y="3631224"/>
            <a:ext cx="2859560" cy="1234953"/>
            <a:chOff x="3096606" y="3894849"/>
            <a:chExt cx="2859560" cy="1234953"/>
          </a:xfrm>
        </p:grpSpPr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26B6A31B-E339-4C0A-9166-FE8DDCB587A6}"/>
                </a:ext>
              </a:extLst>
            </p:cNvPr>
            <p:cNvSpPr txBox="1"/>
            <p:nvPr/>
          </p:nvSpPr>
          <p:spPr>
            <a:xfrm>
              <a:off x="3206674" y="3894849"/>
              <a:ext cx="2749492" cy="123495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825" b="1"/>
                <a:t>Quand utiliser:</a:t>
              </a:r>
            </a:p>
            <a:p>
              <a:pPr marL="180000" lvl="1" indent="0"/>
              <a:r>
                <a:rPr lang="fr-FR" sz="825"/>
                <a:t>Tester des US ou des scénarios courts</a:t>
              </a:r>
            </a:p>
            <a:p>
              <a:pPr marL="180000" lvl="1" indent="0"/>
              <a:endParaRPr lang="fr-FR" sz="825"/>
            </a:p>
            <a:p>
              <a:pPr marL="180000" lvl="1" indent="0"/>
              <a:r>
                <a:rPr lang="fr-FR" sz="825"/>
                <a:t>Scénario partageable entre test manuel et automatisé</a:t>
              </a:r>
            </a:p>
            <a:p>
              <a:pPr marL="180000" lvl="1" indent="0"/>
              <a:r>
                <a:rPr lang="fr-FR" sz="825"/>
                <a:t>Les phrases/scripts sont réutilisables</a:t>
              </a:r>
            </a:p>
            <a:p>
              <a:pPr marL="180000" lvl="1" indent="0"/>
              <a:endParaRPr lang="fr-FR" sz="825"/>
            </a:p>
            <a:p>
              <a:pPr marL="180000" lvl="1" indent="0"/>
              <a:r>
                <a:rPr lang="fr-FR" sz="825"/>
                <a:t>Si les scenarios sont complexes, ou changent trop souvent, le lien entre le code et les phrases </a:t>
              </a:r>
              <a:r>
                <a:rPr lang="fr-FR" sz="825" err="1"/>
                <a:t>Gherkin</a:t>
              </a:r>
              <a:r>
                <a:rPr lang="fr-FR" sz="825"/>
                <a:t> seront difficilement maintenables.</a:t>
              </a: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32DD3A98-55FF-4896-9843-39C11997C55D}"/>
                </a:ext>
              </a:extLst>
            </p:cNvPr>
            <p:cNvSpPr txBox="1"/>
            <p:nvPr/>
          </p:nvSpPr>
          <p:spPr>
            <a:xfrm>
              <a:off x="3096606" y="4303712"/>
              <a:ext cx="393056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000">
                  <a:solidFill>
                    <a:srgbClr val="00B050"/>
                  </a:solidFill>
                  <a:latin typeface="Segoe UI Symbol" panose="020B0502040204020203" pitchFamily="34" charset="0"/>
                  <a:ea typeface="Segoe UI Symbol" panose="020B0502040204020203" pitchFamily="34" charset="0"/>
                </a:rPr>
                <a:t></a:t>
              </a:r>
              <a:endParaRPr lang="fr-FR" sz="700">
                <a:solidFill>
                  <a:srgbClr val="00B050"/>
                </a:solidFill>
                <a:latin typeface="Segoe UI Symbol" panose="020B0502040204020203" pitchFamily="34" charset="0"/>
                <a:ea typeface="Segoe UI Symbol" panose="020B0502040204020203" pitchFamily="34" charset="0"/>
              </a:endParaRP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E9B6E900-1343-45B8-8D46-FE263BBE8065}"/>
                </a:ext>
              </a:extLst>
            </p:cNvPr>
            <p:cNvSpPr txBox="1"/>
            <p:nvPr/>
          </p:nvSpPr>
          <p:spPr>
            <a:xfrm>
              <a:off x="3096606" y="4732309"/>
              <a:ext cx="393056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000">
                  <a:solidFill>
                    <a:srgbClr val="C00000"/>
                  </a:solidFill>
                  <a:latin typeface="Segoe UI Symbol" panose="020B0502040204020203" pitchFamily="34" charset="0"/>
                  <a:ea typeface="Segoe UI Symbol" panose="020B0502040204020203" pitchFamily="34" charset="0"/>
                </a:rPr>
                <a:t></a:t>
              </a:r>
              <a:endParaRPr lang="fr-FR" sz="700">
                <a:solidFill>
                  <a:srgbClr val="C00000"/>
                </a:solidFill>
                <a:latin typeface="Segoe UI Symbol" panose="020B0502040204020203" pitchFamily="34" charset="0"/>
                <a:ea typeface="Segoe UI Symbol" panose="020B0502040204020203" pitchFamily="34" charset="0"/>
              </a:endParaRPr>
            </a:p>
          </p:txBody>
        </p:sp>
      </p:grpSp>
      <p:grpSp>
        <p:nvGrpSpPr>
          <p:cNvPr id="20" name="Groupe 19">
            <a:extLst>
              <a:ext uri="{FF2B5EF4-FFF2-40B4-BE49-F238E27FC236}">
                <a16:creationId xmlns:a16="http://schemas.microsoft.com/office/drawing/2014/main" id="{18CDDAB6-5EC4-EA83-1A73-E9FD830BC245}"/>
              </a:ext>
            </a:extLst>
          </p:cNvPr>
          <p:cNvGrpSpPr/>
          <p:nvPr/>
        </p:nvGrpSpPr>
        <p:grpSpPr>
          <a:xfrm>
            <a:off x="3142203" y="3631614"/>
            <a:ext cx="2865326" cy="1234953"/>
            <a:chOff x="6108982" y="3808076"/>
            <a:chExt cx="2865326" cy="1234953"/>
          </a:xfrm>
        </p:grpSpPr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22D9AF0C-74BE-46EA-8FD1-E1F0074DFD30}"/>
                </a:ext>
              </a:extLst>
            </p:cNvPr>
            <p:cNvSpPr txBox="1"/>
            <p:nvPr/>
          </p:nvSpPr>
          <p:spPr>
            <a:xfrm>
              <a:off x="6224816" y="3808076"/>
              <a:ext cx="2749492" cy="123495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825" b="1"/>
                <a:t>Quand utiliser:</a:t>
              </a:r>
            </a:p>
            <a:p>
              <a:pPr marL="180000" lvl="1" indent="0"/>
              <a:r>
                <a:rPr lang="fr-FR" sz="825"/>
                <a:t>Les scénarios complexes ou ceux qui demandent beaucoup de variation de données. </a:t>
              </a:r>
            </a:p>
            <a:p>
              <a:pPr marL="180000" lvl="1" indent="0"/>
              <a:endParaRPr lang="fr-FR" sz="825"/>
            </a:p>
            <a:p>
              <a:pPr marL="180000" lvl="1" indent="0"/>
              <a:r>
                <a:rPr lang="fr-FR" sz="825"/>
                <a:t>Meilleure réutilisabilité, plus facile à faire évoluer et a maintenir par rapport aux autres approches</a:t>
              </a:r>
            </a:p>
            <a:p>
              <a:pPr marL="180000" lvl="1" indent="0"/>
              <a:endParaRPr lang="fr-FR" sz="825"/>
            </a:p>
            <a:p>
              <a:pPr marL="180000" lvl="1" indent="0"/>
              <a:r>
                <a:rPr lang="fr-FR" sz="825"/>
                <a:t>La mise en place du projet au démarrage demande plus d’effort et de compétences techniques</a:t>
              </a:r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5FEEAE62-CA8A-418F-A64C-0F2D55D911E1}"/>
                </a:ext>
              </a:extLst>
            </p:cNvPr>
            <p:cNvSpPr txBox="1"/>
            <p:nvPr/>
          </p:nvSpPr>
          <p:spPr>
            <a:xfrm>
              <a:off x="6120027" y="4320708"/>
              <a:ext cx="393056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000">
                  <a:solidFill>
                    <a:srgbClr val="00B050"/>
                  </a:solidFill>
                  <a:latin typeface="Segoe UI Symbol" panose="020B0502040204020203" pitchFamily="34" charset="0"/>
                  <a:ea typeface="Segoe UI Symbol" panose="020B0502040204020203" pitchFamily="34" charset="0"/>
                </a:rPr>
                <a:t></a:t>
              </a:r>
              <a:endParaRPr lang="fr-FR" sz="700">
                <a:solidFill>
                  <a:srgbClr val="00B050"/>
                </a:solidFill>
                <a:latin typeface="Segoe UI Symbol" panose="020B0502040204020203" pitchFamily="34" charset="0"/>
                <a:ea typeface="Segoe UI Symbol" panose="020B0502040204020203" pitchFamily="34" charset="0"/>
              </a:endParaRPr>
            </a:p>
          </p:txBody>
        </p: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C47AED54-57D4-43D5-8ACA-9B7D81B8EBA8}"/>
                </a:ext>
              </a:extLst>
            </p:cNvPr>
            <p:cNvSpPr txBox="1"/>
            <p:nvPr/>
          </p:nvSpPr>
          <p:spPr>
            <a:xfrm>
              <a:off x="6108982" y="4754218"/>
              <a:ext cx="393056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000">
                  <a:solidFill>
                    <a:srgbClr val="C00000"/>
                  </a:solidFill>
                  <a:latin typeface="Segoe UI Symbol" panose="020B0502040204020203" pitchFamily="34" charset="0"/>
                  <a:ea typeface="Segoe UI Symbol" panose="020B0502040204020203" pitchFamily="34" charset="0"/>
                </a:rPr>
                <a:t></a:t>
              </a:r>
              <a:endParaRPr lang="fr-FR" sz="700">
                <a:solidFill>
                  <a:srgbClr val="C00000"/>
                </a:solidFill>
                <a:latin typeface="Segoe UI Symbol" panose="020B0502040204020203" pitchFamily="34" charset="0"/>
                <a:ea typeface="Segoe UI Symbol" panose="020B0502040204020203" pitchFamily="34" charset="0"/>
              </a:endParaRPr>
            </a:p>
          </p:txBody>
        </p:sp>
      </p:grpSp>
      <mc:AlternateContent xmlns:mc="http://schemas.openxmlformats.org/markup-compatibility/2006" xmlns:pslz="http://schemas.microsoft.com/office/powerpoint/2016/slidezoom">
        <mc:Choice Requires="pslz">
          <p:graphicFrame>
            <p:nvGraphicFramePr>
              <p:cNvPr id="7" name="Zoom de diapositive 6">
                <a:extLst>
                  <a:ext uri="{FF2B5EF4-FFF2-40B4-BE49-F238E27FC236}">
                    <a16:creationId xmlns:a16="http://schemas.microsoft.com/office/drawing/2014/main" id="{685A0DC1-C603-51DF-3788-63340773BA6B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3973192779"/>
                  </p:ext>
                </p:extLst>
              </p:nvPr>
            </p:nvGraphicFramePr>
            <p:xfrm>
              <a:off x="3092157" y="897179"/>
              <a:ext cx="2925984" cy="1645866"/>
            </p:xfrm>
            <a:graphic>
              <a:graphicData uri="http://schemas.microsoft.com/office/powerpoint/2016/slidezoom">
                <pslz:sldZm>
                  <pslz:sldZmObj sldId="2147470908" cId="1977949928">
                    <pslz:zmPr id="{063ECD57-FCEE-46B5-8910-A4C667741F50}" returnToParent="0" transitionDur="1000">
                      <p166:blipFill xmlns:p166="http://schemas.microsoft.com/office/powerpoint/2016/6/main">
                        <a:blip r:embed="rId5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2925984" cy="1645866"/>
                        </a:xfrm>
                        <a:prstGeom prst="rect">
                          <a:avLst/>
                        </a:prstGeom>
                        <a:ln w="3175">
                          <a:solidFill>
                            <a:prstClr val="ltGray"/>
                          </a:solidFill>
                        </a:ln>
                      </p166:spPr>
                    </pslz:zmPr>
                  </pslz:sldZmObj>
                </pslz:sldZm>
              </a:graphicData>
            </a:graphic>
          </p:graphicFrame>
        </mc:Choice>
        <mc:Fallback xmlns="">
          <p:pic>
            <p:nvPicPr>
              <p:cNvPr id="7" name="Zoom de diapositive 6">
                <a:hlinkClick r:id="rId6" action="ppaction://hlinksldjump"/>
                <a:extLst>
                  <a:ext uri="{FF2B5EF4-FFF2-40B4-BE49-F238E27FC236}">
                    <a16:creationId xmlns:a16="http://schemas.microsoft.com/office/drawing/2014/main" id="{685A0DC1-C603-51DF-3788-63340773BA6B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3092157" y="897179"/>
                <a:ext cx="2925984" cy="1645866"/>
              </a:xfrm>
              <a:prstGeom prst="rect">
                <a:avLst/>
              </a:prstGeom>
              <a:ln w="3175">
                <a:solidFill>
                  <a:prstClr val="ltGray"/>
                </a:solidFill>
              </a:ln>
            </p:spPr>
          </p:pic>
        </mc:Fallback>
      </mc:AlternateContent>
      <mc:AlternateContent xmlns:mc="http://schemas.openxmlformats.org/markup-compatibility/2006" xmlns:pslz="http://schemas.microsoft.com/office/powerpoint/2016/slidezoom">
        <mc:Choice Requires="pslz">
          <p:graphicFrame>
            <p:nvGraphicFramePr>
              <p:cNvPr id="27" name="Zoom de diapositive 26">
                <a:extLst>
                  <a:ext uri="{FF2B5EF4-FFF2-40B4-BE49-F238E27FC236}">
                    <a16:creationId xmlns:a16="http://schemas.microsoft.com/office/drawing/2014/main" id="{9050117B-64F2-DB89-9764-D653638AD58D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692832556"/>
                  </p:ext>
                </p:extLst>
              </p:nvPr>
            </p:nvGraphicFramePr>
            <p:xfrm>
              <a:off x="6128310" y="897179"/>
              <a:ext cx="2885979" cy="1623363"/>
            </p:xfrm>
            <a:graphic>
              <a:graphicData uri="http://schemas.microsoft.com/office/powerpoint/2016/slidezoom">
                <pslz:sldZm>
                  <pslz:sldZmObj sldId="2147470909" cId="4023856794">
                    <pslz:zmPr id="{1031ECF5-DD44-46AE-9A01-71E00C19C73A}" returnToParent="0" transitionDur="1000">
                      <p166:blipFill xmlns:p166="http://schemas.microsoft.com/office/powerpoint/2016/6/main">
                        <a:blip r:embed="rId8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2885979" cy="1623363"/>
                        </a:xfrm>
                        <a:prstGeom prst="rect">
                          <a:avLst/>
                        </a:prstGeom>
                        <a:ln w="3175">
                          <a:solidFill>
                            <a:prstClr val="ltGray"/>
                          </a:solidFill>
                        </a:ln>
                      </p166:spPr>
                    </pslz:zmPr>
                  </pslz:sldZmObj>
                </pslz:sldZm>
              </a:graphicData>
            </a:graphic>
          </p:graphicFrame>
        </mc:Choice>
        <mc:Fallback xmlns="">
          <p:pic>
            <p:nvPicPr>
              <p:cNvPr id="27" name="Zoom de diapositive 26">
                <a:hlinkClick r:id="rId9" action="ppaction://hlinksldjump"/>
                <a:extLst>
                  <a:ext uri="{FF2B5EF4-FFF2-40B4-BE49-F238E27FC236}">
                    <a16:creationId xmlns:a16="http://schemas.microsoft.com/office/drawing/2014/main" id="{9050117B-64F2-DB89-9764-D653638AD58D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10"/>
              <a:stretch>
                <a:fillRect/>
              </a:stretch>
            </p:blipFill>
            <p:spPr>
              <a:xfrm>
                <a:off x="6128310" y="897179"/>
                <a:ext cx="2885979" cy="1623363"/>
              </a:xfrm>
              <a:prstGeom prst="rect">
                <a:avLst/>
              </a:prstGeom>
              <a:ln w="3175">
                <a:solidFill>
                  <a:prstClr val="ltGray"/>
                </a:solidFill>
              </a:ln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3527971517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1F4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7B5BFBF-D724-476A-86A7-14455D9E49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Approche de test Parcours clé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1055E83-19BC-40EA-A758-9292BCF059A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fr-FR"/>
              <a:t>Déploiement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0B4E6087-6C78-4F86-9509-A6A29E0621DA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228696" y="1133913"/>
            <a:ext cx="8556096" cy="1095204"/>
          </a:xfrm>
        </p:spPr>
        <p:txBody>
          <a:bodyPr/>
          <a:lstStyle/>
          <a:p>
            <a:r>
              <a:rPr lang="fr-FR" sz="1400"/>
              <a:t>La solution d’automatisation sera versionnée via la repository Git</a:t>
            </a:r>
          </a:p>
          <a:p>
            <a:r>
              <a:rPr lang="fr-FR" sz="1400"/>
              <a:t>Les tests sont intégrés dans la plateforme DevOps.</a:t>
            </a:r>
          </a:p>
          <a:p>
            <a:r>
              <a:rPr lang="fr-FR" sz="1400"/>
              <a:t>Les tests sont exécutés dans l’infrastructure </a:t>
            </a:r>
            <a:r>
              <a:rPr lang="fr-FR" sz="1400" err="1"/>
              <a:t>DevTest</a:t>
            </a:r>
            <a:r>
              <a:rPr lang="fr-FR" sz="1400"/>
              <a:t> Lab</a:t>
            </a:r>
          </a:p>
          <a:p>
            <a:r>
              <a:rPr lang="fr-FR" sz="1400"/>
              <a:t>Les résultats sont poussés dans </a:t>
            </a:r>
            <a:r>
              <a:rPr lang="fr-FR" sz="1400" err="1"/>
              <a:t>Xray</a:t>
            </a:r>
            <a:r>
              <a:rPr lang="fr-FR" sz="1400"/>
              <a:t> pour consolider les indicateurs d’exécution de Tests</a:t>
            </a:r>
          </a:p>
          <a:p>
            <a:pPr lvl="1"/>
            <a:endParaRPr lang="fr-FR" sz="120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6B27C50-5128-46C1-BBE4-2B2D20F6D056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438FEFB8-6B6E-4DC1-A5E4-A1258711B442}" type="slidenum">
              <a:rPr lang="fr-FR" smtClean="0"/>
              <a:pPr/>
              <a:t>24</a:t>
            </a:fld>
            <a:endParaRPr lang="fr-FR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AC82F85-112B-4453-B5FB-1AF080A64FA0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6E11CC5A-6016-4BEE-8CA0-77897432C755}" type="datetime1">
              <a:rPr lang="fr-FR" smtClean="0"/>
              <a:t>20/03/2023</a:t>
            </a:fld>
            <a:endParaRPr lang="fr-FR"/>
          </a:p>
        </p:txBody>
      </p:sp>
      <mc:AlternateContent xmlns:mc="http://schemas.openxmlformats.org/markup-compatibility/2006" xmlns:pslz="http://schemas.microsoft.com/office/powerpoint/2016/slidezoom">
        <mc:Choice Requires="pslz">
          <p:graphicFrame>
            <p:nvGraphicFramePr>
              <p:cNvPr id="9" name="Slide Zoom 8">
                <a:extLst>
                  <a:ext uri="{FF2B5EF4-FFF2-40B4-BE49-F238E27FC236}">
                    <a16:creationId xmlns:a16="http://schemas.microsoft.com/office/drawing/2014/main" id="{DD947CAF-6AF2-DFEC-D466-3C52798DA815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3443223636"/>
                  </p:ext>
                </p:extLst>
              </p:nvPr>
            </p:nvGraphicFramePr>
            <p:xfrm>
              <a:off x="2405640" y="2325048"/>
              <a:ext cx="4013947" cy="2257845"/>
            </p:xfrm>
            <a:graphic>
              <a:graphicData uri="http://schemas.microsoft.com/office/powerpoint/2016/slidezoom">
                <pslz:sldZm>
                  <pslz:sldZmObj sldId="2147470898" cId="2263875010">
                    <pslz:zmPr id="{BE0DFC07-0C3C-4BDE-84B0-025371C2555F}" returnToParent="0" transitionDur="1000">
                      <p166:blipFill xmlns:p166="http://schemas.microsoft.com/office/powerpoint/2016/6/main">
                        <a:blip r:embed="rId2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4013947" cy="2257845"/>
                        </a:xfrm>
                        <a:prstGeom prst="rect">
                          <a:avLst/>
                        </a:prstGeom>
                        <a:ln w="3175">
                          <a:solidFill>
                            <a:prstClr val="ltGray"/>
                          </a:solidFill>
                        </a:ln>
                      </p166:spPr>
                    </pslz:zmPr>
                  </pslz:sldZmObj>
                </pslz:sldZm>
              </a:graphicData>
            </a:graphic>
          </p:graphicFrame>
        </mc:Choice>
        <mc:Fallback xmlns="">
          <p:pic>
            <p:nvPicPr>
              <p:cNvPr id="9" name="Slide Zoom 8">
                <a:hlinkClick r:id="rId3" action="ppaction://hlinksldjump"/>
                <a:extLst>
                  <a:ext uri="{FF2B5EF4-FFF2-40B4-BE49-F238E27FC236}">
                    <a16:creationId xmlns:a16="http://schemas.microsoft.com/office/drawing/2014/main" id="{DD947CAF-6AF2-DFEC-D466-3C52798DA815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2405640" y="2325048"/>
                <a:ext cx="4013947" cy="2257845"/>
              </a:xfrm>
              <a:prstGeom prst="rect">
                <a:avLst/>
              </a:prstGeom>
              <a:ln w="3175">
                <a:solidFill>
                  <a:prstClr val="ltGray"/>
                </a:solidFill>
              </a:ln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255253220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able 12">
            <a:extLst>
              <a:ext uri="{FF2B5EF4-FFF2-40B4-BE49-F238E27FC236}">
                <a16:creationId xmlns:a16="http://schemas.microsoft.com/office/drawing/2014/main" id="{B9DC6A1D-7EEE-4A1A-9CED-BCDF04761112}"/>
              </a:ext>
            </a:extLst>
          </p:cNvPr>
          <p:cNvGraphicFramePr>
            <a:graphicFrameLocks noGrp="1"/>
          </p:cNvGraphicFramePr>
          <p:nvPr>
            <p:ph sz="quarter" idx="13"/>
            <p:extLst>
              <p:ext uri="{D42A27DB-BD31-4B8C-83A1-F6EECF244321}">
                <p14:modId xmlns:p14="http://schemas.microsoft.com/office/powerpoint/2010/main" val="906014832"/>
              </p:ext>
            </p:extLst>
          </p:nvPr>
        </p:nvGraphicFramePr>
        <p:xfrm>
          <a:off x="228600" y="1133475"/>
          <a:ext cx="8556624" cy="3519356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2852208">
                  <a:extLst>
                    <a:ext uri="{9D8B030D-6E8A-4147-A177-3AD203B41FA5}">
                      <a16:colId xmlns:a16="http://schemas.microsoft.com/office/drawing/2014/main" val="2411654284"/>
                    </a:ext>
                  </a:extLst>
                </a:gridCol>
                <a:gridCol w="2852208">
                  <a:extLst>
                    <a:ext uri="{9D8B030D-6E8A-4147-A177-3AD203B41FA5}">
                      <a16:colId xmlns:a16="http://schemas.microsoft.com/office/drawing/2014/main" val="1192436222"/>
                    </a:ext>
                  </a:extLst>
                </a:gridCol>
                <a:gridCol w="2852208">
                  <a:extLst>
                    <a:ext uri="{9D8B030D-6E8A-4147-A177-3AD203B41FA5}">
                      <a16:colId xmlns:a16="http://schemas.microsoft.com/office/drawing/2014/main" val="4010248424"/>
                    </a:ext>
                  </a:extLst>
                </a:gridCol>
              </a:tblGrid>
              <a:tr h="372001"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Couverture des Chemins</a:t>
                      </a:r>
                      <a:endParaRPr lang="fr-FR"/>
                    </a:p>
                  </a:txBody>
                  <a:tcPr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Couverture MC/DC</a:t>
                      </a:r>
                      <a:endParaRPr lang="fr-FR"/>
                    </a:p>
                  </a:txBody>
                  <a:tcPr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Pair-wise</a:t>
                      </a:r>
                      <a:endParaRPr lang="fr-FR"/>
                    </a:p>
                  </a:txBody>
                  <a:tcPr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93608770"/>
                  </a:ext>
                </a:extLst>
              </a:tr>
              <a:tr h="3147355">
                <a:tc>
                  <a:txBody>
                    <a:bodyPr/>
                    <a:lstStyle/>
                    <a:p>
                      <a:endParaRPr lang="fr-FR"/>
                    </a:p>
                  </a:txBody>
                  <a:tcPr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fr-FR"/>
                    </a:p>
                  </a:txBody>
                  <a:tcPr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fr-FR"/>
                    </a:p>
                  </a:txBody>
                  <a:tcPr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5412228"/>
                  </a:ext>
                </a:extLst>
              </a:tr>
            </a:tbl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1C54448-28A6-46E8-83E0-47C72073DD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Couverture de test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7E875EB-7BEB-48F6-8B3E-4F0FC135F8A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151B66A-2124-48F7-A79E-2E907228D3F2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45371B17-8C16-4D8B-AD40-C76E1456FA21}" type="datetime1">
              <a:rPr lang="fr-FR" smtClean="0"/>
              <a:t>20/03/2023</a:t>
            </a:fld>
            <a:endParaRPr lang="fr-FR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A8BB16A-ACFD-47D0-A569-34C634390DFE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438FEFB8-6B6E-4DC1-A5E4-A1258711B442}" type="slidenum">
              <a:rPr lang="en-GB" noProof="0" smtClean="0"/>
              <a:pPr/>
              <a:t>25</a:t>
            </a:fld>
            <a:endParaRPr lang="en-GB" noProof="0"/>
          </a:p>
        </p:txBody>
      </p:sp>
      <p:pic>
        <p:nvPicPr>
          <p:cNvPr id="1026" name="Picture 2" descr="Path coverage 2">
            <a:extLst>
              <a:ext uri="{FF2B5EF4-FFF2-40B4-BE49-F238E27FC236}">
                <a16:creationId xmlns:a16="http://schemas.microsoft.com/office/drawing/2014/main" id="{FC05642B-B925-4C17-9A39-CFED3059666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5860" y="1861769"/>
            <a:ext cx="2382181" cy="25376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BA49C4BF-26E2-4B84-A956-EC40FE9D078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486495" y="2469984"/>
            <a:ext cx="2170906" cy="1321218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A34F0B92-A5F2-43A1-B11E-5C341B2C1DF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20000" contrast="-4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5990880" y="2103015"/>
            <a:ext cx="1239369" cy="2055156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E1F1D6C1-46F8-4B44-AAFE-087856A46E9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20000" contrast="-4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573770" y="2423693"/>
            <a:ext cx="1166470" cy="1264639"/>
          </a:xfrm>
          <a:prstGeom prst="rect">
            <a:avLst/>
          </a:prstGeom>
        </p:spPr>
      </p:pic>
      <p:sp>
        <p:nvSpPr>
          <p:cNvPr id="21" name="Arrow: Right 20">
            <a:extLst>
              <a:ext uri="{FF2B5EF4-FFF2-40B4-BE49-F238E27FC236}">
                <a16:creationId xmlns:a16="http://schemas.microsoft.com/office/drawing/2014/main" id="{21C89DE3-7C01-4821-A005-D26F4AF955E1}"/>
              </a:ext>
            </a:extLst>
          </p:cNvPr>
          <p:cNvSpPr/>
          <p:nvPr/>
        </p:nvSpPr>
        <p:spPr>
          <a:xfrm>
            <a:off x="7294992" y="3021056"/>
            <a:ext cx="217233" cy="252597"/>
          </a:xfrm>
          <a:prstGeom prst="rightArrow">
            <a:avLst/>
          </a:prstGeom>
          <a:noFill/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3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876694218"/>
      </p:ext>
    </p:extLst>
  </p:cSld>
  <p:clrMapOvr>
    <a:masterClrMapping/>
  </p:clrMapOvr>
</p:sld>
</file>

<file path=ppt/slides/slide2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able 12">
            <a:extLst>
              <a:ext uri="{FF2B5EF4-FFF2-40B4-BE49-F238E27FC236}">
                <a16:creationId xmlns:a16="http://schemas.microsoft.com/office/drawing/2014/main" id="{B9DC6A1D-7EEE-4A1A-9CED-BCDF04761112}"/>
              </a:ext>
            </a:extLst>
          </p:cNvPr>
          <p:cNvGraphicFramePr>
            <a:graphicFrameLocks noGrp="1"/>
          </p:cNvGraphicFramePr>
          <p:nvPr>
            <p:ph sz="quarter" idx="13"/>
            <p:extLst>
              <p:ext uri="{D42A27DB-BD31-4B8C-83A1-F6EECF244321}">
                <p14:modId xmlns:p14="http://schemas.microsoft.com/office/powerpoint/2010/main" val="906014832"/>
              </p:ext>
            </p:extLst>
          </p:nvPr>
        </p:nvGraphicFramePr>
        <p:xfrm>
          <a:off x="228600" y="1133475"/>
          <a:ext cx="8556624" cy="3519356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2852208">
                  <a:extLst>
                    <a:ext uri="{9D8B030D-6E8A-4147-A177-3AD203B41FA5}">
                      <a16:colId xmlns:a16="http://schemas.microsoft.com/office/drawing/2014/main" val="2411654284"/>
                    </a:ext>
                  </a:extLst>
                </a:gridCol>
                <a:gridCol w="2852208">
                  <a:extLst>
                    <a:ext uri="{9D8B030D-6E8A-4147-A177-3AD203B41FA5}">
                      <a16:colId xmlns:a16="http://schemas.microsoft.com/office/drawing/2014/main" val="1192436222"/>
                    </a:ext>
                  </a:extLst>
                </a:gridCol>
                <a:gridCol w="2852208">
                  <a:extLst>
                    <a:ext uri="{9D8B030D-6E8A-4147-A177-3AD203B41FA5}">
                      <a16:colId xmlns:a16="http://schemas.microsoft.com/office/drawing/2014/main" val="4010248424"/>
                    </a:ext>
                  </a:extLst>
                </a:gridCol>
              </a:tblGrid>
              <a:tr h="372001"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Couverture des Chemins</a:t>
                      </a:r>
                      <a:endParaRPr lang="fr-FR"/>
                    </a:p>
                  </a:txBody>
                  <a:tcPr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Couverture MC/DC</a:t>
                      </a:r>
                      <a:endParaRPr lang="fr-FR"/>
                    </a:p>
                  </a:txBody>
                  <a:tcPr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Pair-wise</a:t>
                      </a:r>
                      <a:endParaRPr lang="fr-FR"/>
                    </a:p>
                  </a:txBody>
                  <a:tcPr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93608770"/>
                  </a:ext>
                </a:extLst>
              </a:tr>
              <a:tr h="3147355">
                <a:tc>
                  <a:txBody>
                    <a:bodyPr/>
                    <a:lstStyle/>
                    <a:p>
                      <a:endParaRPr lang="fr-FR"/>
                    </a:p>
                  </a:txBody>
                  <a:tcPr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fr-FR"/>
                    </a:p>
                  </a:txBody>
                  <a:tcPr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fr-FR"/>
                    </a:p>
                  </a:txBody>
                  <a:tcPr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5412228"/>
                  </a:ext>
                </a:extLst>
              </a:tr>
            </a:tbl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1C54448-28A6-46E8-83E0-47C72073DD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Couverture de test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7E875EB-7BEB-48F6-8B3E-4F0FC135F8A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151B66A-2124-48F7-A79E-2E907228D3F2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45371B17-8C16-4D8B-AD40-C76E1456FA21}" type="datetime1">
              <a:rPr lang="fr-FR" smtClean="0"/>
              <a:t>13/03/2023</a:t>
            </a:fld>
            <a:endParaRPr lang="fr-FR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A8BB16A-ACFD-47D0-A569-34C634390DFE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438FEFB8-6B6E-4DC1-A5E4-A1258711B442}" type="slidenum">
              <a:rPr lang="en-GB" noProof="0" smtClean="0"/>
              <a:pPr/>
              <a:t>25</a:t>
            </a:fld>
            <a:endParaRPr lang="en-GB" noProof="0"/>
          </a:p>
        </p:txBody>
      </p:sp>
      <p:pic>
        <p:nvPicPr>
          <p:cNvPr id="1026" name="Picture 2" descr="Path coverage 2">
            <a:extLst>
              <a:ext uri="{FF2B5EF4-FFF2-40B4-BE49-F238E27FC236}">
                <a16:creationId xmlns:a16="http://schemas.microsoft.com/office/drawing/2014/main" id="{FC05642B-B925-4C17-9A39-CFED3059666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5860" y="1861769"/>
            <a:ext cx="2382181" cy="25376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BA49C4BF-26E2-4B84-A956-EC40FE9D078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486495" y="2469984"/>
            <a:ext cx="2170906" cy="1321218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A34F0B92-A5F2-43A1-B11E-5C341B2C1DF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20000" contrast="-4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5990880" y="2103015"/>
            <a:ext cx="1239369" cy="2055156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E1F1D6C1-46F8-4B44-AAFE-087856A46E9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20000" contrast="-4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573770" y="2423693"/>
            <a:ext cx="1166470" cy="1264639"/>
          </a:xfrm>
          <a:prstGeom prst="rect">
            <a:avLst/>
          </a:prstGeom>
        </p:spPr>
      </p:pic>
      <p:sp>
        <p:nvSpPr>
          <p:cNvPr id="21" name="Arrow: Right 20">
            <a:extLst>
              <a:ext uri="{FF2B5EF4-FFF2-40B4-BE49-F238E27FC236}">
                <a16:creationId xmlns:a16="http://schemas.microsoft.com/office/drawing/2014/main" id="{21C89DE3-7C01-4821-A005-D26F4AF955E1}"/>
              </a:ext>
            </a:extLst>
          </p:cNvPr>
          <p:cNvSpPr/>
          <p:nvPr/>
        </p:nvSpPr>
        <p:spPr>
          <a:xfrm>
            <a:off x="7294992" y="3021056"/>
            <a:ext cx="217233" cy="252597"/>
          </a:xfrm>
          <a:prstGeom prst="rightArrow">
            <a:avLst/>
          </a:prstGeom>
          <a:noFill/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3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876694218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Diagram 4">
            <a:extLst>
              <a:ext uri="{FF2B5EF4-FFF2-40B4-BE49-F238E27FC236}">
                <a16:creationId xmlns:a16="http://schemas.microsoft.com/office/drawing/2014/main" id="{58B7FB44-9019-453A-9F89-5EB7FA8EB913}"/>
              </a:ext>
            </a:extLst>
          </p:cNvPr>
          <p:cNvGraphicFramePr/>
          <p:nvPr/>
        </p:nvGraphicFramePr>
        <p:xfrm>
          <a:off x="296116" y="634155"/>
          <a:ext cx="2077124" cy="372583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16FFC9AA-3A2D-466E-9522-8B2FE2D8712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921224" y="665971"/>
            <a:ext cx="2134387" cy="1063817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867BD34B-BB86-47B4-B190-184F3A72AFC1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919757" y="2086144"/>
            <a:ext cx="2713751" cy="2564141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25" name="Arrow: Bent 24">
            <a:extLst>
              <a:ext uri="{FF2B5EF4-FFF2-40B4-BE49-F238E27FC236}">
                <a16:creationId xmlns:a16="http://schemas.microsoft.com/office/drawing/2014/main" id="{CA18C985-C21F-4D38-9446-EEBE7AB9CE97}"/>
              </a:ext>
            </a:extLst>
          </p:cNvPr>
          <p:cNvSpPr/>
          <p:nvPr/>
        </p:nvSpPr>
        <p:spPr>
          <a:xfrm>
            <a:off x="505042" y="683728"/>
            <a:ext cx="2259020" cy="1648166"/>
          </a:xfrm>
          <a:prstGeom prst="bentArrow">
            <a:avLst>
              <a:gd name="adj1" fmla="val 4594"/>
              <a:gd name="adj2" fmla="val 5000"/>
              <a:gd name="adj3" fmla="val 10946"/>
              <a:gd name="adj4" fmla="val 23209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200">
              <a:solidFill>
                <a:schemeClr val="tx1"/>
              </a:solidFill>
            </a:endParaRPr>
          </a:p>
        </p:txBody>
      </p:sp>
      <p:sp>
        <p:nvSpPr>
          <p:cNvPr id="26" name="Arrow: Bent 25">
            <a:extLst>
              <a:ext uri="{FF2B5EF4-FFF2-40B4-BE49-F238E27FC236}">
                <a16:creationId xmlns:a16="http://schemas.microsoft.com/office/drawing/2014/main" id="{899FD7CD-E377-4599-AD34-2D12538B2C66}"/>
              </a:ext>
            </a:extLst>
          </p:cNvPr>
          <p:cNvSpPr/>
          <p:nvPr/>
        </p:nvSpPr>
        <p:spPr>
          <a:xfrm flipV="1">
            <a:off x="1293735" y="3595810"/>
            <a:ext cx="1470327" cy="617167"/>
          </a:xfrm>
          <a:prstGeom prst="bentArrow">
            <a:avLst>
              <a:gd name="adj1" fmla="val 10000"/>
              <a:gd name="adj2" fmla="val 10209"/>
              <a:gd name="adj3" fmla="val 19048"/>
              <a:gd name="adj4" fmla="val 23209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200">
              <a:solidFill>
                <a:schemeClr val="tx1"/>
              </a:solidFill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6B1AB1F9-B978-4E17-937A-98B183A4E362}"/>
              </a:ext>
            </a:extLst>
          </p:cNvPr>
          <p:cNvSpPr txBox="1"/>
          <p:nvPr/>
        </p:nvSpPr>
        <p:spPr>
          <a:xfrm>
            <a:off x="3176773" y="398584"/>
            <a:ext cx="155549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200"/>
              <a:t>Définition de scenario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591C6E34-AD11-401B-AD38-40BABDAB859D}"/>
              </a:ext>
            </a:extLst>
          </p:cNvPr>
          <p:cNvSpPr txBox="1"/>
          <p:nvPr/>
        </p:nvSpPr>
        <p:spPr>
          <a:xfrm>
            <a:off x="3140930" y="1807009"/>
            <a:ext cx="202664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200"/>
              <a:t>Implémentation de Mots-clés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355C424E-BDF6-4A73-A265-12D65E7A3584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413054" y="1508797"/>
            <a:ext cx="2142862" cy="3160964"/>
          </a:xfrm>
          <a:prstGeom prst="rect">
            <a:avLst/>
          </a:prstGeom>
        </p:spPr>
      </p:pic>
      <p:sp>
        <p:nvSpPr>
          <p:cNvPr id="31" name="Arrow: Left-Right 30">
            <a:extLst>
              <a:ext uri="{FF2B5EF4-FFF2-40B4-BE49-F238E27FC236}">
                <a16:creationId xmlns:a16="http://schemas.microsoft.com/office/drawing/2014/main" id="{41A304D9-F67F-40EE-9ACA-156429058B3C}"/>
              </a:ext>
            </a:extLst>
          </p:cNvPr>
          <p:cNvSpPr/>
          <p:nvPr/>
        </p:nvSpPr>
        <p:spPr>
          <a:xfrm>
            <a:off x="5726375" y="4048671"/>
            <a:ext cx="542925" cy="164306"/>
          </a:xfrm>
          <a:prstGeom prst="left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200"/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EAD0C112-FE32-4833-9E5C-279D1A92B55B}"/>
              </a:ext>
            </a:extLst>
          </p:cNvPr>
          <p:cNvSpPr txBox="1"/>
          <p:nvPr/>
        </p:nvSpPr>
        <p:spPr>
          <a:xfrm>
            <a:off x="6576663" y="1262265"/>
            <a:ext cx="157985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200"/>
              <a:t>Externalisation de JDD</a:t>
            </a:r>
          </a:p>
        </p:txBody>
      </p: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840D7380-E715-4AF3-A624-6FA57437EEC9}"/>
              </a:ext>
            </a:extLst>
          </p:cNvPr>
          <p:cNvCxnSpPr>
            <a:cxnSpLocks/>
          </p:cNvCxnSpPr>
          <p:nvPr/>
        </p:nvCxnSpPr>
        <p:spPr>
          <a:xfrm flipH="1">
            <a:off x="4803593" y="2306101"/>
            <a:ext cx="2516586" cy="978122"/>
          </a:xfrm>
          <a:prstGeom prst="line">
            <a:avLst/>
          </a:prstGeom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3BB6CD1B-4E87-4269-8A16-B2B0D8D2268A}"/>
              </a:ext>
            </a:extLst>
          </p:cNvPr>
          <p:cNvCxnSpPr>
            <a:cxnSpLocks/>
          </p:cNvCxnSpPr>
          <p:nvPr/>
        </p:nvCxnSpPr>
        <p:spPr>
          <a:xfrm flipH="1">
            <a:off x="4867888" y="2412819"/>
            <a:ext cx="2377067" cy="927412"/>
          </a:xfrm>
          <a:prstGeom prst="line">
            <a:avLst/>
          </a:prstGeom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40" name="TextBox 39">
            <a:extLst>
              <a:ext uri="{FF2B5EF4-FFF2-40B4-BE49-F238E27FC236}">
                <a16:creationId xmlns:a16="http://schemas.microsoft.com/office/drawing/2014/main" id="{66360938-9DF4-4067-A21D-A085714DDE21}"/>
              </a:ext>
            </a:extLst>
          </p:cNvPr>
          <p:cNvSpPr txBox="1"/>
          <p:nvPr/>
        </p:nvSpPr>
        <p:spPr>
          <a:xfrm>
            <a:off x="652494" y="1197880"/>
            <a:ext cx="1561646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050"/>
              <a:t>Modélisation de scenario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77CDD91D-1436-4D91-AA8F-211DD647FCD5}"/>
              </a:ext>
            </a:extLst>
          </p:cNvPr>
          <p:cNvSpPr txBox="1"/>
          <p:nvPr/>
        </p:nvSpPr>
        <p:spPr>
          <a:xfrm>
            <a:off x="6612302" y="217618"/>
            <a:ext cx="129715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200"/>
              <a:t>Utiliser le Modèle</a:t>
            </a:r>
          </a:p>
        </p:txBody>
      </p: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5E65BC19-8ABC-44E7-AA8B-DCC0BE0631DC}"/>
              </a:ext>
            </a:extLst>
          </p:cNvPr>
          <p:cNvCxnSpPr>
            <a:cxnSpLocks/>
          </p:cNvCxnSpPr>
          <p:nvPr/>
        </p:nvCxnSpPr>
        <p:spPr>
          <a:xfrm flipV="1">
            <a:off x="4803593" y="576450"/>
            <a:ext cx="1733484" cy="2512830"/>
          </a:xfrm>
          <a:prstGeom prst="line">
            <a:avLst/>
          </a:prstGeom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pic>
        <p:nvPicPr>
          <p:cNvPr id="52" name="Picture 4" descr="Pagemodel">
            <a:extLst>
              <a:ext uri="{FF2B5EF4-FFF2-40B4-BE49-F238E27FC236}">
                <a16:creationId xmlns:a16="http://schemas.microsoft.com/office/drawing/2014/main" id="{6C6BF7A7-B146-43B8-A98E-E521C4BFA30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12303" y="474667"/>
            <a:ext cx="1415753" cy="7938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77949928"/>
      </p:ext>
    </p:extLst>
  </p:cSld>
  <p:clrMapOvr>
    <a:masterClrMapping/>
  </p:clrMapOvr>
</p:sld>
</file>

<file path=ppt/slides/slide2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Diagram 4">
            <a:extLst>
              <a:ext uri="{FF2B5EF4-FFF2-40B4-BE49-F238E27FC236}">
                <a16:creationId xmlns:a16="http://schemas.microsoft.com/office/drawing/2014/main" id="{58B7FB44-9019-453A-9F89-5EB7FA8EB913}"/>
              </a:ext>
            </a:extLst>
          </p:cNvPr>
          <p:cNvGraphicFramePr/>
          <p:nvPr/>
        </p:nvGraphicFramePr>
        <p:xfrm>
          <a:off x="296116" y="634155"/>
          <a:ext cx="2077124" cy="372583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16FFC9AA-3A2D-466E-9522-8B2FE2D8712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921224" y="665971"/>
            <a:ext cx="2134387" cy="1063817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867BD34B-BB86-47B4-B190-184F3A72AFC1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919757" y="2086144"/>
            <a:ext cx="2713751" cy="2564141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25" name="Arrow: Bent 24">
            <a:extLst>
              <a:ext uri="{FF2B5EF4-FFF2-40B4-BE49-F238E27FC236}">
                <a16:creationId xmlns:a16="http://schemas.microsoft.com/office/drawing/2014/main" id="{CA18C985-C21F-4D38-9446-EEBE7AB9CE97}"/>
              </a:ext>
            </a:extLst>
          </p:cNvPr>
          <p:cNvSpPr/>
          <p:nvPr/>
        </p:nvSpPr>
        <p:spPr>
          <a:xfrm>
            <a:off x="505042" y="683728"/>
            <a:ext cx="2259020" cy="1648166"/>
          </a:xfrm>
          <a:prstGeom prst="bentArrow">
            <a:avLst>
              <a:gd name="adj1" fmla="val 4594"/>
              <a:gd name="adj2" fmla="val 5000"/>
              <a:gd name="adj3" fmla="val 10946"/>
              <a:gd name="adj4" fmla="val 23209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200">
              <a:solidFill>
                <a:schemeClr val="tx1"/>
              </a:solidFill>
            </a:endParaRPr>
          </a:p>
        </p:txBody>
      </p:sp>
      <p:sp>
        <p:nvSpPr>
          <p:cNvPr id="26" name="Arrow: Bent 25">
            <a:extLst>
              <a:ext uri="{FF2B5EF4-FFF2-40B4-BE49-F238E27FC236}">
                <a16:creationId xmlns:a16="http://schemas.microsoft.com/office/drawing/2014/main" id="{899FD7CD-E377-4599-AD34-2D12538B2C66}"/>
              </a:ext>
            </a:extLst>
          </p:cNvPr>
          <p:cNvSpPr/>
          <p:nvPr/>
        </p:nvSpPr>
        <p:spPr>
          <a:xfrm flipV="1">
            <a:off x="1293735" y="3595810"/>
            <a:ext cx="1470327" cy="617167"/>
          </a:xfrm>
          <a:prstGeom prst="bentArrow">
            <a:avLst>
              <a:gd name="adj1" fmla="val 10000"/>
              <a:gd name="adj2" fmla="val 10209"/>
              <a:gd name="adj3" fmla="val 19048"/>
              <a:gd name="adj4" fmla="val 23209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200">
              <a:solidFill>
                <a:schemeClr val="tx1"/>
              </a:solidFill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6B1AB1F9-B978-4E17-937A-98B183A4E362}"/>
              </a:ext>
            </a:extLst>
          </p:cNvPr>
          <p:cNvSpPr txBox="1"/>
          <p:nvPr/>
        </p:nvSpPr>
        <p:spPr>
          <a:xfrm>
            <a:off x="3176773" y="398584"/>
            <a:ext cx="155549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200"/>
              <a:t>Définition de scenario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591C6E34-AD11-401B-AD38-40BABDAB859D}"/>
              </a:ext>
            </a:extLst>
          </p:cNvPr>
          <p:cNvSpPr txBox="1"/>
          <p:nvPr/>
        </p:nvSpPr>
        <p:spPr>
          <a:xfrm>
            <a:off x="3140930" y="1807009"/>
            <a:ext cx="202664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200"/>
              <a:t>Implémentation de Mots-clés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355C424E-BDF6-4A73-A265-12D65E7A3584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413054" y="1508797"/>
            <a:ext cx="2142862" cy="3160964"/>
          </a:xfrm>
          <a:prstGeom prst="rect">
            <a:avLst/>
          </a:prstGeom>
        </p:spPr>
      </p:pic>
      <p:sp>
        <p:nvSpPr>
          <p:cNvPr id="31" name="Arrow: Left-Right 30">
            <a:extLst>
              <a:ext uri="{FF2B5EF4-FFF2-40B4-BE49-F238E27FC236}">
                <a16:creationId xmlns:a16="http://schemas.microsoft.com/office/drawing/2014/main" id="{41A304D9-F67F-40EE-9ACA-156429058B3C}"/>
              </a:ext>
            </a:extLst>
          </p:cNvPr>
          <p:cNvSpPr/>
          <p:nvPr/>
        </p:nvSpPr>
        <p:spPr>
          <a:xfrm>
            <a:off x="5726375" y="4048671"/>
            <a:ext cx="542925" cy="164306"/>
          </a:xfrm>
          <a:prstGeom prst="left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200"/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EAD0C112-FE32-4833-9E5C-279D1A92B55B}"/>
              </a:ext>
            </a:extLst>
          </p:cNvPr>
          <p:cNvSpPr txBox="1"/>
          <p:nvPr/>
        </p:nvSpPr>
        <p:spPr>
          <a:xfrm>
            <a:off x="6576663" y="1262265"/>
            <a:ext cx="157985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200"/>
              <a:t>Externalisation de JDD</a:t>
            </a:r>
          </a:p>
        </p:txBody>
      </p: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840D7380-E715-4AF3-A624-6FA57437EEC9}"/>
              </a:ext>
            </a:extLst>
          </p:cNvPr>
          <p:cNvCxnSpPr>
            <a:cxnSpLocks/>
          </p:cNvCxnSpPr>
          <p:nvPr/>
        </p:nvCxnSpPr>
        <p:spPr>
          <a:xfrm flipH="1">
            <a:off x="4803593" y="2306101"/>
            <a:ext cx="2516586" cy="978122"/>
          </a:xfrm>
          <a:prstGeom prst="line">
            <a:avLst/>
          </a:prstGeom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3BB6CD1B-4E87-4269-8A16-B2B0D8D2268A}"/>
              </a:ext>
            </a:extLst>
          </p:cNvPr>
          <p:cNvCxnSpPr>
            <a:cxnSpLocks/>
          </p:cNvCxnSpPr>
          <p:nvPr/>
        </p:nvCxnSpPr>
        <p:spPr>
          <a:xfrm flipH="1">
            <a:off x="4867888" y="2412819"/>
            <a:ext cx="2377067" cy="927412"/>
          </a:xfrm>
          <a:prstGeom prst="line">
            <a:avLst/>
          </a:prstGeom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40" name="TextBox 39">
            <a:extLst>
              <a:ext uri="{FF2B5EF4-FFF2-40B4-BE49-F238E27FC236}">
                <a16:creationId xmlns:a16="http://schemas.microsoft.com/office/drawing/2014/main" id="{66360938-9DF4-4067-A21D-A085714DDE21}"/>
              </a:ext>
            </a:extLst>
          </p:cNvPr>
          <p:cNvSpPr txBox="1"/>
          <p:nvPr/>
        </p:nvSpPr>
        <p:spPr>
          <a:xfrm>
            <a:off x="652494" y="1197880"/>
            <a:ext cx="1561646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050"/>
              <a:t>Modélisation de scenario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77CDD91D-1436-4D91-AA8F-211DD647FCD5}"/>
              </a:ext>
            </a:extLst>
          </p:cNvPr>
          <p:cNvSpPr txBox="1"/>
          <p:nvPr/>
        </p:nvSpPr>
        <p:spPr>
          <a:xfrm>
            <a:off x="6612302" y="217618"/>
            <a:ext cx="129715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200"/>
              <a:t>Utiliser le Modèle</a:t>
            </a:r>
          </a:p>
        </p:txBody>
      </p: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5E65BC19-8ABC-44E7-AA8B-DCC0BE0631DC}"/>
              </a:ext>
            </a:extLst>
          </p:cNvPr>
          <p:cNvCxnSpPr>
            <a:cxnSpLocks/>
          </p:cNvCxnSpPr>
          <p:nvPr/>
        </p:nvCxnSpPr>
        <p:spPr>
          <a:xfrm flipV="1">
            <a:off x="4803593" y="576450"/>
            <a:ext cx="1733484" cy="2512830"/>
          </a:xfrm>
          <a:prstGeom prst="line">
            <a:avLst/>
          </a:prstGeom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pic>
        <p:nvPicPr>
          <p:cNvPr id="52" name="Picture 4" descr="Pagemodel">
            <a:extLst>
              <a:ext uri="{FF2B5EF4-FFF2-40B4-BE49-F238E27FC236}">
                <a16:creationId xmlns:a16="http://schemas.microsoft.com/office/drawing/2014/main" id="{6C6BF7A7-B146-43B8-A98E-E521C4BFA30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12303" y="474667"/>
            <a:ext cx="1415753" cy="7938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77949928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Diagram 4">
            <a:extLst>
              <a:ext uri="{FF2B5EF4-FFF2-40B4-BE49-F238E27FC236}">
                <a16:creationId xmlns:a16="http://schemas.microsoft.com/office/drawing/2014/main" id="{58B7FB44-9019-453A-9F89-5EB7FA8EB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506915873"/>
              </p:ext>
            </p:extLst>
          </p:nvPr>
        </p:nvGraphicFramePr>
        <p:xfrm>
          <a:off x="35532" y="728923"/>
          <a:ext cx="3080130" cy="395347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27" name="TextBox 26">
            <a:extLst>
              <a:ext uri="{FF2B5EF4-FFF2-40B4-BE49-F238E27FC236}">
                <a16:creationId xmlns:a16="http://schemas.microsoft.com/office/drawing/2014/main" id="{6B1AB1F9-B978-4E17-937A-98B183A4E362}"/>
              </a:ext>
            </a:extLst>
          </p:cNvPr>
          <p:cNvSpPr txBox="1"/>
          <p:nvPr/>
        </p:nvSpPr>
        <p:spPr>
          <a:xfrm>
            <a:off x="3810025" y="398583"/>
            <a:ext cx="456849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200"/>
              <a:t>Définition du scenario, actions à effectuer et JDD dans le même fichier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66360938-9DF4-4067-A21D-A085714DDE21}"/>
              </a:ext>
            </a:extLst>
          </p:cNvPr>
          <p:cNvSpPr txBox="1"/>
          <p:nvPr/>
        </p:nvSpPr>
        <p:spPr>
          <a:xfrm>
            <a:off x="630363" y="398584"/>
            <a:ext cx="176542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200"/>
              <a:t>Modélisation du scenario</a:t>
            </a:r>
          </a:p>
        </p:txBody>
      </p:sp>
      <p:sp>
        <p:nvSpPr>
          <p:cNvPr id="8" name="Arrow: Left-Right 30">
            <a:extLst>
              <a:ext uri="{FF2B5EF4-FFF2-40B4-BE49-F238E27FC236}">
                <a16:creationId xmlns:a16="http://schemas.microsoft.com/office/drawing/2014/main" id="{5E3EC18B-FCD0-BD40-457A-54E4AEDAC274}"/>
              </a:ext>
            </a:extLst>
          </p:cNvPr>
          <p:cNvSpPr/>
          <p:nvPr/>
        </p:nvSpPr>
        <p:spPr>
          <a:xfrm>
            <a:off x="2502398" y="454930"/>
            <a:ext cx="542925" cy="164306"/>
          </a:xfrm>
          <a:prstGeom prst="left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200"/>
          </a:p>
        </p:txBody>
      </p:sp>
      <p:pic>
        <p:nvPicPr>
          <p:cNvPr id="12" name="Image 11">
            <a:extLst>
              <a:ext uri="{FF2B5EF4-FFF2-40B4-BE49-F238E27FC236}">
                <a16:creationId xmlns:a16="http://schemas.microsoft.com/office/drawing/2014/main" id="{530057F0-B017-CED1-D7C9-57DAFEED397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334590" y="1038233"/>
            <a:ext cx="5773878" cy="33221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3856794"/>
      </p:ext>
    </p:extLst>
  </p:cSld>
  <p:clrMapOvr>
    <a:masterClrMapping/>
  </p:clrMapOvr>
</p:sld>
</file>

<file path=ppt/slides/slide2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Diagram 4">
            <a:extLst>
              <a:ext uri="{FF2B5EF4-FFF2-40B4-BE49-F238E27FC236}">
                <a16:creationId xmlns:a16="http://schemas.microsoft.com/office/drawing/2014/main" id="{58B7FB44-9019-453A-9F89-5EB7FA8EB9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506915873"/>
              </p:ext>
            </p:extLst>
          </p:nvPr>
        </p:nvGraphicFramePr>
        <p:xfrm>
          <a:off x="35532" y="728923"/>
          <a:ext cx="3080130" cy="395347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27" name="TextBox 26">
            <a:extLst>
              <a:ext uri="{FF2B5EF4-FFF2-40B4-BE49-F238E27FC236}">
                <a16:creationId xmlns:a16="http://schemas.microsoft.com/office/drawing/2014/main" id="{6B1AB1F9-B978-4E17-937A-98B183A4E362}"/>
              </a:ext>
            </a:extLst>
          </p:cNvPr>
          <p:cNvSpPr txBox="1"/>
          <p:nvPr/>
        </p:nvSpPr>
        <p:spPr>
          <a:xfrm>
            <a:off x="3810025" y="398583"/>
            <a:ext cx="456849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200"/>
              <a:t>Définition du scenario, actions à effectuer et JDD dans le même fichier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66360938-9DF4-4067-A21D-A085714DDE21}"/>
              </a:ext>
            </a:extLst>
          </p:cNvPr>
          <p:cNvSpPr txBox="1"/>
          <p:nvPr/>
        </p:nvSpPr>
        <p:spPr>
          <a:xfrm>
            <a:off x="630363" y="398584"/>
            <a:ext cx="176542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200"/>
              <a:t>Modélisation du scenario</a:t>
            </a:r>
          </a:p>
        </p:txBody>
      </p:sp>
      <p:sp>
        <p:nvSpPr>
          <p:cNvPr id="8" name="Arrow: Left-Right 30">
            <a:extLst>
              <a:ext uri="{FF2B5EF4-FFF2-40B4-BE49-F238E27FC236}">
                <a16:creationId xmlns:a16="http://schemas.microsoft.com/office/drawing/2014/main" id="{5E3EC18B-FCD0-BD40-457A-54E4AEDAC274}"/>
              </a:ext>
            </a:extLst>
          </p:cNvPr>
          <p:cNvSpPr/>
          <p:nvPr/>
        </p:nvSpPr>
        <p:spPr>
          <a:xfrm>
            <a:off x="2502398" y="454930"/>
            <a:ext cx="542925" cy="164306"/>
          </a:xfrm>
          <a:prstGeom prst="left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200"/>
          </a:p>
        </p:txBody>
      </p:sp>
      <p:pic>
        <p:nvPicPr>
          <p:cNvPr id="12" name="Image 11">
            <a:extLst>
              <a:ext uri="{FF2B5EF4-FFF2-40B4-BE49-F238E27FC236}">
                <a16:creationId xmlns:a16="http://schemas.microsoft.com/office/drawing/2014/main" id="{530057F0-B017-CED1-D7C9-57DAFEED397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334590" y="1038233"/>
            <a:ext cx="5773878" cy="33221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3856794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e 150">
            <a:extLst>
              <a:ext uri="{FF2B5EF4-FFF2-40B4-BE49-F238E27FC236}">
                <a16:creationId xmlns:a16="http://schemas.microsoft.com/office/drawing/2014/main" id="{A062A59D-0A7D-4F1D-A65A-743722050436}"/>
              </a:ext>
            </a:extLst>
          </p:cNvPr>
          <p:cNvGrpSpPr/>
          <p:nvPr/>
        </p:nvGrpSpPr>
        <p:grpSpPr>
          <a:xfrm>
            <a:off x="274257" y="558113"/>
            <a:ext cx="8595485" cy="4027274"/>
            <a:chOff x="226256" y="1197684"/>
            <a:chExt cx="11460647" cy="5369699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620E5E12-EB6E-48DB-8E73-38EAEC4A4144}"/>
                </a:ext>
              </a:extLst>
            </p:cNvPr>
            <p:cNvSpPr/>
            <p:nvPr/>
          </p:nvSpPr>
          <p:spPr>
            <a:xfrm>
              <a:off x="226256" y="1197684"/>
              <a:ext cx="11460647" cy="536969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200"/>
            </a:p>
          </p:txBody>
        </p:sp>
        <p:grpSp>
          <p:nvGrpSpPr>
            <p:cNvPr id="7" name="Groupe 148">
              <a:extLst>
                <a:ext uri="{FF2B5EF4-FFF2-40B4-BE49-F238E27FC236}">
                  <a16:creationId xmlns:a16="http://schemas.microsoft.com/office/drawing/2014/main" id="{FA94F00E-D005-4F7A-81A5-E1D3B0A61341}"/>
                </a:ext>
              </a:extLst>
            </p:cNvPr>
            <p:cNvGrpSpPr/>
            <p:nvPr/>
          </p:nvGrpSpPr>
          <p:grpSpPr>
            <a:xfrm>
              <a:off x="226256" y="1197684"/>
              <a:ext cx="11395545" cy="5304463"/>
              <a:chOff x="226256" y="1197684"/>
              <a:chExt cx="11395545" cy="5304463"/>
            </a:xfrm>
          </p:grpSpPr>
          <p:sp>
            <p:nvSpPr>
              <p:cNvPr id="8" name="Rectangle 7">
                <a:extLst>
                  <a:ext uri="{FF2B5EF4-FFF2-40B4-BE49-F238E27FC236}">
                    <a16:creationId xmlns:a16="http://schemas.microsoft.com/office/drawing/2014/main" id="{00A504AB-557F-4E34-A33D-559D604B0508}"/>
                  </a:ext>
                </a:extLst>
              </p:cNvPr>
              <p:cNvSpPr/>
              <p:nvPr/>
            </p:nvSpPr>
            <p:spPr>
              <a:xfrm>
                <a:off x="3186002" y="1197685"/>
                <a:ext cx="6709697" cy="5304462"/>
              </a:xfrm>
              <a:prstGeom prst="rect">
                <a:avLst/>
              </a:prstGeom>
              <a:solidFill>
                <a:schemeClr val="bg2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 sz="1200"/>
              </a:p>
            </p:txBody>
          </p:sp>
          <p:sp>
            <p:nvSpPr>
              <p:cNvPr id="9" name="Rectangle 8">
                <a:extLst>
                  <a:ext uri="{FF2B5EF4-FFF2-40B4-BE49-F238E27FC236}">
                    <a16:creationId xmlns:a16="http://schemas.microsoft.com/office/drawing/2014/main" id="{2661B4D0-E996-4AB4-B3BB-D3A7F4A9D382}"/>
                  </a:ext>
                </a:extLst>
              </p:cNvPr>
              <p:cNvSpPr/>
              <p:nvPr/>
            </p:nvSpPr>
            <p:spPr>
              <a:xfrm>
                <a:off x="226256" y="1197684"/>
                <a:ext cx="2735308" cy="1658438"/>
              </a:xfrm>
              <a:prstGeom prst="rect">
                <a:avLst/>
              </a:prstGeom>
              <a:noFill/>
              <a:ln>
                <a:solidFill>
                  <a:srgbClr val="007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r>
                  <a:rPr lang="en-US" sz="1050">
                    <a:solidFill>
                      <a:srgbClr val="002060"/>
                    </a:solidFill>
                  </a:rPr>
                  <a:t>Poste de travail</a:t>
                </a:r>
                <a:endParaRPr lang="fr-FR" sz="1050">
                  <a:solidFill>
                    <a:srgbClr val="002060"/>
                  </a:solidFill>
                </a:endParaRPr>
              </a:p>
            </p:txBody>
          </p:sp>
          <p:pic>
            <p:nvPicPr>
              <p:cNvPr id="10" name="Picture 67" descr="Icon&#10;&#10;Description automatically generated">
                <a:extLst>
                  <a:ext uri="{FF2B5EF4-FFF2-40B4-BE49-F238E27FC236}">
                    <a16:creationId xmlns:a16="http://schemas.microsoft.com/office/drawing/2014/main" id="{14D96B5B-1AC1-416B-A6E1-FBCDB67021B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661976" y="1640733"/>
                <a:ext cx="320767" cy="320767"/>
              </a:xfrm>
              <a:prstGeom prst="rect">
                <a:avLst/>
              </a:prstGeom>
            </p:spPr>
          </p:pic>
          <p:pic>
            <p:nvPicPr>
              <p:cNvPr id="11" name="Picture 69" descr="A picture containing text, yellow, clipart, picture frame&#10;&#10;Description automatically generated">
                <a:extLst>
                  <a:ext uri="{FF2B5EF4-FFF2-40B4-BE49-F238E27FC236}">
                    <a16:creationId xmlns:a16="http://schemas.microsoft.com/office/drawing/2014/main" id="{FAE61BE7-FEB3-4E6F-B64B-1DE3C6125EC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92566" y="1671468"/>
                <a:ext cx="298765" cy="298765"/>
              </a:xfrm>
              <a:prstGeom prst="rect">
                <a:avLst/>
              </a:prstGeom>
            </p:spPr>
          </p:pic>
          <p:pic>
            <p:nvPicPr>
              <p:cNvPr id="12" name="Picture 2">
                <a:extLst>
                  <a:ext uri="{FF2B5EF4-FFF2-40B4-BE49-F238E27FC236}">
                    <a16:creationId xmlns:a16="http://schemas.microsoft.com/office/drawing/2014/main" id="{EB7F6003-DFED-4179-8845-775B53C72E8D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651824" y="2451131"/>
                <a:ext cx="298765" cy="298765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3" name="Picture 4" descr="Afficher l’image source">
                <a:extLst>
                  <a:ext uri="{FF2B5EF4-FFF2-40B4-BE49-F238E27FC236}">
                    <a16:creationId xmlns:a16="http://schemas.microsoft.com/office/drawing/2014/main" id="{92B173E7-D43B-4FD5-A6B5-980A810AFABD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82416" y="2455367"/>
                <a:ext cx="298765" cy="298765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14" name="TextBox 70">
                <a:extLst>
                  <a:ext uri="{FF2B5EF4-FFF2-40B4-BE49-F238E27FC236}">
                    <a16:creationId xmlns:a16="http://schemas.microsoft.com/office/drawing/2014/main" id="{99FF1875-81D1-4571-9F9B-FCE5544DE9A3}"/>
                  </a:ext>
                </a:extLst>
              </p:cNvPr>
              <p:cNvSpPr txBox="1"/>
              <p:nvPr/>
            </p:nvSpPr>
            <p:spPr>
              <a:xfrm>
                <a:off x="1910245" y="2466017"/>
                <a:ext cx="987877" cy="29238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825">
                    <a:solidFill>
                      <a:srgbClr val="002060"/>
                    </a:solidFill>
                  </a:rPr>
                  <a:t>Visual Studio</a:t>
                </a:r>
                <a:endParaRPr lang="fr-FR" sz="825">
                  <a:solidFill>
                    <a:srgbClr val="002060"/>
                  </a:solidFill>
                </a:endParaRPr>
              </a:p>
            </p:txBody>
          </p:sp>
          <p:sp>
            <p:nvSpPr>
              <p:cNvPr id="15" name="TextBox 73">
                <a:extLst>
                  <a:ext uri="{FF2B5EF4-FFF2-40B4-BE49-F238E27FC236}">
                    <a16:creationId xmlns:a16="http://schemas.microsoft.com/office/drawing/2014/main" id="{87BDF9C2-72B4-4B71-A570-7D1A9110DCCE}"/>
                  </a:ext>
                </a:extLst>
              </p:cNvPr>
              <p:cNvSpPr txBox="1"/>
              <p:nvPr/>
            </p:nvSpPr>
            <p:spPr>
              <a:xfrm>
                <a:off x="648060" y="2488285"/>
                <a:ext cx="921620" cy="29238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825">
                    <a:solidFill>
                      <a:srgbClr val="002060"/>
                    </a:solidFill>
                  </a:rPr>
                  <a:t>IntelliJ IDEA</a:t>
                </a:r>
                <a:endParaRPr lang="fr-FR" sz="825">
                  <a:solidFill>
                    <a:srgbClr val="002060"/>
                  </a:solidFill>
                </a:endParaRPr>
              </a:p>
            </p:txBody>
          </p:sp>
          <p:sp>
            <p:nvSpPr>
              <p:cNvPr id="16" name="TextBox 74">
                <a:extLst>
                  <a:ext uri="{FF2B5EF4-FFF2-40B4-BE49-F238E27FC236}">
                    <a16:creationId xmlns:a16="http://schemas.microsoft.com/office/drawing/2014/main" id="{6FB322AD-24DC-42FA-A546-1293B70DCF73}"/>
                  </a:ext>
                </a:extLst>
              </p:cNvPr>
              <p:cNvSpPr txBox="1"/>
              <p:nvPr/>
            </p:nvSpPr>
            <p:spPr>
              <a:xfrm>
                <a:off x="1917203" y="1694763"/>
                <a:ext cx="1094745" cy="29238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825">
                    <a:solidFill>
                      <a:srgbClr val="002060"/>
                    </a:solidFill>
                  </a:rPr>
                  <a:t>UFT Developer</a:t>
                </a:r>
                <a:endParaRPr lang="fr-FR" sz="825">
                  <a:solidFill>
                    <a:srgbClr val="002060"/>
                  </a:solidFill>
                </a:endParaRPr>
              </a:p>
            </p:txBody>
          </p:sp>
          <p:sp>
            <p:nvSpPr>
              <p:cNvPr id="17" name="TextBox 75">
                <a:extLst>
                  <a:ext uri="{FF2B5EF4-FFF2-40B4-BE49-F238E27FC236}">
                    <a16:creationId xmlns:a16="http://schemas.microsoft.com/office/drawing/2014/main" id="{EC39B18C-0BCB-410F-A609-2E1882511077}"/>
                  </a:ext>
                </a:extLst>
              </p:cNvPr>
              <p:cNvSpPr txBox="1"/>
              <p:nvPr/>
            </p:nvSpPr>
            <p:spPr>
              <a:xfrm>
                <a:off x="655117" y="1693645"/>
                <a:ext cx="791243" cy="29238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825">
                    <a:solidFill>
                      <a:srgbClr val="002060"/>
                    </a:solidFill>
                  </a:rPr>
                  <a:t>ReadyAPI</a:t>
                </a:r>
                <a:endParaRPr lang="fr-FR" sz="825">
                  <a:solidFill>
                    <a:srgbClr val="002060"/>
                  </a:solidFill>
                </a:endParaRPr>
              </a:p>
            </p:txBody>
          </p:sp>
          <p:grpSp>
            <p:nvGrpSpPr>
              <p:cNvPr id="18" name="Groupe 15">
                <a:extLst>
                  <a:ext uri="{FF2B5EF4-FFF2-40B4-BE49-F238E27FC236}">
                    <a16:creationId xmlns:a16="http://schemas.microsoft.com/office/drawing/2014/main" id="{C4E8498D-E446-40F6-B58F-B5238AB2E32C}"/>
                  </a:ext>
                </a:extLst>
              </p:cNvPr>
              <p:cNvGrpSpPr/>
              <p:nvPr/>
            </p:nvGrpSpPr>
            <p:grpSpPr>
              <a:xfrm>
                <a:off x="10043757" y="1197684"/>
                <a:ext cx="1574107" cy="2800676"/>
                <a:chOff x="10247305" y="3669059"/>
                <a:chExt cx="1574107" cy="2800676"/>
              </a:xfrm>
            </p:grpSpPr>
            <p:pic>
              <p:nvPicPr>
                <p:cNvPr id="114" name="Picture 6" descr="Afficher l’image source">
                  <a:extLst>
                    <a:ext uri="{FF2B5EF4-FFF2-40B4-BE49-F238E27FC236}">
                      <a16:creationId xmlns:a16="http://schemas.microsoft.com/office/drawing/2014/main" id="{F49243B6-7394-45AB-9230-C1CEC3763D77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 rotWithShape="1">
                <a:blip r:embed="rId6">
                  <a:extLst>
                    <a:ext uri="{BEBA8EAE-BF5A-486C-A8C5-ECC9F3942E4B}">
                      <a14:imgProps xmlns:a14="http://schemas.microsoft.com/office/drawing/2010/main">
                        <a14:imgLayer r:embed="rId7">
                          <a14:imgEffect>
                            <a14:brightnessContrast contrast="-40000"/>
                          </a14:imgEffect>
                        </a14:imgLayer>
                      </a14:imgProps>
                    </a:ex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l="28440" t="13612" r="4552" b="7819"/>
                <a:stretch/>
              </p:blipFill>
              <p:spPr bwMode="auto">
                <a:xfrm>
                  <a:off x="10254242" y="4283143"/>
                  <a:ext cx="1550323" cy="1590619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sp>
              <p:nvSpPr>
                <p:cNvPr id="115" name="Rectangle 114">
                  <a:extLst>
                    <a:ext uri="{FF2B5EF4-FFF2-40B4-BE49-F238E27FC236}">
                      <a16:creationId xmlns:a16="http://schemas.microsoft.com/office/drawing/2014/main" id="{091482B5-F06F-44F5-91C3-FDFDF99601F2}"/>
                    </a:ext>
                  </a:extLst>
                </p:cNvPr>
                <p:cNvSpPr/>
                <p:nvPr/>
              </p:nvSpPr>
              <p:spPr>
                <a:xfrm>
                  <a:off x="10247305" y="3669059"/>
                  <a:ext cx="1574107" cy="2800676"/>
                </a:xfrm>
                <a:prstGeom prst="rect">
                  <a:avLst/>
                </a:prstGeom>
                <a:noFill/>
                <a:ln>
                  <a:solidFill>
                    <a:srgbClr val="00206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t"/>
                <a:lstStyle/>
                <a:p>
                  <a:r>
                    <a:rPr lang="en-US" sz="1050">
                      <a:solidFill>
                        <a:srgbClr val="002060"/>
                      </a:solidFill>
                    </a:rPr>
                    <a:t>Sys</a:t>
                  </a:r>
                  <a:r>
                    <a:rPr lang="fr-FR" sz="1050">
                      <a:solidFill>
                        <a:srgbClr val="002060"/>
                      </a:solidFill>
                    </a:rPr>
                    <a:t>è</a:t>
                  </a:r>
                  <a:r>
                    <a:rPr lang="en-US" sz="1050">
                      <a:solidFill>
                        <a:srgbClr val="002060"/>
                      </a:solidFill>
                    </a:rPr>
                    <a:t>me sous test</a:t>
                  </a:r>
                  <a:endParaRPr lang="fr-FR" sz="1050">
                    <a:solidFill>
                      <a:srgbClr val="002060"/>
                    </a:solidFill>
                  </a:endParaRPr>
                </a:p>
              </p:txBody>
            </p:sp>
          </p:grpSp>
          <p:grpSp>
            <p:nvGrpSpPr>
              <p:cNvPr id="19" name="Groupe 18">
                <a:extLst>
                  <a:ext uri="{FF2B5EF4-FFF2-40B4-BE49-F238E27FC236}">
                    <a16:creationId xmlns:a16="http://schemas.microsoft.com/office/drawing/2014/main" id="{876BBFC1-68FA-47EA-909F-48E746923E97}"/>
                  </a:ext>
                </a:extLst>
              </p:cNvPr>
              <p:cNvGrpSpPr/>
              <p:nvPr/>
            </p:nvGrpSpPr>
            <p:grpSpPr>
              <a:xfrm>
                <a:off x="10054631" y="4048500"/>
                <a:ext cx="1567170" cy="2453645"/>
                <a:chOff x="10254242" y="1372507"/>
                <a:chExt cx="1567170" cy="2056494"/>
              </a:xfrm>
            </p:grpSpPr>
            <p:sp>
              <p:nvSpPr>
                <p:cNvPr id="111" name="Rectangle 110">
                  <a:extLst>
                    <a:ext uri="{FF2B5EF4-FFF2-40B4-BE49-F238E27FC236}">
                      <a16:creationId xmlns:a16="http://schemas.microsoft.com/office/drawing/2014/main" id="{17ECAC69-2510-4F5A-9487-8C133FC373FC}"/>
                    </a:ext>
                  </a:extLst>
                </p:cNvPr>
                <p:cNvSpPr/>
                <p:nvPr/>
              </p:nvSpPr>
              <p:spPr>
                <a:xfrm>
                  <a:off x="10254242" y="1372507"/>
                  <a:ext cx="1567170" cy="2056494"/>
                </a:xfrm>
                <a:prstGeom prst="rect">
                  <a:avLst/>
                </a:prstGeom>
                <a:noFill/>
                <a:ln>
                  <a:solidFill>
                    <a:srgbClr val="00B05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t"/>
                <a:lstStyle/>
                <a:p>
                  <a:r>
                    <a:rPr lang="en-US" sz="1050" err="1">
                      <a:solidFill>
                        <a:srgbClr val="00B050"/>
                      </a:solidFill>
                    </a:rPr>
                    <a:t>Gestionnaire</a:t>
                  </a:r>
                  <a:r>
                    <a:rPr lang="en-US" sz="1050">
                      <a:solidFill>
                        <a:srgbClr val="00B050"/>
                      </a:solidFill>
                    </a:rPr>
                    <a:t> de Test</a:t>
                  </a:r>
                  <a:endParaRPr lang="fr-FR" sz="1050">
                    <a:solidFill>
                      <a:srgbClr val="00B050"/>
                    </a:solidFill>
                  </a:endParaRPr>
                </a:p>
              </p:txBody>
            </p:sp>
            <p:pic>
              <p:nvPicPr>
                <p:cNvPr id="112" name="Picture 72" descr="Shape, logo, company name, arrow&#10;&#10;Description automatically generated">
                  <a:extLst>
                    <a:ext uri="{FF2B5EF4-FFF2-40B4-BE49-F238E27FC236}">
                      <a16:creationId xmlns:a16="http://schemas.microsoft.com/office/drawing/2014/main" id="{DD3EC157-0188-4D4C-8D73-23FAEBB8F900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8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0731397" y="2014652"/>
                  <a:ext cx="592125" cy="592125"/>
                </a:xfrm>
                <a:prstGeom prst="rect">
                  <a:avLst/>
                </a:prstGeom>
              </p:spPr>
            </p:pic>
            <p:sp>
              <p:nvSpPr>
                <p:cNvPr id="113" name="TextBox 77">
                  <a:extLst>
                    <a:ext uri="{FF2B5EF4-FFF2-40B4-BE49-F238E27FC236}">
                      <a16:creationId xmlns:a16="http://schemas.microsoft.com/office/drawing/2014/main" id="{ABA46643-7262-44F2-820B-8D2CE9608C3A}"/>
                    </a:ext>
                  </a:extLst>
                </p:cNvPr>
                <p:cNvSpPr txBox="1"/>
                <p:nvPr/>
              </p:nvSpPr>
              <p:spPr>
                <a:xfrm>
                  <a:off x="10388503" y="2606777"/>
                  <a:ext cx="1190839" cy="309551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en-US" sz="1200"/>
                    <a:t>JIRA / XRAY</a:t>
                  </a:r>
                  <a:endParaRPr lang="fr-FR" sz="1200"/>
                </a:p>
              </p:txBody>
            </p:sp>
          </p:grpSp>
          <p:grpSp>
            <p:nvGrpSpPr>
              <p:cNvPr id="20" name="Groupe 22">
                <a:extLst>
                  <a:ext uri="{FF2B5EF4-FFF2-40B4-BE49-F238E27FC236}">
                    <a16:creationId xmlns:a16="http://schemas.microsoft.com/office/drawing/2014/main" id="{82857D75-91BE-4A9B-A03D-9C7A2F85EEFA}"/>
                  </a:ext>
                </a:extLst>
              </p:cNvPr>
              <p:cNvGrpSpPr/>
              <p:nvPr/>
            </p:nvGrpSpPr>
            <p:grpSpPr>
              <a:xfrm>
                <a:off x="226256" y="2852801"/>
                <a:ext cx="2735308" cy="3649345"/>
                <a:chOff x="478740" y="3029169"/>
                <a:chExt cx="2735308" cy="3440566"/>
              </a:xfrm>
            </p:grpSpPr>
            <p:grpSp>
              <p:nvGrpSpPr>
                <p:cNvPr id="101" name="Group 10">
                  <a:extLst>
                    <a:ext uri="{FF2B5EF4-FFF2-40B4-BE49-F238E27FC236}">
                      <a16:creationId xmlns:a16="http://schemas.microsoft.com/office/drawing/2014/main" id="{FD59C956-0060-49F6-9467-6AD645F7714F}"/>
                    </a:ext>
                  </a:extLst>
                </p:cNvPr>
                <p:cNvGrpSpPr/>
                <p:nvPr/>
              </p:nvGrpSpPr>
              <p:grpSpPr>
                <a:xfrm>
                  <a:off x="478740" y="3205678"/>
                  <a:ext cx="2735308" cy="3264057"/>
                  <a:chOff x="226256" y="1398897"/>
                  <a:chExt cx="2735308" cy="2613546"/>
                </a:xfrm>
                <a:solidFill>
                  <a:srgbClr val="CCECFF"/>
                </a:solidFill>
              </p:grpSpPr>
              <p:sp>
                <p:nvSpPr>
                  <p:cNvPr id="106" name="Rectangle 105">
                    <a:extLst>
                      <a:ext uri="{FF2B5EF4-FFF2-40B4-BE49-F238E27FC236}">
                        <a16:creationId xmlns:a16="http://schemas.microsoft.com/office/drawing/2014/main" id="{B3DCB650-2C2D-4109-B0C8-FDCF8F98F6E3}"/>
                      </a:ext>
                    </a:extLst>
                  </p:cNvPr>
                  <p:cNvSpPr/>
                  <p:nvPr/>
                </p:nvSpPr>
                <p:spPr>
                  <a:xfrm>
                    <a:off x="226256" y="1398897"/>
                    <a:ext cx="2735308" cy="2613546"/>
                  </a:xfrm>
                  <a:prstGeom prst="rect">
                    <a:avLst/>
                  </a:prstGeom>
                  <a:grpFill/>
                  <a:ln>
                    <a:solidFill>
                      <a:srgbClr val="002060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t"/>
                  <a:lstStyle/>
                  <a:p>
                    <a:r>
                      <a:rPr lang="en-US" sz="1050" err="1">
                        <a:solidFill>
                          <a:srgbClr val="002060"/>
                        </a:solidFill>
                      </a:rPr>
                      <a:t>Plateforme</a:t>
                    </a:r>
                    <a:r>
                      <a:rPr lang="en-US" sz="1050">
                        <a:solidFill>
                          <a:srgbClr val="002060"/>
                        </a:solidFill>
                      </a:rPr>
                      <a:t> DevOps</a:t>
                    </a:r>
                    <a:endParaRPr lang="fr-FR" sz="1050">
                      <a:solidFill>
                        <a:srgbClr val="002060"/>
                      </a:solidFill>
                    </a:endParaRPr>
                  </a:p>
                </p:txBody>
              </p:sp>
              <p:sp>
                <p:nvSpPr>
                  <p:cNvPr id="107" name="Rectangle 106">
                    <a:extLst>
                      <a:ext uri="{FF2B5EF4-FFF2-40B4-BE49-F238E27FC236}">
                        <a16:creationId xmlns:a16="http://schemas.microsoft.com/office/drawing/2014/main" id="{D723B1EA-04F9-4A30-B51A-86B9CB89B154}"/>
                      </a:ext>
                    </a:extLst>
                  </p:cNvPr>
                  <p:cNvSpPr/>
                  <p:nvPr/>
                </p:nvSpPr>
                <p:spPr>
                  <a:xfrm>
                    <a:off x="409433" y="1835641"/>
                    <a:ext cx="2306471" cy="400332"/>
                  </a:xfrm>
                  <a:prstGeom prst="rect">
                    <a:avLst/>
                  </a:prstGeom>
                  <a:solidFill>
                    <a:srgbClr val="66CCFF"/>
                  </a:solidFill>
                  <a:ln>
                    <a:solidFill>
                      <a:srgbClr val="00B0F0"/>
                    </a:solidFill>
                  </a:ln>
                </p:spPr>
                <p:style>
                  <a:lnRef idx="2">
                    <a:schemeClr val="accent2">
                      <a:shade val="50000"/>
                    </a:schemeClr>
                  </a:lnRef>
                  <a:fillRef idx="1">
                    <a:schemeClr val="accent2"/>
                  </a:fillRef>
                  <a:effectRef idx="0">
                    <a:schemeClr val="accent2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r>
                      <a:rPr lang="en-US" sz="900">
                        <a:solidFill>
                          <a:srgbClr val="002060"/>
                        </a:solidFill>
                      </a:rPr>
                      <a:t>Git Repository</a:t>
                    </a:r>
                    <a:endParaRPr lang="fr-FR" sz="900">
                      <a:solidFill>
                        <a:srgbClr val="002060"/>
                      </a:solidFill>
                    </a:endParaRPr>
                  </a:p>
                </p:txBody>
              </p:sp>
              <p:sp>
                <p:nvSpPr>
                  <p:cNvPr id="108" name="Rectangle 107">
                    <a:extLst>
                      <a:ext uri="{FF2B5EF4-FFF2-40B4-BE49-F238E27FC236}">
                        <a16:creationId xmlns:a16="http://schemas.microsoft.com/office/drawing/2014/main" id="{3944476E-0547-4516-A0AF-CE12D3191498}"/>
                      </a:ext>
                    </a:extLst>
                  </p:cNvPr>
                  <p:cNvSpPr/>
                  <p:nvPr/>
                </p:nvSpPr>
                <p:spPr>
                  <a:xfrm>
                    <a:off x="1433014" y="3294549"/>
                    <a:ext cx="1282890" cy="459142"/>
                  </a:xfrm>
                  <a:prstGeom prst="rect">
                    <a:avLst/>
                  </a:prstGeom>
                  <a:solidFill>
                    <a:srgbClr val="66CCFF"/>
                  </a:solidFill>
                  <a:ln>
                    <a:solidFill>
                      <a:srgbClr val="00B0F0"/>
                    </a:solidFill>
                  </a:ln>
                </p:spPr>
                <p:style>
                  <a:lnRef idx="2">
                    <a:schemeClr val="accent2">
                      <a:shade val="50000"/>
                    </a:schemeClr>
                  </a:lnRef>
                  <a:fillRef idx="1">
                    <a:schemeClr val="accent2"/>
                  </a:fillRef>
                  <a:effectRef idx="0">
                    <a:schemeClr val="accent2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r>
                      <a:rPr lang="en-US" sz="900">
                        <a:solidFill>
                          <a:srgbClr val="002060"/>
                        </a:solidFill>
                      </a:rPr>
                      <a:t>UI Test</a:t>
                    </a:r>
                    <a:br>
                      <a:rPr lang="en-US" sz="900">
                        <a:solidFill>
                          <a:srgbClr val="002060"/>
                        </a:solidFill>
                      </a:rPr>
                    </a:br>
                    <a:r>
                      <a:rPr lang="en-US" sz="900">
                        <a:solidFill>
                          <a:srgbClr val="002060"/>
                        </a:solidFill>
                      </a:rPr>
                      <a:t>Agent Pool</a:t>
                    </a:r>
                    <a:endParaRPr lang="fr-FR" sz="900">
                      <a:solidFill>
                        <a:srgbClr val="002060"/>
                      </a:solidFill>
                    </a:endParaRPr>
                  </a:p>
                </p:txBody>
              </p:sp>
              <p:sp>
                <p:nvSpPr>
                  <p:cNvPr id="109" name="Rectangle 108">
                    <a:extLst>
                      <a:ext uri="{FF2B5EF4-FFF2-40B4-BE49-F238E27FC236}">
                        <a16:creationId xmlns:a16="http://schemas.microsoft.com/office/drawing/2014/main" id="{5AA4293A-A80B-45C8-BC26-2223FD8046E8}"/>
                      </a:ext>
                    </a:extLst>
                  </p:cNvPr>
                  <p:cNvSpPr/>
                  <p:nvPr/>
                </p:nvSpPr>
                <p:spPr>
                  <a:xfrm>
                    <a:off x="1433014" y="2573739"/>
                    <a:ext cx="1282890" cy="491240"/>
                  </a:xfrm>
                  <a:prstGeom prst="rect">
                    <a:avLst/>
                  </a:prstGeom>
                  <a:solidFill>
                    <a:srgbClr val="66CCFF"/>
                  </a:solidFill>
                  <a:ln>
                    <a:solidFill>
                      <a:srgbClr val="00B0F0"/>
                    </a:solidFill>
                  </a:ln>
                </p:spPr>
                <p:style>
                  <a:lnRef idx="2">
                    <a:schemeClr val="accent2">
                      <a:shade val="50000"/>
                    </a:schemeClr>
                  </a:lnRef>
                  <a:fillRef idx="1">
                    <a:schemeClr val="accent2"/>
                  </a:fillRef>
                  <a:effectRef idx="0">
                    <a:schemeClr val="accent2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r>
                      <a:rPr lang="en-US" sz="900">
                        <a:solidFill>
                          <a:srgbClr val="002060"/>
                        </a:solidFill>
                      </a:rPr>
                      <a:t>API Test</a:t>
                    </a:r>
                    <a:br>
                      <a:rPr lang="en-US" sz="900">
                        <a:solidFill>
                          <a:srgbClr val="002060"/>
                        </a:solidFill>
                      </a:rPr>
                    </a:br>
                    <a:r>
                      <a:rPr lang="en-US" sz="900">
                        <a:solidFill>
                          <a:srgbClr val="002060"/>
                        </a:solidFill>
                      </a:rPr>
                      <a:t>Agent Pool</a:t>
                    </a:r>
                    <a:endParaRPr lang="fr-FR" sz="900">
                      <a:solidFill>
                        <a:srgbClr val="002060"/>
                      </a:solidFill>
                    </a:endParaRPr>
                  </a:p>
                </p:txBody>
              </p:sp>
              <p:sp>
                <p:nvSpPr>
                  <p:cNvPr id="110" name="Rectangle 109">
                    <a:extLst>
                      <a:ext uri="{FF2B5EF4-FFF2-40B4-BE49-F238E27FC236}">
                        <a16:creationId xmlns:a16="http://schemas.microsoft.com/office/drawing/2014/main" id="{106DAEA6-55C5-47E2-AAA6-05E87866454C}"/>
                      </a:ext>
                    </a:extLst>
                  </p:cNvPr>
                  <p:cNvSpPr/>
                  <p:nvPr/>
                </p:nvSpPr>
                <p:spPr>
                  <a:xfrm>
                    <a:off x="409433" y="2573739"/>
                    <a:ext cx="893928" cy="1182251"/>
                  </a:xfrm>
                  <a:prstGeom prst="rect">
                    <a:avLst/>
                  </a:prstGeom>
                  <a:solidFill>
                    <a:srgbClr val="66CCFF"/>
                  </a:solidFill>
                  <a:ln>
                    <a:solidFill>
                      <a:srgbClr val="00B0F0"/>
                    </a:solidFill>
                  </a:ln>
                </p:spPr>
                <p:style>
                  <a:lnRef idx="2">
                    <a:schemeClr val="accent2">
                      <a:shade val="50000"/>
                    </a:schemeClr>
                  </a:lnRef>
                  <a:fillRef idx="1">
                    <a:schemeClr val="accent2"/>
                  </a:fillRef>
                  <a:effectRef idx="0">
                    <a:schemeClr val="accent2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r>
                      <a:rPr lang="en-US" sz="900">
                        <a:solidFill>
                          <a:srgbClr val="002060"/>
                        </a:solidFill>
                      </a:rPr>
                      <a:t>CI/CD Pipelines</a:t>
                    </a:r>
                    <a:endParaRPr lang="fr-FR" sz="900">
                      <a:solidFill>
                        <a:srgbClr val="002060"/>
                      </a:solidFill>
                    </a:endParaRPr>
                  </a:p>
                </p:txBody>
              </p:sp>
            </p:grpSp>
            <p:cxnSp>
              <p:nvCxnSpPr>
                <p:cNvPr id="102" name="Straight Arrow Connector 87">
                  <a:extLst>
                    <a:ext uri="{FF2B5EF4-FFF2-40B4-BE49-F238E27FC236}">
                      <a16:creationId xmlns:a16="http://schemas.microsoft.com/office/drawing/2014/main" id="{864AC42C-411F-4D6D-A1DF-79F321D606E4}"/>
                    </a:ext>
                  </a:extLst>
                </p:cNvPr>
                <p:cNvCxnSpPr>
                  <a:cxnSpLocks/>
                  <a:endCxn id="110" idx="0"/>
                </p:cNvCxnSpPr>
                <p:nvPr/>
              </p:nvCxnSpPr>
              <p:spPr>
                <a:xfrm>
                  <a:off x="1108881" y="4251102"/>
                  <a:ext cx="0" cy="421835"/>
                </a:xfrm>
                <a:prstGeom prst="straightConnector1">
                  <a:avLst/>
                </a:prstGeom>
                <a:ln w="28575">
                  <a:tailEnd type="triangle"/>
                </a:ln>
              </p:spPr>
              <p:style>
                <a:lnRef idx="1">
                  <a:schemeClr val="accent4"/>
                </a:lnRef>
                <a:fillRef idx="0">
                  <a:schemeClr val="accent4"/>
                </a:fillRef>
                <a:effectRef idx="0">
                  <a:schemeClr val="accent4"/>
                </a:effectRef>
                <a:fontRef idx="minor">
                  <a:schemeClr val="tx1"/>
                </a:fontRef>
              </p:style>
            </p:cxnSp>
            <p:cxnSp>
              <p:nvCxnSpPr>
                <p:cNvPr id="103" name="Straight Arrow Connector 91">
                  <a:extLst>
                    <a:ext uri="{FF2B5EF4-FFF2-40B4-BE49-F238E27FC236}">
                      <a16:creationId xmlns:a16="http://schemas.microsoft.com/office/drawing/2014/main" id="{F8742C57-7725-4BF1-B680-E3D5412A5FCD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1560716" y="5040586"/>
                  <a:ext cx="136712" cy="7175"/>
                </a:xfrm>
                <a:prstGeom prst="straightConnector1">
                  <a:avLst/>
                </a:prstGeom>
                <a:ln w="28575">
                  <a:tailEnd type="triangle"/>
                </a:ln>
              </p:spPr>
              <p:style>
                <a:lnRef idx="1">
                  <a:schemeClr val="accent4"/>
                </a:lnRef>
                <a:fillRef idx="0">
                  <a:schemeClr val="accent4"/>
                </a:fillRef>
                <a:effectRef idx="0">
                  <a:schemeClr val="accent4"/>
                </a:effectRef>
                <a:fontRef idx="minor">
                  <a:schemeClr val="tx1"/>
                </a:fontRef>
              </p:style>
            </p:cxnSp>
            <p:cxnSp>
              <p:nvCxnSpPr>
                <p:cNvPr id="104" name="Straight Arrow Connector 93">
                  <a:extLst>
                    <a:ext uri="{FF2B5EF4-FFF2-40B4-BE49-F238E27FC236}">
                      <a16:creationId xmlns:a16="http://schemas.microsoft.com/office/drawing/2014/main" id="{24FF4DA9-BF23-4E09-969A-836F1132F224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1553220" y="5856508"/>
                  <a:ext cx="136712" cy="7175"/>
                </a:xfrm>
                <a:prstGeom prst="straightConnector1">
                  <a:avLst/>
                </a:prstGeom>
                <a:ln w="28575">
                  <a:tailEnd type="triangle"/>
                </a:ln>
              </p:spPr>
              <p:style>
                <a:lnRef idx="1">
                  <a:schemeClr val="accent4"/>
                </a:lnRef>
                <a:fillRef idx="0">
                  <a:schemeClr val="accent4"/>
                </a:fillRef>
                <a:effectRef idx="0">
                  <a:schemeClr val="accent4"/>
                </a:effectRef>
                <a:fontRef idx="minor">
                  <a:schemeClr val="tx1"/>
                </a:fontRef>
              </p:style>
            </p:cxnSp>
            <p:cxnSp>
              <p:nvCxnSpPr>
                <p:cNvPr id="105" name="Straight Arrow Connector 94">
                  <a:extLst>
                    <a:ext uri="{FF2B5EF4-FFF2-40B4-BE49-F238E27FC236}">
                      <a16:creationId xmlns:a16="http://schemas.microsoft.com/office/drawing/2014/main" id="{65F44837-5D9F-4F28-B60A-A27AAE63C8B1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1943187" y="3029169"/>
                  <a:ext cx="0" cy="721958"/>
                </a:xfrm>
                <a:prstGeom prst="straightConnector1">
                  <a:avLst/>
                </a:prstGeom>
                <a:ln w="28575">
                  <a:tailEnd type="triangle"/>
                </a:ln>
              </p:spPr>
              <p:style>
                <a:lnRef idx="1">
                  <a:schemeClr val="accent4"/>
                </a:lnRef>
                <a:fillRef idx="0">
                  <a:schemeClr val="accent4"/>
                </a:fillRef>
                <a:effectRef idx="0">
                  <a:schemeClr val="accent4"/>
                </a:effectRef>
                <a:fontRef idx="minor">
                  <a:schemeClr val="tx1"/>
                </a:fontRef>
              </p:style>
            </p:cxnSp>
          </p:grpSp>
          <p:cxnSp>
            <p:nvCxnSpPr>
              <p:cNvPr id="21" name="Connector: Elbow 105">
                <a:extLst>
                  <a:ext uri="{FF2B5EF4-FFF2-40B4-BE49-F238E27FC236}">
                    <a16:creationId xmlns:a16="http://schemas.microsoft.com/office/drawing/2014/main" id="{E4A94295-3FD0-4A35-93CB-24CA9FA5BA57}"/>
                  </a:ext>
                </a:extLst>
              </p:cNvPr>
              <p:cNvCxnSpPr>
                <a:cxnSpLocks/>
                <a:stCxn id="64" idx="3"/>
                <a:endCxn id="114" idx="1"/>
              </p:cNvCxnSpPr>
              <p:nvPr/>
            </p:nvCxnSpPr>
            <p:spPr>
              <a:xfrm flipV="1">
                <a:off x="9368886" y="2607077"/>
                <a:ext cx="681808" cy="1265305"/>
              </a:xfrm>
              <a:prstGeom prst="bentConnector3">
                <a:avLst>
                  <a:gd name="adj1" fmla="val 50000"/>
                </a:avLst>
              </a:prstGeom>
              <a:ln w="28575">
                <a:tailEnd type="triangle"/>
              </a:ln>
            </p:spPr>
            <p:style>
              <a:lnRef idx="1">
                <a:schemeClr val="accent4"/>
              </a:lnRef>
              <a:fillRef idx="0">
                <a:schemeClr val="accent4"/>
              </a:fillRef>
              <a:effectRef idx="0">
                <a:schemeClr val="accent4"/>
              </a:effectRef>
              <a:fontRef idx="minor">
                <a:schemeClr val="tx1"/>
              </a:fontRef>
            </p:style>
          </p:cxnSp>
          <p:grpSp>
            <p:nvGrpSpPr>
              <p:cNvPr id="22" name="Groupe 35">
                <a:extLst>
                  <a:ext uri="{FF2B5EF4-FFF2-40B4-BE49-F238E27FC236}">
                    <a16:creationId xmlns:a16="http://schemas.microsoft.com/office/drawing/2014/main" id="{D2183C07-54CD-45A0-A5D8-2807A73908A4}"/>
                  </a:ext>
                </a:extLst>
              </p:cNvPr>
              <p:cNvGrpSpPr/>
              <p:nvPr/>
            </p:nvGrpSpPr>
            <p:grpSpPr>
              <a:xfrm>
                <a:off x="3626992" y="3176252"/>
                <a:ext cx="5741895" cy="1392262"/>
                <a:chOff x="3879476" y="3352619"/>
                <a:chExt cx="5741895" cy="1392262"/>
              </a:xfrm>
            </p:grpSpPr>
            <p:sp>
              <p:nvSpPr>
                <p:cNvPr id="64" name="Rectangle 63">
                  <a:extLst>
                    <a:ext uri="{FF2B5EF4-FFF2-40B4-BE49-F238E27FC236}">
                      <a16:creationId xmlns:a16="http://schemas.microsoft.com/office/drawing/2014/main" id="{A949D912-06BB-47EE-89F1-B4E8F4094BEB}"/>
                    </a:ext>
                  </a:extLst>
                </p:cNvPr>
                <p:cNvSpPr/>
                <p:nvPr/>
              </p:nvSpPr>
              <p:spPr>
                <a:xfrm>
                  <a:off x="3879476" y="3352619"/>
                  <a:ext cx="5741895" cy="1392262"/>
                </a:xfrm>
                <a:prstGeom prst="rect">
                  <a:avLst/>
                </a:prstGeom>
                <a:solidFill>
                  <a:srgbClr val="0070C0"/>
                </a:solidFill>
                <a:ln>
                  <a:solidFill>
                    <a:srgbClr val="0070C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t"/>
                <a:lstStyle/>
                <a:p>
                  <a:r>
                    <a:rPr lang="en-US" sz="1200"/>
                    <a:t>Azure DevTest Lab</a:t>
                  </a:r>
                  <a:endParaRPr lang="fr-FR" sz="1200"/>
                </a:p>
              </p:txBody>
            </p:sp>
            <p:sp>
              <p:nvSpPr>
                <p:cNvPr id="65" name="Lightning Bolt 114">
                  <a:extLst>
                    <a:ext uri="{FF2B5EF4-FFF2-40B4-BE49-F238E27FC236}">
                      <a16:creationId xmlns:a16="http://schemas.microsoft.com/office/drawing/2014/main" id="{4A9F4D4B-3928-407F-A5B4-CFDC7AEAF97E}"/>
                    </a:ext>
                  </a:extLst>
                </p:cNvPr>
                <p:cNvSpPr/>
                <p:nvPr/>
              </p:nvSpPr>
              <p:spPr>
                <a:xfrm rot="19654483" flipH="1">
                  <a:off x="8025825" y="3888143"/>
                  <a:ext cx="509817" cy="529424"/>
                </a:xfrm>
                <a:prstGeom prst="lightningBolt">
                  <a:avLst/>
                </a:prstGeom>
                <a:solidFill>
                  <a:srgbClr val="FFFF00"/>
                </a:solidFill>
                <a:ln>
                  <a:solidFill>
                    <a:srgbClr val="FFC0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fr-FR" sz="1200"/>
                </a:p>
              </p:txBody>
            </p:sp>
            <p:grpSp>
              <p:nvGrpSpPr>
                <p:cNvPr id="66" name="Group 20">
                  <a:extLst>
                    <a:ext uri="{FF2B5EF4-FFF2-40B4-BE49-F238E27FC236}">
                      <a16:creationId xmlns:a16="http://schemas.microsoft.com/office/drawing/2014/main" id="{312FC212-9F5C-4992-B741-0D093DC2B37A}"/>
                    </a:ext>
                  </a:extLst>
                </p:cNvPr>
                <p:cNvGrpSpPr/>
                <p:nvPr/>
              </p:nvGrpSpPr>
              <p:grpSpPr>
                <a:xfrm>
                  <a:off x="4060924" y="3872671"/>
                  <a:ext cx="962230" cy="855872"/>
                  <a:chOff x="4060924" y="3872671"/>
                  <a:chExt cx="962230" cy="855872"/>
                </a:xfrm>
              </p:grpSpPr>
              <p:grpSp>
                <p:nvGrpSpPr>
                  <p:cNvPr id="95" name="Group 40">
                    <a:extLst>
                      <a:ext uri="{FF2B5EF4-FFF2-40B4-BE49-F238E27FC236}">
                        <a16:creationId xmlns:a16="http://schemas.microsoft.com/office/drawing/2014/main" id="{FA1225D9-12A6-4CA3-94F7-C0B53801589D}"/>
                      </a:ext>
                    </a:extLst>
                  </p:cNvPr>
                  <p:cNvGrpSpPr/>
                  <p:nvPr/>
                </p:nvGrpSpPr>
                <p:grpSpPr>
                  <a:xfrm>
                    <a:off x="4060924" y="3872671"/>
                    <a:ext cx="962230" cy="855872"/>
                    <a:chOff x="3879476" y="3853737"/>
                    <a:chExt cx="962230" cy="855872"/>
                  </a:xfrm>
                </p:grpSpPr>
                <p:pic>
                  <p:nvPicPr>
                    <p:cNvPr id="99" name="Picture 15" descr="Icon&#10;&#10;Description automatically generated">
                      <a:extLst>
                        <a:ext uri="{FF2B5EF4-FFF2-40B4-BE49-F238E27FC236}">
                          <a16:creationId xmlns:a16="http://schemas.microsoft.com/office/drawing/2014/main" id="{D03BFB90-BFA7-4CFD-A255-B551958A8AA4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9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4039737" y="3853737"/>
                      <a:ext cx="592125" cy="546512"/>
                    </a:xfrm>
                    <a:prstGeom prst="rect">
                      <a:avLst/>
                    </a:prstGeom>
                  </p:spPr>
                </p:pic>
                <p:sp>
                  <p:nvSpPr>
                    <p:cNvPr id="100" name="TextBox 14">
                      <a:extLst>
                        <a:ext uri="{FF2B5EF4-FFF2-40B4-BE49-F238E27FC236}">
                          <a16:creationId xmlns:a16="http://schemas.microsoft.com/office/drawing/2014/main" id="{73306DB8-294C-4C56-8501-1276FBBCFA94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3879476" y="4424829"/>
                      <a:ext cx="962230" cy="284780"/>
                    </a:xfrm>
                    <a:prstGeom prst="rect">
                      <a:avLst/>
                    </a:prstGeom>
                    <a:noFill/>
                  </p:spPr>
                  <p:txBody>
                    <a:bodyPr wrap="none" rtlCol="0">
                      <a:spAutoFit/>
                    </a:bodyPr>
                    <a:lstStyle/>
                    <a:p>
                      <a:r>
                        <a:rPr lang="en-US" sz="788">
                          <a:solidFill>
                            <a:schemeClr val="bg1"/>
                          </a:solidFill>
                        </a:rPr>
                        <a:t>VM Test IHM</a:t>
                      </a:r>
                      <a:endParaRPr lang="fr-FR" sz="788">
                        <a:solidFill>
                          <a:schemeClr val="bg1"/>
                        </a:solidFill>
                      </a:endParaRPr>
                    </a:p>
                  </p:txBody>
                </p:sp>
              </p:grpSp>
              <p:grpSp>
                <p:nvGrpSpPr>
                  <p:cNvPr id="96" name="Group 18">
                    <a:extLst>
                      <a:ext uri="{FF2B5EF4-FFF2-40B4-BE49-F238E27FC236}">
                        <a16:creationId xmlns:a16="http://schemas.microsoft.com/office/drawing/2014/main" id="{9C1FE829-13C0-4FDB-BDCE-BDE32EDC60EC}"/>
                      </a:ext>
                    </a:extLst>
                  </p:cNvPr>
                  <p:cNvGrpSpPr/>
                  <p:nvPr/>
                </p:nvGrpSpPr>
                <p:grpSpPr>
                  <a:xfrm>
                    <a:off x="4358640" y="3931525"/>
                    <a:ext cx="298183" cy="296064"/>
                    <a:chOff x="4358640" y="3931525"/>
                    <a:chExt cx="298183" cy="296064"/>
                  </a:xfrm>
                </p:grpSpPr>
                <p:sp>
                  <p:nvSpPr>
                    <p:cNvPr id="97" name="Rectangle 96">
                      <a:extLst>
                        <a:ext uri="{FF2B5EF4-FFF2-40B4-BE49-F238E27FC236}">
                          <a16:creationId xmlns:a16="http://schemas.microsoft.com/office/drawing/2014/main" id="{A63CE639-8C12-423E-94A6-C594520622A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4358640" y="3931920"/>
                      <a:ext cx="294386" cy="295275"/>
                    </a:xfrm>
                    <a:prstGeom prst="rect">
                      <a:avLst/>
                    </a:prstGeom>
                    <a:solidFill>
                      <a:srgbClr val="59B4D9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fr-FR" sz="1200"/>
                    </a:p>
                  </p:txBody>
                </p:sp>
                <p:pic>
                  <p:nvPicPr>
                    <p:cNvPr id="98" name="Picture 104" descr="Icon&#10;&#10;Description automatically generated">
                      <a:extLst>
                        <a:ext uri="{FF2B5EF4-FFF2-40B4-BE49-F238E27FC236}">
                          <a16:creationId xmlns:a16="http://schemas.microsoft.com/office/drawing/2014/main" id="{34D639B1-C459-44B8-9355-47CBD79DF5D9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2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4360759" y="3931525"/>
                      <a:ext cx="296064" cy="296064"/>
                    </a:xfrm>
                    <a:prstGeom prst="rect">
                      <a:avLst/>
                    </a:prstGeom>
                  </p:spPr>
                </p:pic>
              </p:grpSp>
            </p:grpSp>
            <p:grpSp>
              <p:nvGrpSpPr>
                <p:cNvPr id="67" name="Group 109">
                  <a:extLst>
                    <a:ext uri="{FF2B5EF4-FFF2-40B4-BE49-F238E27FC236}">
                      <a16:creationId xmlns:a16="http://schemas.microsoft.com/office/drawing/2014/main" id="{E44B7B91-0882-41D1-B673-9D2EBBE45923}"/>
                    </a:ext>
                  </a:extLst>
                </p:cNvPr>
                <p:cNvGrpSpPr/>
                <p:nvPr/>
              </p:nvGrpSpPr>
              <p:grpSpPr>
                <a:xfrm>
                  <a:off x="4977948" y="3872671"/>
                  <a:ext cx="962230" cy="855872"/>
                  <a:chOff x="4060924" y="3872671"/>
                  <a:chExt cx="962230" cy="855872"/>
                </a:xfrm>
              </p:grpSpPr>
              <p:grpSp>
                <p:nvGrpSpPr>
                  <p:cNvPr id="89" name="Group 110">
                    <a:extLst>
                      <a:ext uri="{FF2B5EF4-FFF2-40B4-BE49-F238E27FC236}">
                        <a16:creationId xmlns:a16="http://schemas.microsoft.com/office/drawing/2014/main" id="{51E7FBE3-28DF-4CDB-9C5A-5390966BF4B5}"/>
                      </a:ext>
                    </a:extLst>
                  </p:cNvPr>
                  <p:cNvGrpSpPr/>
                  <p:nvPr/>
                </p:nvGrpSpPr>
                <p:grpSpPr>
                  <a:xfrm>
                    <a:off x="4060924" y="3872671"/>
                    <a:ext cx="962230" cy="855872"/>
                    <a:chOff x="3879476" y="3853737"/>
                    <a:chExt cx="962230" cy="855872"/>
                  </a:xfrm>
                </p:grpSpPr>
                <p:pic>
                  <p:nvPicPr>
                    <p:cNvPr id="93" name="Picture 115" descr="Icon&#10;&#10;Description automatically generated">
                      <a:extLst>
                        <a:ext uri="{FF2B5EF4-FFF2-40B4-BE49-F238E27FC236}">
                          <a16:creationId xmlns:a16="http://schemas.microsoft.com/office/drawing/2014/main" id="{4C8CBD21-4DEE-45A0-98CB-5E4A0278ED1B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9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4039737" y="3853737"/>
                      <a:ext cx="592125" cy="546512"/>
                    </a:xfrm>
                    <a:prstGeom prst="rect">
                      <a:avLst/>
                    </a:prstGeom>
                  </p:spPr>
                </p:pic>
                <p:sp>
                  <p:nvSpPr>
                    <p:cNvPr id="94" name="TextBox 116">
                      <a:extLst>
                        <a:ext uri="{FF2B5EF4-FFF2-40B4-BE49-F238E27FC236}">
                          <a16:creationId xmlns:a16="http://schemas.microsoft.com/office/drawing/2014/main" id="{99CD75B1-B510-4CCB-8492-E12E5116AEBF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3879476" y="4424829"/>
                      <a:ext cx="962230" cy="284780"/>
                    </a:xfrm>
                    <a:prstGeom prst="rect">
                      <a:avLst/>
                    </a:prstGeom>
                    <a:noFill/>
                  </p:spPr>
                  <p:txBody>
                    <a:bodyPr wrap="none" rtlCol="0">
                      <a:spAutoFit/>
                    </a:bodyPr>
                    <a:lstStyle/>
                    <a:p>
                      <a:r>
                        <a:rPr lang="en-US" sz="788">
                          <a:solidFill>
                            <a:schemeClr val="bg1"/>
                          </a:solidFill>
                        </a:rPr>
                        <a:t>VM Test IHM</a:t>
                      </a:r>
                      <a:endParaRPr lang="fr-FR" sz="788">
                        <a:solidFill>
                          <a:schemeClr val="bg1"/>
                        </a:solidFill>
                      </a:endParaRPr>
                    </a:p>
                  </p:txBody>
                </p:sp>
              </p:grpSp>
              <p:grpSp>
                <p:nvGrpSpPr>
                  <p:cNvPr id="90" name="Group 111">
                    <a:extLst>
                      <a:ext uri="{FF2B5EF4-FFF2-40B4-BE49-F238E27FC236}">
                        <a16:creationId xmlns:a16="http://schemas.microsoft.com/office/drawing/2014/main" id="{6AD8B3AB-D0EB-4AAC-8372-48BFCD52B8E9}"/>
                      </a:ext>
                    </a:extLst>
                  </p:cNvPr>
                  <p:cNvGrpSpPr/>
                  <p:nvPr/>
                </p:nvGrpSpPr>
                <p:grpSpPr>
                  <a:xfrm>
                    <a:off x="4358640" y="3931525"/>
                    <a:ext cx="298183" cy="296064"/>
                    <a:chOff x="4358640" y="3931525"/>
                    <a:chExt cx="298183" cy="296064"/>
                  </a:xfrm>
                </p:grpSpPr>
                <p:sp>
                  <p:nvSpPr>
                    <p:cNvPr id="91" name="Rectangle 90">
                      <a:extLst>
                        <a:ext uri="{FF2B5EF4-FFF2-40B4-BE49-F238E27FC236}">
                          <a16:creationId xmlns:a16="http://schemas.microsoft.com/office/drawing/2014/main" id="{F6477754-8466-4BC6-AAA4-1A6C31B704B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4358640" y="3931920"/>
                      <a:ext cx="294386" cy="295275"/>
                    </a:xfrm>
                    <a:prstGeom prst="rect">
                      <a:avLst/>
                    </a:prstGeom>
                    <a:solidFill>
                      <a:srgbClr val="59B4D9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fr-FR" sz="1200"/>
                    </a:p>
                  </p:txBody>
                </p:sp>
                <p:pic>
                  <p:nvPicPr>
                    <p:cNvPr id="92" name="Picture 113" descr="Icon&#10;&#10;Description automatically generated">
                      <a:extLst>
                        <a:ext uri="{FF2B5EF4-FFF2-40B4-BE49-F238E27FC236}">
                          <a16:creationId xmlns:a16="http://schemas.microsoft.com/office/drawing/2014/main" id="{08A5EA7A-E415-4878-8FF7-3CB972E9F69A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2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4360759" y="3931525"/>
                      <a:ext cx="296064" cy="296064"/>
                    </a:xfrm>
                    <a:prstGeom prst="rect">
                      <a:avLst/>
                    </a:prstGeom>
                  </p:spPr>
                </p:pic>
              </p:grpSp>
            </p:grpSp>
            <p:grpSp>
              <p:nvGrpSpPr>
                <p:cNvPr id="68" name="Group 117">
                  <a:extLst>
                    <a:ext uri="{FF2B5EF4-FFF2-40B4-BE49-F238E27FC236}">
                      <a16:creationId xmlns:a16="http://schemas.microsoft.com/office/drawing/2014/main" id="{8A6BC82E-E244-4DE4-89A6-A38E347907D6}"/>
                    </a:ext>
                  </a:extLst>
                </p:cNvPr>
                <p:cNvGrpSpPr/>
                <p:nvPr/>
              </p:nvGrpSpPr>
              <p:grpSpPr>
                <a:xfrm>
                  <a:off x="5894972" y="3871135"/>
                  <a:ext cx="962230" cy="855872"/>
                  <a:chOff x="4060924" y="3872671"/>
                  <a:chExt cx="962230" cy="855872"/>
                </a:xfrm>
              </p:grpSpPr>
              <p:grpSp>
                <p:nvGrpSpPr>
                  <p:cNvPr id="83" name="Group 119">
                    <a:extLst>
                      <a:ext uri="{FF2B5EF4-FFF2-40B4-BE49-F238E27FC236}">
                        <a16:creationId xmlns:a16="http://schemas.microsoft.com/office/drawing/2014/main" id="{6342A84A-31D3-465B-B5AC-33C1378A15E2}"/>
                      </a:ext>
                    </a:extLst>
                  </p:cNvPr>
                  <p:cNvGrpSpPr/>
                  <p:nvPr/>
                </p:nvGrpSpPr>
                <p:grpSpPr>
                  <a:xfrm>
                    <a:off x="4060924" y="3872671"/>
                    <a:ext cx="962230" cy="855872"/>
                    <a:chOff x="3879476" y="3853737"/>
                    <a:chExt cx="962230" cy="855872"/>
                  </a:xfrm>
                </p:grpSpPr>
                <p:pic>
                  <p:nvPicPr>
                    <p:cNvPr id="87" name="Picture 123" descr="Icon&#10;&#10;Description automatically generated">
                      <a:extLst>
                        <a:ext uri="{FF2B5EF4-FFF2-40B4-BE49-F238E27FC236}">
                          <a16:creationId xmlns:a16="http://schemas.microsoft.com/office/drawing/2014/main" id="{90EDD812-953F-436B-BB29-409A7C5A0643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9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4039737" y="3853737"/>
                      <a:ext cx="592125" cy="546512"/>
                    </a:xfrm>
                    <a:prstGeom prst="rect">
                      <a:avLst/>
                    </a:prstGeom>
                  </p:spPr>
                </p:pic>
                <p:sp>
                  <p:nvSpPr>
                    <p:cNvPr id="88" name="TextBox 124">
                      <a:extLst>
                        <a:ext uri="{FF2B5EF4-FFF2-40B4-BE49-F238E27FC236}">
                          <a16:creationId xmlns:a16="http://schemas.microsoft.com/office/drawing/2014/main" id="{355BDFF1-85EF-4A23-878C-33B2AF90B333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3879476" y="4424829"/>
                      <a:ext cx="962230" cy="284780"/>
                    </a:xfrm>
                    <a:prstGeom prst="rect">
                      <a:avLst/>
                    </a:prstGeom>
                    <a:noFill/>
                  </p:spPr>
                  <p:txBody>
                    <a:bodyPr wrap="none" rtlCol="0">
                      <a:spAutoFit/>
                    </a:bodyPr>
                    <a:lstStyle/>
                    <a:p>
                      <a:r>
                        <a:rPr lang="en-US" sz="788">
                          <a:solidFill>
                            <a:schemeClr val="bg1"/>
                          </a:solidFill>
                        </a:rPr>
                        <a:t>VM Test IHM</a:t>
                      </a:r>
                      <a:endParaRPr lang="fr-FR" sz="788">
                        <a:solidFill>
                          <a:schemeClr val="bg1"/>
                        </a:solidFill>
                      </a:endParaRPr>
                    </a:p>
                  </p:txBody>
                </p:sp>
              </p:grpSp>
              <p:grpSp>
                <p:nvGrpSpPr>
                  <p:cNvPr id="84" name="Group 120">
                    <a:extLst>
                      <a:ext uri="{FF2B5EF4-FFF2-40B4-BE49-F238E27FC236}">
                        <a16:creationId xmlns:a16="http://schemas.microsoft.com/office/drawing/2014/main" id="{CA135788-371B-483E-B211-1A0CE62BE80D}"/>
                      </a:ext>
                    </a:extLst>
                  </p:cNvPr>
                  <p:cNvGrpSpPr/>
                  <p:nvPr/>
                </p:nvGrpSpPr>
                <p:grpSpPr>
                  <a:xfrm>
                    <a:off x="4358640" y="3931525"/>
                    <a:ext cx="298183" cy="296064"/>
                    <a:chOff x="4358640" y="3931525"/>
                    <a:chExt cx="298183" cy="296064"/>
                  </a:xfrm>
                </p:grpSpPr>
                <p:sp>
                  <p:nvSpPr>
                    <p:cNvPr id="85" name="Rectangle 84">
                      <a:extLst>
                        <a:ext uri="{FF2B5EF4-FFF2-40B4-BE49-F238E27FC236}">
                          <a16:creationId xmlns:a16="http://schemas.microsoft.com/office/drawing/2014/main" id="{ED78A9D3-2B9F-49BD-977E-AE188C15C0E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4358640" y="3931920"/>
                      <a:ext cx="294386" cy="295275"/>
                    </a:xfrm>
                    <a:prstGeom prst="rect">
                      <a:avLst/>
                    </a:prstGeom>
                    <a:solidFill>
                      <a:srgbClr val="59B4D9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fr-FR" sz="1200"/>
                    </a:p>
                  </p:txBody>
                </p:sp>
                <p:pic>
                  <p:nvPicPr>
                    <p:cNvPr id="86" name="Picture 122" descr="Icon&#10;&#10;Description automatically generated">
                      <a:extLst>
                        <a:ext uri="{FF2B5EF4-FFF2-40B4-BE49-F238E27FC236}">
                          <a16:creationId xmlns:a16="http://schemas.microsoft.com/office/drawing/2014/main" id="{47F5161C-4E96-43F2-9895-AF6D6A0A653F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2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4360759" y="3931525"/>
                      <a:ext cx="296064" cy="296064"/>
                    </a:xfrm>
                    <a:prstGeom prst="rect">
                      <a:avLst/>
                    </a:prstGeom>
                  </p:spPr>
                </p:pic>
              </p:grpSp>
            </p:grpSp>
            <p:grpSp>
              <p:nvGrpSpPr>
                <p:cNvPr id="69" name="Group 126">
                  <a:extLst>
                    <a:ext uri="{FF2B5EF4-FFF2-40B4-BE49-F238E27FC236}">
                      <a16:creationId xmlns:a16="http://schemas.microsoft.com/office/drawing/2014/main" id="{91AFA45E-D485-4A1E-92B0-F904214FBF4C}"/>
                    </a:ext>
                  </a:extLst>
                </p:cNvPr>
                <p:cNvGrpSpPr/>
                <p:nvPr/>
              </p:nvGrpSpPr>
              <p:grpSpPr>
                <a:xfrm>
                  <a:off x="8516138" y="3871684"/>
                  <a:ext cx="962230" cy="855872"/>
                  <a:chOff x="4060924" y="3872671"/>
                  <a:chExt cx="962230" cy="855872"/>
                </a:xfrm>
              </p:grpSpPr>
              <p:grpSp>
                <p:nvGrpSpPr>
                  <p:cNvPr id="77" name="Group 127">
                    <a:extLst>
                      <a:ext uri="{FF2B5EF4-FFF2-40B4-BE49-F238E27FC236}">
                        <a16:creationId xmlns:a16="http://schemas.microsoft.com/office/drawing/2014/main" id="{DBB4F7C4-320B-487C-8FE0-3E8F18B51218}"/>
                      </a:ext>
                    </a:extLst>
                  </p:cNvPr>
                  <p:cNvGrpSpPr/>
                  <p:nvPr/>
                </p:nvGrpSpPr>
                <p:grpSpPr>
                  <a:xfrm>
                    <a:off x="4060924" y="3872671"/>
                    <a:ext cx="962230" cy="855872"/>
                    <a:chOff x="3879476" y="3853737"/>
                    <a:chExt cx="962230" cy="855872"/>
                  </a:xfrm>
                </p:grpSpPr>
                <p:pic>
                  <p:nvPicPr>
                    <p:cNvPr id="81" name="Picture 132" descr="Icon&#10;&#10;Description automatically generated">
                      <a:extLst>
                        <a:ext uri="{FF2B5EF4-FFF2-40B4-BE49-F238E27FC236}">
                          <a16:creationId xmlns:a16="http://schemas.microsoft.com/office/drawing/2014/main" id="{03D665D6-807C-48E9-A148-9DA10571C364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9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4039737" y="3853737"/>
                      <a:ext cx="592125" cy="546512"/>
                    </a:xfrm>
                    <a:prstGeom prst="rect">
                      <a:avLst/>
                    </a:prstGeom>
                  </p:spPr>
                </p:pic>
                <p:sp>
                  <p:nvSpPr>
                    <p:cNvPr id="82" name="TextBox 133">
                      <a:extLst>
                        <a:ext uri="{FF2B5EF4-FFF2-40B4-BE49-F238E27FC236}">
                          <a16:creationId xmlns:a16="http://schemas.microsoft.com/office/drawing/2014/main" id="{6D801217-B523-4BB4-AF60-0AD9FFCB5FAA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3879476" y="4424829"/>
                      <a:ext cx="962230" cy="284780"/>
                    </a:xfrm>
                    <a:prstGeom prst="rect">
                      <a:avLst/>
                    </a:prstGeom>
                    <a:noFill/>
                  </p:spPr>
                  <p:txBody>
                    <a:bodyPr wrap="none" rtlCol="0">
                      <a:spAutoFit/>
                    </a:bodyPr>
                    <a:lstStyle/>
                    <a:p>
                      <a:r>
                        <a:rPr lang="en-US" sz="788">
                          <a:solidFill>
                            <a:schemeClr val="bg1"/>
                          </a:solidFill>
                        </a:rPr>
                        <a:t>VM Test IHM</a:t>
                      </a:r>
                      <a:endParaRPr lang="fr-FR" sz="788">
                        <a:solidFill>
                          <a:schemeClr val="bg1"/>
                        </a:solidFill>
                      </a:endParaRPr>
                    </a:p>
                  </p:txBody>
                </p:sp>
              </p:grpSp>
              <p:grpSp>
                <p:nvGrpSpPr>
                  <p:cNvPr id="78" name="Group 128">
                    <a:extLst>
                      <a:ext uri="{FF2B5EF4-FFF2-40B4-BE49-F238E27FC236}">
                        <a16:creationId xmlns:a16="http://schemas.microsoft.com/office/drawing/2014/main" id="{2CC04753-9D5A-4AF1-8581-6A989F6320A7}"/>
                      </a:ext>
                    </a:extLst>
                  </p:cNvPr>
                  <p:cNvGrpSpPr/>
                  <p:nvPr/>
                </p:nvGrpSpPr>
                <p:grpSpPr>
                  <a:xfrm>
                    <a:off x="4358640" y="3931525"/>
                    <a:ext cx="298183" cy="296064"/>
                    <a:chOff x="4358640" y="3931525"/>
                    <a:chExt cx="298183" cy="296064"/>
                  </a:xfrm>
                </p:grpSpPr>
                <p:sp>
                  <p:nvSpPr>
                    <p:cNvPr id="79" name="Rectangle 78">
                      <a:extLst>
                        <a:ext uri="{FF2B5EF4-FFF2-40B4-BE49-F238E27FC236}">
                          <a16:creationId xmlns:a16="http://schemas.microsoft.com/office/drawing/2014/main" id="{70200EDF-D0B8-4264-A301-25BBA17305B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4358640" y="3931920"/>
                      <a:ext cx="294386" cy="295275"/>
                    </a:xfrm>
                    <a:prstGeom prst="rect">
                      <a:avLst/>
                    </a:prstGeom>
                    <a:solidFill>
                      <a:srgbClr val="59B4D9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fr-FR" sz="1200"/>
                    </a:p>
                  </p:txBody>
                </p:sp>
                <p:pic>
                  <p:nvPicPr>
                    <p:cNvPr id="80" name="Picture 131" descr="Icon&#10;&#10;Description automatically generated">
                      <a:extLst>
                        <a:ext uri="{FF2B5EF4-FFF2-40B4-BE49-F238E27FC236}">
                          <a16:creationId xmlns:a16="http://schemas.microsoft.com/office/drawing/2014/main" id="{BB8CA62C-AA65-43D9-AADD-35AFEC103CC2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2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4360759" y="3931525"/>
                      <a:ext cx="296064" cy="296064"/>
                    </a:xfrm>
                    <a:prstGeom prst="rect">
                      <a:avLst/>
                    </a:prstGeom>
                  </p:spPr>
                </p:pic>
              </p:grpSp>
            </p:grpSp>
            <p:grpSp>
              <p:nvGrpSpPr>
                <p:cNvPr id="70" name="Group 134">
                  <a:extLst>
                    <a:ext uri="{FF2B5EF4-FFF2-40B4-BE49-F238E27FC236}">
                      <a16:creationId xmlns:a16="http://schemas.microsoft.com/office/drawing/2014/main" id="{6863DAA8-4C2E-4714-861C-CF8564DF4CBE}"/>
                    </a:ext>
                  </a:extLst>
                </p:cNvPr>
                <p:cNvGrpSpPr/>
                <p:nvPr/>
              </p:nvGrpSpPr>
              <p:grpSpPr>
                <a:xfrm>
                  <a:off x="6811995" y="3870344"/>
                  <a:ext cx="962230" cy="855872"/>
                  <a:chOff x="4060924" y="3872671"/>
                  <a:chExt cx="962230" cy="855872"/>
                </a:xfrm>
              </p:grpSpPr>
              <p:grpSp>
                <p:nvGrpSpPr>
                  <p:cNvPr id="71" name="Group 135">
                    <a:extLst>
                      <a:ext uri="{FF2B5EF4-FFF2-40B4-BE49-F238E27FC236}">
                        <a16:creationId xmlns:a16="http://schemas.microsoft.com/office/drawing/2014/main" id="{E719AA70-8759-446D-ABDA-58499E9CA17A}"/>
                      </a:ext>
                    </a:extLst>
                  </p:cNvPr>
                  <p:cNvGrpSpPr/>
                  <p:nvPr/>
                </p:nvGrpSpPr>
                <p:grpSpPr>
                  <a:xfrm>
                    <a:off x="4060924" y="3872671"/>
                    <a:ext cx="962230" cy="855872"/>
                    <a:chOff x="3879476" y="3853737"/>
                    <a:chExt cx="962230" cy="855872"/>
                  </a:xfrm>
                </p:grpSpPr>
                <p:pic>
                  <p:nvPicPr>
                    <p:cNvPr id="75" name="Picture 139" descr="Icon&#10;&#10;Description automatically generated">
                      <a:extLst>
                        <a:ext uri="{FF2B5EF4-FFF2-40B4-BE49-F238E27FC236}">
                          <a16:creationId xmlns:a16="http://schemas.microsoft.com/office/drawing/2014/main" id="{E46651D4-E96E-4C41-B40C-3952A182BF73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9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4039737" y="3853737"/>
                      <a:ext cx="592125" cy="546512"/>
                    </a:xfrm>
                    <a:prstGeom prst="rect">
                      <a:avLst/>
                    </a:prstGeom>
                  </p:spPr>
                </p:pic>
                <p:sp>
                  <p:nvSpPr>
                    <p:cNvPr id="76" name="TextBox 140">
                      <a:extLst>
                        <a:ext uri="{FF2B5EF4-FFF2-40B4-BE49-F238E27FC236}">
                          <a16:creationId xmlns:a16="http://schemas.microsoft.com/office/drawing/2014/main" id="{DEAAE9FC-A479-4648-96FA-7A84CCB284E9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3879476" y="4424829"/>
                      <a:ext cx="962230" cy="284780"/>
                    </a:xfrm>
                    <a:prstGeom prst="rect">
                      <a:avLst/>
                    </a:prstGeom>
                    <a:noFill/>
                  </p:spPr>
                  <p:txBody>
                    <a:bodyPr wrap="none" rtlCol="0">
                      <a:spAutoFit/>
                    </a:bodyPr>
                    <a:lstStyle/>
                    <a:p>
                      <a:r>
                        <a:rPr lang="en-US" sz="788">
                          <a:solidFill>
                            <a:schemeClr val="bg1"/>
                          </a:solidFill>
                        </a:rPr>
                        <a:t>VM Test IHM</a:t>
                      </a:r>
                      <a:endParaRPr lang="fr-FR" sz="788">
                        <a:solidFill>
                          <a:schemeClr val="bg1"/>
                        </a:solidFill>
                      </a:endParaRPr>
                    </a:p>
                  </p:txBody>
                </p:sp>
              </p:grpSp>
              <p:grpSp>
                <p:nvGrpSpPr>
                  <p:cNvPr id="72" name="Group 136">
                    <a:extLst>
                      <a:ext uri="{FF2B5EF4-FFF2-40B4-BE49-F238E27FC236}">
                        <a16:creationId xmlns:a16="http://schemas.microsoft.com/office/drawing/2014/main" id="{21E0EEBA-4623-4357-B4E8-3C74551FCBAD}"/>
                      </a:ext>
                    </a:extLst>
                  </p:cNvPr>
                  <p:cNvGrpSpPr/>
                  <p:nvPr/>
                </p:nvGrpSpPr>
                <p:grpSpPr>
                  <a:xfrm>
                    <a:off x="4358640" y="3931525"/>
                    <a:ext cx="298183" cy="296064"/>
                    <a:chOff x="4358640" y="3931525"/>
                    <a:chExt cx="298183" cy="296064"/>
                  </a:xfrm>
                </p:grpSpPr>
                <p:sp>
                  <p:nvSpPr>
                    <p:cNvPr id="73" name="Rectangle 72">
                      <a:extLst>
                        <a:ext uri="{FF2B5EF4-FFF2-40B4-BE49-F238E27FC236}">
                          <a16:creationId xmlns:a16="http://schemas.microsoft.com/office/drawing/2014/main" id="{85B16951-8426-4F21-983E-6BAB0392067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4358640" y="3931920"/>
                      <a:ext cx="294386" cy="295275"/>
                    </a:xfrm>
                    <a:prstGeom prst="rect">
                      <a:avLst/>
                    </a:prstGeom>
                    <a:solidFill>
                      <a:srgbClr val="59B4D9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fr-FR" sz="1200"/>
                    </a:p>
                  </p:txBody>
                </p:sp>
                <p:pic>
                  <p:nvPicPr>
                    <p:cNvPr id="74" name="Picture 138" descr="Icon&#10;&#10;Description automatically generated">
                      <a:extLst>
                        <a:ext uri="{FF2B5EF4-FFF2-40B4-BE49-F238E27FC236}">
                          <a16:creationId xmlns:a16="http://schemas.microsoft.com/office/drawing/2014/main" id="{BC7765A4-5F65-4526-9EA9-9EAF1EAEBBB4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2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4360759" y="3931525"/>
                      <a:ext cx="296064" cy="296064"/>
                    </a:xfrm>
                    <a:prstGeom prst="rect">
                      <a:avLst/>
                    </a:prstGeom>
                  </p:spPr>
                </p:pic>
              </p:grpSp>
            </p:grpSp>
          </p:grpSp>
          <p:grpSp>
            <p:nvGrpSpPr>
              <p:cNvPr id="23" name="Groupe 75">
                <a:extLst>
                  <a:ext uri="{FF2B5EF4-FFF2-40B4-BE49-F238E27FC236}">
                    <a16:creationId xmlns:a16="http://schemas.microsoft.com/office/drawing/2014/main" id="{CA7B3781-11C3-4A69-ABA7-B160AD5B5268}"/>
                  </a:ext>
                </a:extLst>
              </p:cNvPr>
              <p:cNvGrpSpPr/>
              <p:nvPr/>
            </p:nvGrpSpPr>
            <p:grpSpPr>
              <a:xfrm>
                <a:off x="3645467" y="4895376"/>
                <a:ext cx="2589123" cy="1270688"/>
                <a:chOff x="3283039" y="5177107"/>
                <a:chExt cx="2875428" cy="1366701"/>
              </a:xfrm>
            </p:grpSpPr>
            <p:sp>
              <p:nvSpPr>
                <p:cNvPr id="62" name="Rectangle 61">
                  <a:extLst>
                    <a:ext uri="{FF2B5EF4-FFF2-40B4-BE49-F238E27FC236}">
                      <a16:creationId xmlns:a16="http://schemas.microsoft.com/office/drawing/2014/main" id="{C18BA10D-A3A1-49D0-8C24-603EE3035392}"/>
                    </a:ext>
                  </a:extLst>
                </p:cNvPr>
                <p:cNvSpPr/>
                <p:nvPr/>
              </p:nvSpPr>
              <p:spPr>
                <a:xfrm>
                  <a:off x="3283039" y="5177107"/>
                  <a:ext cx="2875428" cy="1366701"/>
                </a:xfrm>
                <a:prstGeom prst="rect">
                  <a:avLst/>
                </a:prstGeom>
                <a:solidFill>
                  <a:srgbClr val="CCECFF"/>
                </a:solidFill>
                <a:ln>
                  <a:solidFill>
                    <a:srgbClr val="0070C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t"/>
                <a:lstStyle/>
                <a:p>
                  <a:r>
                    <a:rPr lang="en-US" sz="1050">
                      <a:solidFill>
                        <a:sysClr val="windowText" lastClr="000000"/>
                      </a:solidFill>
                    </a:rPr>
                    <a:t>BrowserStack (</a:t>
                  </a:r>
                  <a:r>
                    <a:rPr lang="en-US" sz="1050" err="1">
                      <a:solidFill>
                        <a:sysClr val="windowText" lastClr="000000"/>
                      </a:solidFill>
                    </a:rPr>
                    <a:t>Paas</a:t>
                  </a:r>
                  <a:r>
                    <a:rPr lang="en-US" sz="1050">
                      <a:solidFill>
                        <a:sysClr val="windowText" lastClr="000000"/>
                      </a:solidFill>
                    </a:rPr>
                    <a:t>)</a:t>
                  </a:r>
                  <a:endParaRPr lang="fr-FR" sz="1050">
                    <a:solidFill>
                      <a:sysClr val="windowText" lastClr="000000"/>
                    </a:solidFill>
                  </a:endParaRPr>
                </a:p>
              </p:txBody>
            </p:sp>
            <p:pic>
              <p:nvPicPr>
                <p:cNvPr id="63" name="Picture 2" descr="Afficher l’image source">
                  <a:extLst>
                    <a:ext uri="{FF2B5EF4-FFF2-40B4-BE49-F238E27FC236}">
                      <a16:creationId xmlns:a16="http://schemas.microsoft.com/office/drawing/2014/main" id="{10008383-6EA4-4AB5-A67B-216B930D9390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10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3927134" y="5524043"/>
                  <a:ext cx="1602608" cy="909497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</p:grpSp>
          <p:cxnSp>
            <p:nvCxnSpPr>
              <p:cNvPr id="24" name="Connecteur : en angle 89">
                <a:extLst>
                  <a:ext uri="{FF2B5EF4-FFF2-40B4-BE49-F238E27FC236}">
                    <a16:creationId xmlns:a16="http://schemas.microsoft.com/office/drawing/2014/main" id="{5CCF296D-E473-41C8-A411-F5844FB8753F}"/>
                  </a:ext>
                </a:extLst>
              </p:cNvPr>
              <p:cNvCxnSpPr>
                <a:cxnSpLocks/>
                <a:stCxn id="32" idx="2"/>
                <a:endCxn id="111" idx="1"/>
              </p:cNvCxnSpPr>
              <p:nvPr/>
            </p:nvCxnSpPr>
            <p:spPr>
              <a:xfrm rot="16200000" flipH="1">
                <a:off x="8636516" y="3857208"/>
                <a:ext cx="2503900" cy="332330"/>
              </a:xfrm>
              <a:prstGeom prst="bentConnector2">
                <a:avLst/>
              </a:prstGeom>
              <a:ln w="28575">
                <a:headEnd type="none" w="med" len="med"/>
                <a:tailEnd type="triangle" w="med" len="med"/>
              </a:ln>
            </p:spPr>
            <p:style>
              <a:lnRef idx="1">
                <a:schemeClr val="accent4"/>
              </a:lnRef>
              <a:fillRef idx="0">
                <a:schemeClr val="accent4"/>
              </a:fillRef>
              <a:effectRef idx="0">
                <a:schemeClr val="accent4"/>
              </a:effectRef>
              <a:fontRef idx="minor">
                <a:schemeClr val="tx1"/>
              </a:fontRef>
            </p:style>
          </p:cxnSp>
          <p:cxnSp>
            <p:nvCxnSpPr>
              <p:cNvPr id="25" name="Connector: Elbow 79">
                <a:extLst>
                  <a:ext uri="{FF2B5EF4-FFF2-40B4-BE49-F238E27FC236}">
                    <a16:creationId xmlns:a16="http://schemas.microsoft.com/office/drawing/2014/main" id="{B4250D08-F56C-485D-B600-3268629E7710}"/>
                  </a:ext>
                </a:extLst>
              </p:cNvPr>
              <p:cNvCxnSpPr>
                <a:cxnSpLocks/>
                <a:stCxn id="109" idx="3"/>
                <a:endCxn id="46" idx="1"/>
              </p:cNvCxnSpPr>
              <p:nvPr/>
            </p:nvCxnSpPr>
            <p:spPr>
              <a:xfrm flipV="1">
                <a:off x="2715904" y="2293609"/>
                <a:ext cx="884882" cy="2628076"/>
              </a:xfrm>
              <a:prstGeom prst="bentConnector3">
                <a:avLst>
                  <a:gd name="adj1" fmla="val 50000"/>
                </a:avLst>
              </a:prstGeom>
              <a:ln w="28575">
                <a:tailEnd type="triangle"/>
              </a:ln>
            </p:spPr>
            <p:style>
              <a:lnRef idx="1">
                <a:schemeClr val="accent4"/>
              </a:lnRef>
              <a:fillRef idx="0">
                <a:schemeClr val="accent4"/>
              </a:fillRef>
              <a:effectRef idx="0">
                <a:schemeClr val="accent4"/>
              </a:effectRef>
              <a:fontRef idx="minor">
                <a:schemeClr val="tx1"/>
              </a:fontRef>
            </p:style>
          </p:cxnSp>
          <p:cxnSp>
            <p:nvCxnSpPr>
              <p:cNvPr id="26" name="Connector: Elbow 82">
                <a:extLst>
                  <a:ext uri="{FF2B5EF4-FFF2-40B4-BE49-F238E27FC236}">
                    <a16:creationId xmlns:a16="http://schemas.microsoft.com/office/drawing/2014/main" id="{A729799C-F909-4770-B534-97ADC8EA7B38}"/>
                  </a:ext>
                </a:extLst>
              </p:cNvPr>
              <p:cNvCxnSpPr>
                <a:cxnSpLocks/>
                <a:stCxn id="108" idx="3"/>
                <a:endCxn id="64" idx="1"/>
              </p:cNvCxnSpPr>
              <p:nvPr/>
            </p:nvCxnSpPr>
            <p:spPr>
              <a:xfrm flipV="1">
                <a:off x="2715905" y="3872383"/>
                <a:ext cx="911087" cy="1982889"/>
              </a:xfrm>
              <a:prstGeom prst="bentConnector3">
                <a:avLst>
                  <a:gd name="adj1" fmla="val 50000"/>
                </a:avLst>
              </a:prstGeom>
              <a:ln w="28575">
                <a:tailEnd type="triangle"/>
              </a:ln>
            </p:spPr>
            <p:style>
              <a:lnRef idx="1">
                <a:schemeClr val="accent4"/>
              </a:lnRef>
              <a:fillRef idx="0">
                <a:schemeClr val="accent4"/>
              </a:fillRef>
              <a:effectRef idx="0">
                <a:schemeClr val="accent4"/>
              </a:effectRef>
              <a:fontRef idx="minor">
                <a:schemeClr val="tx1"/>
              </a:fontRef>
            </p:style>
          </p:cxnSp>
          <p:pic>
            <p:nvPicPr>
              <p:cNvPr id="27" name="Picture 2" descr="Afficher l’image source">
                <a:extLst>
                  <a:ext uri="{FF2B5EF4-FFF2-40B4-BE49-F238E27FC236}">
                    <a16:creationId xmlns:a16="http://schemas.microsoft.com/office/drawing/2014/main" id="{5D7BAED6-1B47-45AE-BAF5-311FE1AC615B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1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653764" y="2042373"/>
                <a:ext cx="314208" cy="315259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28" name="TextBox 152">
                <a:extLst>
                  <a:ext uri="{FF2B5EF4-FFF2-40B4-BE49-F238E27FC236}">
                    <a16:creationId xmlns:a16="http://schemas.microsoft.com/office/drawing/2014/main" id="{835407BC-64E2-48F7-9E2B-5CDE9BB2A7EA}"/>
                  </a:ext>
                </a:extLst>
              </p:cNvPr>
              <p:cNvSpPr txBox="1"/>
              <p:nvPr/>
            </p:nvSpPr>
            <p:spPr>
              <a:xfrm>
                <a:off x="1927300" y="2094632"/>
                <a:ext cx="697200" cy="29238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825">
                    <a:solidFill>
                      <a:srgbClr val="002060"/>
                    </a:solidFill>
                  </a:rPr>
                  <a:t>Appium</a:t>
                </a:r>
                <a:endParaRPr lang="fr-FR" sz="825">
                  <a:solidFill>
                    <a:srgbClr val="002060"/>
                  </a:solidFill>
                </a:endParaRPr>
              </a:p>
            </p:txBody>
          </p:sp>
          <p:pic>
            <p:nvPicPr>
              <p:cNvPr id="29" name="Picture 4" descr="Afficher l’image source">
                <a:extLst>
                  <a:ext uri="{FF2B5EF4-FFF2-40B4-BE49-F238E27FC236}">
                    <a16:creationId xmlns:a16="http://schemas.microsoft.com/office/drawing/2014/main" id="{8290F608-3CBB-458C-8C60-1B3150C978A3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82416" y="2077725"/>
                <a:ext cx="290259" cy="30311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30" name="TextBox 153">
                <a:extLst>
                  <a:ext uri="{FF2B5EF4-FFF2-40B4-BE49-F238E27FC236}">
                    <a16:creationId xmlns:a16="http://schemas.microsoft.com/office/drawing/2014/main" id="{5E070AF9-B1D5-4591-9D29-B37D2988C421}"/>
                  </a:ext>
                </a:extLst>
              </p:cNvPr>
              <p:cNvSpPr txBox="1"/>
              <p:nvPr/>
            </p:nvSpPr>
            <p:spPr>
              <a:xfrm>
                <a:off x="661491" y="2089633"/>
                <a:ext cx="778419" cy="29238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825">
                    <a:solidFill>
                      <a:srgbClr val="002060"/>
                    </a:solidFill>
                  </a:rPr>
                  <a:t>Selenium</a:t>
                </a:r>
                <a:endParaRPr lang="fr-FR" sz="825">
                  <a:solidFill>
                    <a:srgbClr val="002060"/>
                  </a:solidFill>
                </a:endParaRPr>
              </a:p>
            </p:txBody>
          </p:sp>
          <p:grpSp>
            <p:nvGrpSpPr>
              <p:cNvPr id="31" name="Group 34">
                <a:extLst>
                  <a:ext uri="{FF2B5EF4-FFF2-40B4-BE49-F238E27FC236}">
                    <a16:creationId xmlns:a16="http://schemas.microsoft.com/office/drawing/2014/main" id="{B38719F9-73E1-47A1-A5B5-3C73F09B0571}"/>
                  </a:ext>
                </a:extLst>
              </p:cNvPr>
              <p:cNvGrpSpPr/>
              <p:nvPr/>
            </p:nvGrpSpPr>
            <p:grpSpPr>
              <a:xfrm>
                <a:off x="3600786" y="1391702"/>
                <a:ext cx="5768101" cy="1467732"/>
                <a:chOff x="3859791" y="1174494"/>
                <a:chExt cx="5768101" cy="1467732"/>
              </a:xfrm>
            </p:grpSpPr>
            <p:grpSp>
              <p:nvGrpSpPr>
                <p:cNvPr id="41" name="Groupe 108">
                  <a:extLst>
                    <a:ext uri="{FF2B5EF4-FFF2-40B4-BE49-F238E27FC236}">
                      <a16:creationId xmlns:a16="http://schemas.microsoft.com/office/drawing/2014/main" id="{F903D21D-E219-44E4-A508-0A50753275DD}"/>
                    </a:ext>
                  </a:extLst>
                </p:cNvPr>
                <p:cNvGrpSpPr/>
                <p:nvPr/>
              </p:nvGrpSpPr>
              <p:grpSpPr>
                <a:xfrm>
                  <a:off x="3859791" y="1174494"/>
                  <a:ext cx="5768101" cy="1467732"/>
                  <a:chOff x="3859791" y="1372959"/>
                  <a:chExt cx="5768101" cy="1467732"/>
                </a:xfrm>
              </p:grpSpPr>
              <p:sp>
                <p:nvSpPr>
                  <p:cNvPr id="46" name="Rectangle 45">
                    <a:extLst>
                      <a:ext uri="{FF2B5EF4-FFF2-40B4-BE49-F238E27FC236}">
                        <a16:creationId xmlns:a16="http://schemas.microsoft.com/office/drawing/2014/main" id="{0A691CFB-1BC2-430B-BC7E-7475ADBF8182}"/>
                      </a:ext>
                    </a:extLst>
                  </p:cNvPr>
                  <p:cNvSpPr/>
                  <p:nvPr/>
                </p:nvSpPr>
                <p:spPr>
                  <a:xfrm>
                    <a:off x="3859791" y="1709041"/>
                    <a:ext cx="5761580" cy="1131650"/>
                  </a:xfrm>
                  <a:prstGeom prst="rect">
                    <a:avLst/>
                  </a:prstGeom>
                  <a:solidFill>
                    <a:srgbClr val="CCECFF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fr-FR" sz="1200"/>
                  </a:p>
                </p:txBody>
              </p:sp>
              <p:sp>
                <p:nvSpPr>
                  <p:cNvPr id="47" name="Rectangle 46">
                    <a:extLst>
                      <a:ext uri="{FF2B5EF4-FFF2-40B4-BE49-F238E27FC236}">
                        <a16:creationId xmlns:a16="http://schemas.microsoft.com/office/drawing/2014/main" id="{ECE5F3C3-EFC2-4869-A688-C5A29A12097E}"/>
                      </a:ext>
                    </a:extLst>
                  </p:cNvPr>
                  <p:cNvSpPr/>
                  <p:nvPr/>
                </p:nvSpPr>
                <p:spPr>
                  <a:xfrm>
                    <a:off x="3866311" y="1372959"/>
                    <a:ext cx="5761581" cy="1463705"/>
                  </a:xfrm>
                  <a:prstGeom prst="rect">
                    <a:avLst/>
                  </a:prstGeom>
                  <a:solidFill>
                    <a:srgbClr val="FFFFCC"/>
                  </a:solidFill>
                  <a:ln>
                    <a:solidFill>
                      <a:srgbClr val="0070C0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t"/>
                  <a:lstStyle/>
                  <a:p>
                    <a:r>
                      <a:rPr lang="en-US" sz="1050" err="1">
                        <a:solidFill>
                          <a:srgbClr val="002060"/>
                        </a:solidFill>
                      </a:rPr>
                      <a:t>Serveurs</a:t>
                    </a:r>
                    <a:r>
                      <a:rPr lang="en-US" sz="1050">
                        <a:solidFill>
                          <a:srgbClr val="002060"/>
                        </a:solidFill>
                      </a:rPr>
                      <a:t> ReadyAPI</a:t>
                    </a:r>
                    <a:endParaRPr lang="fr-FR" sz="1050">
                      <a:solidFill>
                        <a:srgbClr val="002060"/>
                      </a:solidFill>
                    </a:endParaRPr>
                  </a:p>
                </p:txBody>
              </p:sp>
              <p:grpSp>
                <p:nvGrpSpPr>
                  <p:cNvPr id="48" name="Group 16">
                    <a:extLst>
                      <a:ext uri="{FF2B5EF4-FFF2-40B4-BE49-F238E27FC236}">
                        <a16:creationId xmlns:a16="http://schemas.microsoft.com/office/drawing/2014/main" id="{27CDB0A6-8ED3-4745-8D27-B4097D88566D}"/>
                      </a:ext>
                    </a:extLst>
                  </p:cNvPr>
                  <p:cNvGrpSpPr/>
                  <p:nvPr/>
                </p:nvGrpSpPr>
                <p:grpSpPr>
                  <a:xfrm>
                    <a:off x="3969370" y="1808214"/>
                    <a:ext cx="1077647" cy="942592"/>
                    <a:chOff x="3969370" y="1808214"/>
                    <a:chExt cx="1077647" cy="942592"/>
                  </a:xfrm>
                </p:grpSpPr>
                <p:grpSp>
                  <p:nvGrpSpPr>
                    <p:cNvPr id="58" name="Group 56">
                      <a:extLst>
                        <a:ext uri="{FF2B5EF4-FFF2-40B4-BE49-F238E27FC236}">
                          <a16:creationId xmlns:a16="http://schemas.microsoft.com/office/drawing/2014/main" id="{51AC55CC-9379-483A-835D-F84DF2DA7B3B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3969370" y="1808214"/>
                      <a:ext cx="1077647" cy="942592"/>
                      <a:chOff x="3979167" y="1787744"/>
                      <a:chExt cx="1077647" cy="942592"/>
                    </a:xfrm>
                  </p:grpSpPr>
                  <p:pic>
                    <p:nvPicPr>
                      <p:cNvPr id="60" name="Graphic 54">
                        <a:extLst>
                          <a:ext uri="{FF2B5EF4-FFF2-40B4-BE49-F238E27FC236}">
                            <a16:creationId xmlns:a16="http://schemas.microsoft.com/office/drawing/2014/main" id="{D5CD863F-A650-4F76-90DC-77462368E561}"/>
                          </a:ext>
                        </a:extLst>
                      </p:cNvPr>
                      <p:cNvPicPr>
                        <a:picLocks noChangeAspect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  <a:ext uri="{96DAC541-7B7A-43D3-8B79-37D633B846F1}">
                            <asvg:svgBlip xmlns:asvg="http://schemas.microsoft.com/office/drawing/2016/SVG/main" r:embed="rId14"/>
                          </a:ext>
                        </a:extLst>
                      </a:blip>
                      <a:stretch>
                        <a:fillRect/>
                      </a:stretch>
                    </p:blipFill>
                    <p:spPr>
                      <a:xfrm>
                        <a:off x="4170656" y="1787744"/>
                        <a:ext cx="609600" cy="609600"/>
                      </a:xfrm>
                      <a:prstGeom prst="rect">
                        <a:avLst/>
                      </a:prstGeom>
                    </p:spPr>
                  </p:pic>
                  <p:sp>
                    <p:nvSpPr>
                      <p:cNvPr id="61" name="TextBox 55">
                        <a:extLst>
                          <a:ext uri="{FF2B5EF4-FFF2-40B4-BE49-F238E27FC236}">
                            <a16:creationId xmlns:a16="http://schemas.microsoft.com/office/drawing/2014/main" id="{E35D7CF2-3878-4EFF-8EF2-29BEAD33EDFF}"/>
                          </a:ext>
                        </a:extLst>
                      </p:cNvPr>
                      <p:cNvSpPr txBox="1"/>
                      <p:nvPr/>
                    </p:nvSpPr>
                    <p:spPr>
                      <a:xfrm>
                        <a:off x="3979167" y="2445556"/>
                        <a:ext cx="1077647" cy="284780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none" rtlCol="0">
                        <a:spAutoFit/>
                      </a:bodyPr>
                      <a:lstStyle/>
                      <a:p>
                        <a:r>
                          <a:rPr lang="en-US" sz="788">
                            <a:solidFill>
                              <a:srgbClr val="002060"/>
                            </a:solidFill>
                          </a:rPr>
                          <a:t>VM de Test API</a:t>
                        </a:r>
                        <a:endParaRPr lang="fr-FR" sz="788">
                          <a:solidFill>
                            <a:srgbClr val="002060"/>
                          </a:solidFill>
                        </a:endParaRPr>
                      </a:p>
                    </p:txBody>
                  </p:sp>
                </p:grpSp>
                <p:pic>
                  <p:nvPicPr>
                    <p:cNvPr id="59" name="Picture 80" descr="A picture containing text, yellow, clipart, picture frame&#10;&#10;Description automatically generated">
                      <a:extLst>
                        <a:ext uri="{FF2B5EF4-FFF2-40B4-BE49-F238E27FC236}">
                          <a16:creationId xmlns:a16="http://schemas.microsoft.com/office/drawing/2014/main" id="{C219FDEC-4B5D-48D1-B221-02FD4DE8AAC0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4468181" y="2259122"/>
                      <a:ext cx="184845" cy="184845"/>
                    </a:xfrm>
                    <a:prstGeom prst="rect">
                      <a:avLst/>
                    </a:prstGeom>
                  </p:spPr>
                </p:pic>
              </p:grpSp>
              <p:grpSp>
                <p:nvGrpSpPr>
                  <p:cNvPr id="49" name="Group 83">
                    <a:extLst>
                      <a:ext uri="{FF2B5EF4-FFF2-40B4-BE49-F238E27FC236}">
                        <a16:creationId xmlns:a16="http://schemas.microsoft.com/office/drawing/2014/main" id="{ECAE7420-AA73-4156-9381-0272CA24B906}"/>
                      </a:ext>
                    </a:extLst>
                  </p:cNvPr>
                  <p:cNvGrpSpPr/>
                  <p:nvPr/>
                </p:nvGrpSpPr>
                <p:grpSpPr>
                  <a:xfrm>
                    <a:off x="5166356" y="1811635"/>
                    <a:ext cx="609600" cy="635753"/>
                    <a:chOff x="4160859" y="1808214"/>
                    <a:chExt cx="609600" cy="635753"/>
                  </a:xfrm>
                </p:grpSpPr>
                <p:pic>
                  <p:nvPicPr>
                    <p:cNvPr id="56" name="Graphic 86">
                      <a:extLst>
                        <a:ext uri="{FF2B5EF4-FFF2-40B4-BE49-F238E27FC236}">
                          <a16:creationId xmlns:a16="http://schemas.microsoft.com/office/drawing/2014/main" id="{059B356A-5BC1-4CFE-9F69-62913C692F2B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13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  <a:ext uri="{96DAC541-7B7A-43D3-8B79-37D633B846F1}">
                          <asvg:svgBlip xmlns:asvg="http://schemas.microsoft.com/office/drawing/2016/SVG/main" r:embed="rId1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4160859" y="1808214"/>
                      <a:ext cx="609600" cy="609600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57" name="Picture 85" descr="A picture containing text, yellow, clipart, picture frame&#10;&#10;Description automatically generated">
                      <a:extLst>
                        <a:ext uri="{FF2B5EF4-FFF2-40B4-BE49-F238E27FC236}">
                          <a16:creationId xmlns:a16="http://schemas.microsoft.com/office/drawing/2014/main" id="{15258A11-F534-407C-BE5C-6F1297E7AC86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4468181" y="2259122"/>
                      <a:ext cx="184845" cy="184845"/>
                    </a:xfrm>
                    <a:prstGeom prst="rect">
                      <a:avLst/>
                    </a:prstGeom>
                  </p:spPr>
                </p:pic>
              </p:grpSp>
              <p:grpSp>
                <p:nvGrpSpPr>
                  <p:cNvPr id="50" name="Group 89">
                    <a:extLst>
                      <a:ext uri="{FF2B5EF4-FFF2-40B4-BE49-F238E27FC236}">
                        <a16:creationId xmlns:a16="http://schemas.microsoft.com/office/drawing/2014/main" id="{8BD7B276-96E9-4C0A-93C1-74BA4083C260}"/>
                      </a:ext>
                    </a:extLst>
                  </p:cNvPr>
                  <p:cNvGrpSpPr/>
                  <p:nvPr/>
                </p:nvGrpSpPr>
                <p:grpSpPr>
                  <a:xfrm>
                    <a:off x="6167676" y="1808214"/>
                    <a:ext cx="609600" cy="635753"/>
                    <a:chOff x="4160859" y="1808214"/>
                    <a:chExt cx="609600" cy="635753"/>
                  </a:xfrm>
                </p:grpSpPr>
                <p:pic>
                  <p:nvPicPr>
                    <p:cNvPr id="54" name="Graphic 95">
                      <a:extLst>
                        <a:ext uri="{FF2B5EF4-FFF2-40B4-BE49-F238E27FC236}">
                          <a16:creationId xmlns:a16="http://schemas.microsoft.com/office/drawing/2014/main" id="{91ED5D0A-E765-497B-93FB-29621195F7EE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13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  <a:ext uri="{96DAC541-7B7A-43D3-8B79-37D633B846F1}">
                          <asvg:svgBlip xmlns:asvg="http://schemas.microsoft.com/office/drawing/2016/SVG/main" r:embed="rId1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4160859" y="1808214"/>
                      <a:ext cx="609600" cy="609600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55" name="Picture 92" descr="A picture containing text, yellow, clipart, picture frame&#10;&#10;Description automatically generated">
                      <a:extLst>
                        <a:ext uri="{FF2B5EF4-FFF2-40B4-BE49-F238E27FC236}">
                          <a16:creationId xmlns:a16="http://schemas.microsoft.com/office/drawing/2014/main" id="{EF961BD4-46B5-4EA8-A16D-B402E739A658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4468181" y="2259122"/>
                      <a:ext cx="184845" cy="184845"/>
                    </a:xfrm>
                    <a:prstGeom prst="rect">
                      <a:avLst/>
                    </a:prstGeom>
                  </p:spPr>
                </p:pic>
              </p:grpSp>
              <p:grpSp>
                <p:nvGrpSpPr>
                  <p:cNvPr id="51" name="Group 97">
                    <a:extLst>
                      <a:ext uri="{FF2B5EF4-FFF2-40B4-BE49-F238E27FC236}">
                        <a16:creationId xmlns:a16="http://schemas.microsoft.com/office/drawing/2014/main" id="{4A209F61-256A-454E-A719-AB4B72F296B1}"/>
                      </a:ext>
                    </a:extLst>
                  </p:cNvPr>
                  <p:cNvGrpSpPr/>
                  <p:nvPr/>
                </p:nvGrpSpPr>
                <p:grpSpPr>
                  <a:xfrm>
                    <a:off x="7151209" y="1803184"/>
                    <a:ext cx="609600" cy="635753"/>
                    <a:chOff x="4160859" y="1808214"/>
                    <a:chExt cx="609600" cy="635753"/>
                  </a:xfrm>
                </p:grpSpPr>
                <p:pic>
                  <p:nvPicPr>
                    <p:cNvPr id="52" name="Graphic 102">
                      <a:extLst>
                        <a:ext uri="{FF2B5EF4-FFF2-40B4-BE49-F238E27FC236}">
                          <a16:creationId xmlns:a16="http://schemas.microsoft.com/office/drawing/2014/main" id="{C851A4A9-96F1-4909-BDFF-C0EDB1D2ECE8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13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  <a:ext uri="{96DAC541-7B7A-43D3-8B79-37D633B846F1}">
                          <asvg:svgBlip xmlns:asvg="http://schemas.microsoft.com/office/drawing/2016/SVG/main" r:embed="rId1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4160859" y="1808214"/>
                      <a:ext cx="609600" cy="609600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53" name="Picture 100" descr="A picture containing text, yellow, clipart, picture frame&#10;&#10;Description automatically generated">
                      <a:extLst>
                        <a:ext uri="{FF2B5EF4-FFF2-40B4-BE49-F238E27FC236}">
                          <a16:creationId xmlns:a16="http://schemas.microsoft.com/office/drawing/2014/main" id="{61D48228-FB3B-4D42-999B-8F5D415AF372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4468181" y="2259122"/>
                      <a:ext cx="184845" cy="184845"/>
                    </a:xfrm>
                    <a:prstGeom prst="rect">
                      <a:avLst/>
                    </a:prstGeom>
                  </p:spPr>
                </p:pic>
              </p:grpSp>
            </p:grpSp>
            <p:grpSp>
              <p:nvGrpSpPr>
                <p:cNvPr id="42" name="Group 33">
                  <a:extLst>
                    <a:ext uri="{FF2B5EF4-FFF2-40B4-BE49-F238E27FC236}">
                      <a16:creationId xmlns:a16="http://schemas.microsoft.com/office/drawing/2014/main" id="{FA05F65D-1E63-4016-A691-63A1396CC8E4}"/>
                    </a:ext>
                  </a:extLst>
                </p:cNvPr>
                <p:cNvGrpSpPr/>
                <p:nvPr/>
              </p:nvGrpSpPr>
              <p:grpSpPr>
                <a:xfrm>
                  <a:off x="4974600" y="2257003"/>
                  <a:ext cx="3095928" cy="290308"/>
                  <a:chOff x="4974600" y="2257003"/>
                  <a:chExt cx="3095928" cy="290308"/>
                </a:xfrm>
              </p:grpSpPr>
              <p:sp>
                <p:nvSpPr>
                  <p:cNvPr id="43" name="TextBox 162">
                    <a:extLst>
                      <a:ext uri="{FF2B5EF4-FFF2-40B4-BE49-F238E27FC236}">
                        <a16:creationId xmlns:a16="http://schemas.microsoft.com/office/drawing/2014/main" id="{AA6C38F5-3731-4C4A-8413-65C2B1E7AE5A}"/>
                      </a:ext>
                    </a:extLst>
                  </p:cNvPr>
                  <p:cNvSpPr txBox="1"/>
                  <p:nvPr/>
                </p:nvSpPr>
                <p:spPr>
                  <a:xfrm>
                    <a:off x="4974600" y="2262531"/>
                    <a:ext cx="1077647" cy="284780"/>
                  </a:xfrm>
                  <a:prstGeom prst="rect">
                    <a:avLst/>
                  </a:prstGeom>
                  <a:noFill/>
                </p:spPr>
                <p:txBody>
                  <a:bodyPr wrap="none" rtlCol="0">
                    <a:spAutoFit/>
                  </a:bodyPr>
                  <a:lstStyle/>
                  <a:p>
                    <a:r>
                      <a:rPr lang="en-US" sz="788">
                        <a:solidFill>
                          <a:srgbClr val="002060"/>
                        </a:solidFill>
                      </a:rPr>
                      <a:t>VM de Test API</a:t>
                    </a:r>
                    <a:endParaRPr lang="fr-FR" sz="788">
                      <a:solidFill>
                        <a:srgbClr val="002060"/>
                      </a:solidFill>
                    </a:endParaRPr>
                  </a:p>
                </p:txBody>
              </p:sp>
              <p:sp>
                <p:nvSpPr>
                  <p:cNvPr id="44" name="TextBox 163">
                    <a:extLst>
                      <a:ext uri="{FF2B5EF4-FFF2-40B4-BE49-F238E27FC236}">
                        <a16:creationId xmlns:a16="http://schemas.microsoft.com/office/drawing/2014/main" id="{97E14D3A-F6D4-4A81-AAB6-6EC33AF7D1A2}"/>
                      </a:ext>
                    </a:extLst>
                  </p:cNvPr>
                  <p:cNvSpPr txBox="1"/>
                  <p:nvPr/>
                </p:nvSpPr>
                <p:spPr>
                  <a:xfrm>
                    <a:off x="5975193" y="2257003"/>
                    <a:ext cx="1077647" cy="284780"/>
                  </a:xfrm>
                  <a:prstGeom prst="rect">
                    <a:avLst/>
                  </a:prstGeom>
                  <a:noFill/>
                </p:spPr>
                <p:txBody>
                  <a:bodyPr wrap="none" rtlCol="0">
                    <a:spAutoFit/>
                  </a:bodyPr>
                  <a:lstStyle/>
                  <a:p>
                    <a:r>
                      <a:rPr lang="en-US" sz="788">
                        <a:solidFill>
                          <a:srgbClr val="002060"/>
                        </a:solidFill>
                      </a:rPr>
                      <a:t>VM de Test API</a:t>
                    </a:r>
                    <a:endParaRPr lang="fr-FR" sz="788">
                      <a:solidFill>
                        <a:srgbClr val="002060"/>
                      </a:solidFill>
                    </a:endParaRPr>
                  </a:p>
                </p:txBody>
              </p:sp>
              <p:sp>
                <p:nvSpPr>
                  <p:cNvPr id="45" name="TextBox 164">
                    <a:extLst>
                      <a:ext uri="{FF2B5EF4-FFF2-40B4-BE49-F238E27FC236}">
                        <a16:creationId xmlns:a16="http://schemas.microsoft.com/office/drawing/2014/main" id="{CB73A1E1-9512-4E0F-ACEE-8ADD5303AAA1}"/>
                      </a:ext>
                    </a:extLst>
                  </p:cNvPr>
                  <p:cNvSpPr txBox="1"/>
                  <p:nvPr/>
                </p:nvSpPr>
                <p:spPr>
                  <a:xfrm>
                    <a:off x="6992881" y="2257003"/>
                    <a:ext cx="1077647" cy="284780"/>
                  </a:xfrm>
                  <a:prstGeom prst="rect">
                    <a:avLst/>
                  </a:prstGeom>
                  <a:noFill/>
                </p:spPr>
                <p:txBody>
                  <a:bodyPr wrap="none" rtlCol="0">
                    <a:spAutoFit/>
                  </a:bodyPr>
                  <a:lstStyle/>
                  <a:p>
                    <a:r>
                      <a:rPr lang="en-US" sz="788">
                        <a:solidFill>
                          <a:srgbClr val="002060"/>
                        </a:solidFill>
                      </a:rPr>
                      <a:t>VM de Test API</a:t>
                    </a:r>
                    <a:endParaRPr lang="fr-FR" sz="788">
                      <a:solidFill>
                        <a:srgbClr val="002060"/>
                      </a:solidFill>
                    </a:endParaRPr>
                  </a:p>
                </p:txBody>
              </p:sp>
            </p:grpSp>
          </p:grpSp>
          <p:pic>
            <p:nvPicPr>
              <p:cNvPr id="32" name="Graphic 118">
                <a:extLst>
                  <a:ext uri="{FF2B5EF4-FFF2-40B4-BE49-F238E27FC236}">
                    <a16:creationId xmlns:a16="http://schemas.microsoft.com/office/drawing/2014/main" id="{EAEF5CC1-9788-498C-AAC3-1EE8FF7BFCE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5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6"/>
                  </a:ext>
                </a:extLst>
              </a:blip>
              <a:stretch>
                <a:fillRect/>
              </a:stretch>
            </p:blipFill>
            <p:spPr>
              <a:xfrm>
                <a:off x="9553428" y="2433677"/>
                <a:ext cx="337746" cy="337746"/>
              </a:xfrm>
              <a:prstGeom prst="rect">
                <a:avLst/>
              </a:prstGeom>
            </p:spPr>
          </p:pic>
          <p:cxnSp>
            <p:nvCxnSpPr>
              <p:cNvPr id="33" name="Connector: Elbow 101">
                <a:extLst>
                  <a:ext uri="{FF2B5EF4-FFF2-40B4-BE49-F238E27FC236}">
                    <a16:creationId xmlns:a16="http://schemas.microsoft.com/office/drawing/2014/main" id="{4EFC1034-D7AC-4D4D-A422-E29BEE3DDE0D}"/>
                  </a:ext>
                </a:extLst>
              </p:cNvPr>
              <p:cNvCxnSpPr>
                <a:cxnSpLocks/>
                <a:stCxn id="47" idx="3"/>
                <a:endCxn id="32" idx="0"/>
              </p:cNvCxnSpPr>
              <p:nvPr/>
            </p:nvCxnSpPr>
            <p:spPr>
              <a:xfrm>
                <a:off x="9368888" y="2123555"/>
                <a:ext cx="353413" cy="310123"/>
              </a:xfrm>
              <a:prstGeom prst="bentConnector2">
                <a:avLst/>
              </a:prstGeom>
              <a:ln w="28575">
                <a:tailEnd type="triangle"/>
              </a:ln>
            </p:spPr>
            <p:style>
              <a:lnRef idx="1">
                <a:schemeClr val="accent4"/>
              </a:lnRef>
              <a:fillRef idx="0">
                <a:schemeClr val="accent4"/>
              </a:fillRef>
              <a:effectRef idx="0">
                <a:schemeClr val="accent4"/>
              </a:effectRef>
              <a:fontRef idx="minor">
                <a:schemeClr val="tx1"/>
              </a:fontRef>
            </p:style>
          </p:cxnSp>
          <p:grpSp>
            <p:nvGrpSpPr>
              <p:cNvPr id="34" name="Groupe 131">
                <a:extLst>
                  <a:ext uri="{FF2B5EF4-FFF2-40B4-BE49-F238E27FC236}">
                    <a16:creationId xmlns:a16="http://schemas.microsoft.com/office/drawing/2014/main" id="{36EBC747-7268-4C54-9E30-C6DDAC992792}"/>
                  </a:ext>
                </a:extLst>
              </p:cNvPr>
              <p:cNvGrpSpPr/>
              <p:nvPr/>
            </p:nvGrpSpPr>
            <p:grpSpPr>
              <a:xfrm>
                <a:off x="6773243" y="4891738"/>
                <a:ext cx="2589123" cy="1270688"/>
                <a:chOff x="3283039" y="5177107"/>
                <a:chExt cx="2875428" cy="1366701"/>
              </a:xfrm>
            </p:grpSpPr>
            <p:sp>
              <p:nvSpPr>
                <p:cNvPr id="39" name="Rectangle 38">
                  <a:extLst>
                    <a:ext uri="{FF2B5EF4-FFF2-40B4-BE49-F238E27FC236}">
                      <a16:creationId xmlns:a16="http://schemas.microsoft.com/office/drawing/2014/main" id="{8006EA99-1AB4-4EB8-BB8E-E8D2A4956B30}"/>
                    </a:ext>
                  </a:extLst>
                </p:cNvPr>
                <p:cNvSpPr/>
                <p:nvPr/>
              </p:nvSpPr>
              <p:spPr>
                <a:xfrm>
                  <a:off x="3283039" y="5177107"/>
                  <a:ext cx="2875428" cy="1366701"/>
                </a:xfrm>
                <a:prstGeom prst="rect">
                  <a:avLst/>
                </a:prstGeom>
                <a:solidFill>
                  <a:srgbClr val="FFFFCC"/>
                </a:solidFill>
                <a:ln>
                  <a:solidFill>
                    <a:srgbClr val="0070C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t"/>
                <a:lstStyle/>
                <a:p>
                  <a:r>
                    <a:rPr lang="en-US" sz="1050">
                      <a:solidFill>
                        <a:sysClr val="windowText" lastClr="000000"/>
                      </a:solidFill>
                    </a:rPr>
                    <a:t>Mobile Lab (Interne)</a:t>
                  </a:r>
                  <a:endParaRPr lang="fr-FR" sz="1050">
                    <a:solidFill>
                      <a:sysClr val="windowText" lastClr="000000"/>
                    </a:solidFill>
                  </a:endParaRPr>
                </a:p>
              </p:txBody>
            </p:sp>
            <p:pic>
              <p:nvPicPr>
                <p:cNvPr id="40" name="Picture 2" descr="Afficher l’image source">
                  <a:extLst>
                    <a:ext uri="{FF2B5EF4-FFF2-40B4-BE49-F238E27FC236}">
                      <a16:creationId xmlns:a16="http://schemas.microsoft.com/office/drawing/2014/main" id="{EABC2C85-2F76-4B8E-8F6C-49428BC3C285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10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3927134" y="5524043"/>
                  <a:ext cx="1602608" cy="909497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</p:grpSp>
          <p:cxnSp>
            <p:nvCxnSpPr>
              <p:cNvPr id="35" name="Connector: Elbow 82">
                <a:extLst>
                  <a:ext uri="{FF2B5EF4-FFF2-40B4-BE49-F238E27FC236}">
                    <a16:creationId xmlns:a16="http://schemas.microsoft.com/office/drawing/2014/main" id="{1FC3F842-AB5E-4734-8DF2-4511B3E7455B}"/>
                  </a:ext>
                </a:extLst>
              </p:cNvPr>
              <p:cNvCxnSpPr>
                <a:cxnSpLocks/>
                <a:stCxn id="64" idx="2"/>
                <a:endCxn id="62" idx="0"/>
              </p:cNvCxnSpPr>
              <p:nvPr/>
            </p:nvCxnSpPr>
            <p:spPr>
              <a:xfrm rot="5400000">
                <a:off x="5555553" y="3952988"/>
                <a:ext cx="326863" cy="1557912"/>
              </a:xfrm>
              <a:prstGeom prst="bentConnector3">
                <a:avLst>
                  <a:gd name="adj1" fmla="val 50000"/>
                </a:avLst>
              </a:prstGeom>
              <a:ln w="28575">
                <a:tailEnd type="triangle"/>
              </a:ln>
            </p:spPr>
            <p:style>
              <a:lnRef idx="1">
                <a:schemeClr val="accent4"/>
              </a:lnRef>
              <a:fillRef idx="0">
                <a:schemeClr val="accent4"/>
              </a:fillRef>
              <a:effectRef idx="0">
                <a:schemeClr val="accent4"/>
              </a:effectRef>
              <a:fontRef idx="minor">
                <a:schemeClr val="tx1"/>
              </a:fontRef>
            </p:style>
          </p:cxnSp>
          <p:cxnSp>
            <p:nvCxnSpPr>
              <p:cNvPr id="36" name="Connector: Elbow 82">
                <a:extLst>
                  <a:ext uri="{FF2B5EF4-FFF2-40B4-BE49-F238E27FC236}">
                    <a16:creationId xmlns:a16="http://schemas.microsoft.com/office/drawing/2014/main" id="{413D5538-B75B-4470-B265-1FDE9FFC8653}"/>
                  </a:ext>
                </a:extLst>
              </p:cNvPr>
              <p:cNvCxnSpPr>
                <a:cxnSpLocks/>
                <a:stCxn id="64" idx="2"/>
                <a:endCxn id="39" idx="0"/>
              </p:cNvCxnSpPr>
              <p:nvPr/>
            </p:nvCxnSpPr>
            <p:spPr>
              <a:xfrm rot="16200000" flipH="1">
                <a:off x="7121260" y="3945194"/>
                <a:ext cx="323224" cy="1569864"/>
              </a:xfrm>
              <a:prstGeom prst="bentConnector3">
                <a:avLst>
                  <a:gd name="adj1" fmla="val 50000"/>
                </a:avLst>
              </a:prstGeom>
              <a:ln w="28575">
                <a:tailEnd type="triangle"/>
              </a:ln>
            </p:spPr>
            <p:style>
              <a:lnRef idx="1">
                <a:schemeClr val="accent4"/>
              </a:lnRef>
              <a:fillRef idx="0">
                <a:schemeClr val="accent4"/>
              </a:fillRef>
              <a:effectRef idx="0">
                <a:schemeClr val="accent4"/>
              </a:effectRef>
              <a:fontRef idx="minor">
                <a:schemeClr val="tx1"/>
              </a:fontRef>
            </p:style>
          </p:cxnSp>
          <p:cxnSp>
            <p:nvCxnSpPr>
              <p:cNvPr id="37" name="Connector: Elbow 82">
                <a:extLst>
                  <a:ext uri="{FF2B5EF4-FFF2-40B4-BE49-F238E27FC236}">
                    <a16:creationId xmlns:a16="http://schemas.microsoft.com/office/drawing/2014/main" id="{F72F21A0-29C9-472D-A636-A8AAEC5BA662}"/>
                  </a:ext>
                </a:extLst>
              </p:cNvPr>
              <p:cNvCxnSpPr>
                <a:cxnSpLocks/>
                <a:stCxn id="62" idx="2"/>
                <a:endCxn id="32" idx="2"/>
              </p:cNvCxnSpPr>
              <p:nvPr/>
            </p:nvCxnSpPr>
            <p:spPr>
              <a:xfrm rot="5400000" flipH="1" flipV="1">
                <a:off x="5633844" y="2077608"/>
                <a:ext cx="3394641" cy="4782272"/>
              </a:xfrm>
              <a:prstGeom prst="bentConnector3">
                <a:avLst>
                  <a:gd name="adj1" fmla="val -6734"/>
                </a:avLst>
              </a:prstGeom>
              <a:ln w="28575">
                <a:tailEnd type="triangle"/>
              </a:ln>
            </p:spPr>
            <p:style>
              <a:lnRef idx="1">
                <a:schemeClr val="accent4"/>
              </a:lnRef>
              <a:fillRef idx="0">
                <a:schemeClr val="accent4"/>
              </a:fillRef>
              <a:effectRef idx="0">
                <a:schemeClr val="accent4"/>
              </a:effectRef>
              <a:fontRef idx="minor">
                <a:schemeClr val="tx1"/>
              </a:fontRef>
            </p:style>
          </p:cxnSp>
          <p:cxnSp>
            <p:nvCxnSpPr>
              <p:cNvPr id="38" name="Connector: Elbow 82">
                <a:extLst>
                  <a:ext uri="{FF2B5EF4-FFF2-40B4-BE49-F238E27FC236}">
                    <a16:creationId xmlns:a16="http://schemas.microsoft.com/office/drawing/2014/main" id="{E695D9B7-0A93-410E-8824-3EDC157E90BD}"/>
                  </a:ext>
                </a:extLst>
              </p:cNvPr>
              <p:cNvCxnSpPr>
                <a:cxnSpLocks/>
                <a:stCxn id="39" idx="2"/>
                <a:endCxn id="32" idx="2"/>
              </p:cNvCxnSpPr>
              <p:nvPr/>
            </p:nvCxnSpPr>
            <p:spPr>
              <a:xfrm rot="5400000" flipH="1" flipV="1">
                <a:off x="7199551" y="3639677"/>
                <a:ext cx="3391003" cy="1654496"/>
              </a:xfrm>
              <a:prstGeom prst="bentConnector3">
                <a:avLst>
                  <a:gd name="adj1" fmla="val -6741"/>
                </a:avLst>
              </a:prstGeom>
              <a:ln w="28575">
                <a:tailEnd type="triangle"/>
              </a:ln>
            </p:spPr>
            <p:style>
              <a:lnRef idx="1">
                <a:schemeClr val="accent4"/>
              </a:lnRef>
              <a:fillRef idx="0">
                <a:schemeClr val="accent4"/>
              </a:fillRef>
              <a:effectRef idx="0">
                <a:schemeClr val="accent4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2263875010"/>
      </p:ext>
    </p:extLst>
  </p:cSld>
  <p:clrMapOvr>
    <a:masterClrMapping/>
  </p:clrMapOvr>
</p:sld>
</file>

<file path=ppt/slides/slide2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e 150">
            <a:extLst>
              <a:ext uri="{FF2B5EF4-FFF2-40B4-BE49-F238E27FC236}">
                <a16:creationId xmlns:a16="http://schemas.microsoft.com/office/drawing/2014/main" id="{A062A59D-0A7D-4F1D-A65A-743722050436}"/>
              </a:ext>
            </a:extLst>
          </p:cNvPr>
          <p:cNvGrpSpPr/>
          <p:nvPr/>
        </p:nvGrpSpPr>
        <p:grpSpPr>
          <a:xfrm>
            <a:off x="274257" y="558113"/>
            <a:ext cx="8595485" cy="4027274"/>
            <a:chOff x="226256" y="1197684"/>
            <a:chExt cx="11460647" cy="5369699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620E5E12-EB6E-48DB-8E73-38EAEC4A4144}"/>
                </a:ext>
              </a:extLst>
            </p:cNvPr>
            <p:cNvSpPr/>
            <p:nvPr/>
          </p:nvSpPr>
          <p:spPr>
            <a:xfrm>
              <a:off x="226256" y="1197684"/>
              <a:ext cx="11460647" cy="536969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200"/>
            </a:p>
          </p:txBody>
        </p:sp>
        <p:grpSp>
          <p:nvGrpSpPr>
            <p:cNvPr id="7" name="Groupe 148">
              <a:extLst>
                <a:ext uri="{FF2B5EF4-FFF2-40B4-BE49-F238E27FC236}">
                  <a16:creationId xmlns:a16="http://schemas.microsoft.com/office/drawing/2014/main" id="{FA94F00E-D005-4F7A-81A5-E1D3B0A61341}"/>
                </a:ext>
              </a:extLst>
            </p:cNvPr>
            <p:cNvGrpSpPr/>
            <p:nvPr/>
          </p:nvGrpSpPr>
          <p:grpSpPr>
            <a:xfrm>
              <a:off x="226256" y="1197684"/>
              <a:ext cx="11395545" cy="5304463"/>
              <a:chOff x="226256" y="1197684"/>
              <a:chExt cx="11395545" cy="5304463"/>
            </a:xfrm>
          </p:grpSpPr>
          <p:sp>
            <p:nvSpPr>
              <p:cNvPr id="8" name="Rectangle 7">
                <a:extLst>
                  <a:ext uri="{FF2B5EF4-FFF2-40B4-BE49-F238E27FC236}">
                    <a16:creationId xmlns:a16="http://schemas.microsoft.com/office/drawing/2014/main" id="{00A504AB-557F-4E34-A33D-559D604B0508}"/>
                  </a:ext>
                </a:extLst>
              </p:cNvPr>
              <p:cNvSpPr/>
              <p:nvPr/>
            </p:nvSpPr>
            <p:spPr>
              <a:xfrm>
                <a:off x="3186002" y="1197685"/>
                <a:ext cx="6709697" cy="5304462"/>
              </a:xfrm>
              <a:prstGeom prst="rect">
                <a:avLst/>
              </a:prstGeom>
              <a:solidFill>
                <a:schemeClr val="bg2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 sz="1200"/>
              </a:p>
            </p:txBody>
          </p:sp>
          <p:sp>
            <p:nvSpPr>
              <p:cNvPr id="9" name="Rectangle 8">
                <a:extLst>
                  <a:ext uri="{FF2B5EF4-FFF2-40B4-BE49-F238E27FC236}">
                    <a16:creationId xmlns:a16="http://schemas.microsoft.com/office/drawing/2014/main" id="{2661B4D0-E996-4AB4-B3BB-D3A7F4A9D382}"/>
                  </a:ext>
                </a:extLst>
              </p:cNvPr>
              <p:cNvSpPr/>
              <p:nvPr/>
            </p:nvSpPr>
            <p:spPr>
              <a:xfrm>
                <a:off x="226256" y="1197684"/>
                <a:ext cx="2735308" cy="1658438"/>
              </a:xfrm>
              <a:prstGeom prst="rect">
                <a:avLst/>
              </a:prstGeom>
              <a:noFill/>
              <a:ln>
                <a:solidFill>
                  <a:srgbClr val="007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r>
                  <a:rPr lang="en-US" sz="1050">
                    <a:solidFill>
                      <a:srgbClr val="002060"/>
                    </a:solidFill>
                  </a:rPr>
                  <a:t>Poste de travail</a:t>
                </a:r>
                <a:endParaRPr lang="fr-FR" sz="1050">
                  <a:solidFill>
                    <a:srgbClr val="002060"/>
                  </a:solidFill>
                </a:endParaRPr>
              </a:p>
            </p:txBody>
          </p:sp>
          <p:pic>
            <p:nvPicPr>
              <p:cNvPr id="10" name="Picture 67" descr="Icon&#10;&#10;Description automatically generated">
                <a:extLst>
                  <a:ext uri="{FF2B5EF4-FFF2-40B4-BE49-F238E27FC236}">
                    <a16:creationId xmlns:a16="http://schemas.microsoft.com/office/drawing/2014/main" id="{14D96B5B-1AC1-416B-A6E1-FBCDB67021B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661976" y="1640733"/>
                <a:ext cx="320767" cy="320767"/>
              </a:xfrm>
              <a:prstGeom prst="rect">
                <a:avLst/>
              </a:prstGeom>
            </p:spPr>
          </p:pic>
          <p:pic>
            <p:nvPicPr>
              <p:cNvPr id="11" name="Picture 69" descr="A picture containing text, yellow, clipart, picture frame&#10;&#10;Description automatically generated">
                <a:extLst>
                  <a:ext uri="{FF2B5EF4-FFF2-40B4-BE49-F238E27FC236}">
                    <a16:creationId xmlns:a16="http://schemas.microsoft.com/office/drawing/2014/main" id="{FAE61BE7-FEB3-4E6F-B64B-1DE3C6125EC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92566" y="1671468"/>
                <a:ext cx="298765" cy="298765"/>
              </a:xfrm>
              <a:prstGeom prst="rect">
                <a:avLst/>
              </a:prstGeom>
            </p:spPr>
          </p:pic>
          <p:pic>
            <p:nvPicPr>
              <p:cNvPr id="12" name="Picture 2">
                <a:extLst>
                  <a:ext uri="{FF2B5EF4-FFF2-40B4-BE49-F238E27FC236}">
                    <a16:creationId xmlns:a16="http://schemas.microsoft.com/office/drawing/2014/main" id="{EB7F6003-DFED-4179-8845-775B53C72E8D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651824" y="2451131"/>
                <a:ext cx="298765" cy="298765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3" name="Picture 4" descr="Afficher l’image source">
                <a:extLst>
                  <a:ext uri="{FF2B5EF4-FFF2-40B4-BE49-F238E27FC236}">
                    <a16:creationId xmlns:a16="http://schemas.microsoft.com/office/drawing/2014/main" id="{92B173E7-D43B-4FD5-A6B5-980A810AFABD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82416" y="2455367"/>
                <a:ext cx="298765" cy="298765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14" name="TextBox 70">
                <a:extLst>
                  <a:ext uri="{FF2B5EF4-FFF2-40B4-BE49-F238E27FC236}">
                    <a16:creationId xmlns:a16="http://schemas.microsoft.com/office/drawing/2014/main" id="{99FF1875-81D1-4571-9F9B-FCE5544DE9A3}"/>
                  </a:ext>
                </a:extLst>
              </p:cNvPr>
              <p:cNvSpPr txBox="1"/>
              <p:nvPr/>
            </p:nvSpPr>
            <p:spPr>
              <a:xfrm>
                <a:off x="1910245" y="2466017"/>
                <a:ext cx="987877" cy="29238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825">
                    <a:solidFill>
                      <a:srgbClr val="002060"/>
                    </a:solidFill>
                  </a:rPr>
                  <a:t>Visual Studio</a:t>
                </a:r>
                <a:endParaRPr lang="fr-FR" sz="825">
                  <a:solidFill>
                    <a:srgbClr val="002060"/>
                  </a:solidFill>
                </a:endParaRPr>
              </a:p>
            </p:txBody>
          </p:sp>
          <p:sp>
            <p:nvSpPr>
              <p:cNvPr id="15" name="TextBox 73">
                <a:extLst>
                  <a:ext uri="{FF2B5EF4-FFF2-40B4-BE49-F238E27FC236}">
                    <a16:creationId xmlns:a16="http://schemas.microsoft.com/office/drawing/2014/main" id="{87BDF9C2-72B4-4B71-A570-7D1A9110DCCE}"/>
                  </a:ext>
                </a:extLst>
              </p:cNvPr>
              <p:cNvSpPr txBox="1"/>
              <p:nvPr/>
            </p:nvSpPr>
            <p:spPr>
              <a:xfrm>
                <a:off x="648060" y="2488285"/>
                <a:ext cx="921620" cy="29238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825">
                    <a:solidFill>
                      <a:srgbClr val="002060"/>
                    </a:solidFill>
                  </a:rPr>
                  <a:t>IntelliJ IDEA</a:t>
                </a:r>
                <a:endParaRPr lang="fr-FR" sz="825">
                  <a:solidFill>
                    <a:srgbClr val="002060"/>
                  </a:solidFill>
                </a:endParaRPr>
              </a:p>
            </p:txBody>
          </p:sp>
          <p:sp>
            <p:nvSpPr>
              <p:cNvPr id="16" name="TextBox 74">
                <a:extLst>
                  <a:ext uri="{FF2B5EF4-FFF2-40B4-BE49-F238E27FC236}">
                    <a16:creationId xmlns:a16="http://schemas.microsoft.com/office/drawing/2014/main" id="{6FB322AD-24DC-42FA-A546-1293B70DCF73}"/>
                  </a:ext>
                </a:extLst>
              </p:cNvPr>
              <p:cNvSpPr txBox="1"/>
              <p:nvPr/>
            </p:nvSpPr>
            <p:spPr>
              <a:xfrm>
                <a:off x="1917203" y="1694763"/>
                <a:ext cx="1094745" cy="29238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825">
                    <a:solidFill>
                      <a:srgbClr val="002060"/>
                    </a:solidFill>
                  </a:rPr>
                  <a:t>UFT Developer</a:t>
                </a:r>
                <a:endParaRPr lang="fr-FR" sz="825">
                  <a:solidFill>
                    <a:srgbClr val="002060"/>
                  </a:solidFill>
                </a:endParaRPr>
              </a:p>
            </p:txBody>
          </p:sp>
          <p:sp>
            <p:nvSpPr>
              <p:cNvPr id="17" name="TextBox 75">
                <a:extLst>
                  <a:ext uri="{FF2B5EF4-FFF2-40B4-BE49-F238E27FC236}">
                    <a16:creationId xmlns:a16="http://schemas.microsoft.com/office/drawing/2014/main" id="{EC39B18C-0BCB-410F-A609-2E1882511077}"/>
                  </a:ext>
                </a:extLst>
              </p:cNvPr>
              <p:cNvSpPr txBox="1"/>
              <p:nvPr/>
            </p:nvSpPr>
            <p:spPr>
              <a:xfrm>
                <a:off x="655117" y="1693645"/>
                <a:ext cx="791243" cy="29238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825">
                    <a:solidFill>
                      <a:srgbClr val="002060"/>
                    </a:solidFill>
                  </a:rPr>
                  <a:t>ReadyAPI</a:t>
                </a:r>
                <a:endParaRPr lang="fr-FR" sz="825">
                  <a:solidFill>
                    <a:srgbClr val="002060"/>
                  </a:solidFill>
                </a:endParaRPr>
              </a:p>
            </p:txBody>
          </p:sp>
          <p:grpSp>
            <p:nvGrpSpPr>
              <p:cNvPr id="18" name="Groupe 15">
                <a:extLst>
                  <a:ext uri="{FF2B5EF4-FFF2-40B4-BE49-F238E27FC236}">
                    <a16:creationId xmlns:a16="http://schemas.microsoft.com/office/drawing/2014/main" id="{C4E8498D-E446-40F6-B58F-B5238AB2E32C}"/>
                  </a:ext>
                </a:extLst>
              </p:cNvPr>
              <p:cNvGrpSpPr/>
              <p:nvPr/>
            </p:nvGrpSpPr>
            <p:grpSpPr>
              <a:xfrm>
                <a:off x="10043757" y="1197684"/>
                <a:ext cx="1574107" cy="2800676"/>
                <a:chOff x="10247305" y="3669059"/>
                <a:chExt cx="1574107" cy="2800676"/>
              </a:xfrm>
            </p:grpSpPr>
            <p:pic>
              <p:nvPicPr>
                <p:cNvPr id="114" name="Picture 6" descr="Afficher l’image source">
                  <a:extLst>
                    <a:ext uri="{FF2B5EF4-FFF2-40B4-BE49-F238E27FC236}">
                      <a16:creationId xmlns:a16="http://schemas.microsoft.com/office/drawing/2014/main" id="{F49243B6-7394-45AB-9230-C1CEC3763D77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 rotWithShape="1">
                <a:blip r:embed="rId6">
                  <a:extLst>
                    <a:ext uri="{BEBA8EAE-BF5A-486C-A8C5-ECC9F3942E4B}">
                      <a14:imgProps xmlns:a14="http://schemas.microsoft.com/office/drawing/2010/main">
                        <a14:imgLayer r:embed="rId7">
                          <a14:imgEffect>
                            <a14:brightnessContrast contrast="-40000"/>
                          </a14:imgEffect>
                        </a14:imgLayer>
                      </a14:imgProps>
                    </a:ex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l="28440" t="13612" r="4552" b="7819"/>
                <a:stretch/>
              </p:blipFill>
              <p:spPr bwMode="auto">
                <a:xfrm>
                  <a:off x="10254242" y="4283143"/>
                  <a:ext cx="1550323" cy="1590619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sp>
              <p:nvSpPr>
                <p:cNvPr id="115" name="Rectangle 114">
                  <a:extLst>
                    <a:ext uri="{FF2B5EF4-FFF2-40B4-BE49-F238E27FC236}">
                      <a16:creationId xmlns:a16="http://schemas.microsoft.com/office/drawing/2014/main" id="{091482B5-F06F-44F5-91C3-FDFDF99601F2}"/>
                    </a:ext>
                  </a:extLst>
                </p:cNvPr>
                <p:cNvSpPr/>
                <p:nvPr/>
              </p:nvSpPr>
              <p:spPr>
                <a:xfrm>
                  <a:off x="10247305" y="3669059"/>
                  <a:ext cx="1574107" cy="2800676"/>
                </a:xfrm>
                <a:prstGeom prst="rect">
                  <a:avLst/>
                </a:prstGeom>
                <a:noFill/>
                <a:ln>
                  <a:solidFill>
                    <a:srgbClr val="00206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t"/>
                <a:lstStyle/>
                <a:p>
                  <a:r>
                    <a:rPr lang="en-US" sz="1050">
                      <a:solidFill>
                        <a:srgbClr val="002060"/>
                      </a:solidFill>
                    </a:rPr>
                    <a:t>Sys</a:t>
                  </a:r>
                  <a:r>
                    <a:rPr lang="fr-FR" sz="1050">
                      <a:solidFill>
                        <a:srgbClr val="002060"/>
                      </a:solidFill>
                    </a:rPr>
                    <a:t>è</a:t>
                  </a:r>
                  <a:r>
                    <a:rPr lang="en-US" sz="1050">
                      <a:solidFill>
                        <a:srgbClr val="002060"/>
                      </a:solidFill>
                    </a:rPr>
                    <a:t>me sous test</a:t>
                  </a:r>
                  <a:endParaRPr lang="fr-FR" sz="1050">
                    <a:solidFill>
                      <a:srgbClr val="002060"/>
                    </a:solidFill>
                  </a:endParaRPr>
                </a:p>
              </p:txBody>
            </p:sp>
          </p:grpSp>
          <p:grpSp>
            <p:nvGrpSpPr>
              <p:cNvPr id="19" name="Groupe 18">
                <a:extLst>
                  <a:ext uri="{FF2B5EF4-FFF2-40B4-BE49-F238E27FC236}">
                    <a16:creationId xmlns:a16="http://schemas.microsoft.com/office/drawing/2014/main" id="{876BBFC1-68FA-47EA-909F-48E746923E97}"/>
                  </a:ext>
                </a:extLst>
              </p:cNvPr>
              <p:cNvGrpSpPr/>
              <p:nvPr/>
            </p:nvGrpSpPr>
            <p:grpSpPr>
              <a:xfrm>
                <a:off x="10054631" y="4048500"/>
                <a:ext cx="1567170" cy="2453645"/>
                <a:chOff x="10254242" y="1372507"/>
                <a:chExt cx="1567170" cy="2056494"/>
              </a:xfrm>
            </p:grpSpPr>
            <p:sp>
              <p:nvSpPr>
                <p:cNvPr id="111" name="Rectangle 110">
                  <a:extLst>
                    <a:ext uri="{FF2B5EF4-FFF2-40B4-BE49-F238E27FC236}">
                      <a16:creationId xmlns:a16="http://schemas.microsoft.com/office/drawing/2014/main" id="{17ECAC69-2510-4F5A-9487-8C133FC373FC}"/>
                    </a:ext>
                  </a:extLst>
                </p:cNvPr>
                <p:cNvSpPr/>
                <p:nvPr/>
              </p:nvSpPr>
              <p:spPr>
                <a:xfrm>
                  <a:off x="10254242" y="1372507"/>
                  <a:ext cx="1567170" cy="2056494"/>
                </a:xfrm>
                <a:prstGeom prst="rect">
                  <a:avLst/>
                </a:prstGeom>
                <a:noFill/>
                <a:ln>
                  <a:solidFill>
                    <a:srgbClr val="00B05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t"/>
                <a:lstStyle/>
                <a:p>
                  <a:r>
                    <a:rPr lang="en-US" sz="1050" err="1">
                      <a:solidFill>
                        <a:srgbClr val="00B050"/>
                      </a:solidFill>
                    </a:rPr>
                    <a:t>Gestionnaire</a:t>
                  </a:r>
                  <a:r>
                    <a:rPr lang="en-US" sz="1050">
                      <a:solidFill>
                        <a:srgbClr val="00B050"/>
                      </a:solidFill>
                    </a:rPr>
                    <a:t> de Test</a:t>
                  </a:r>
                  <a:endParaRPr lang="fr-FR" sz="1050">
                    <a:solidFill>
                      <a:srgbClr val="00B050"/>
                    </a:solidFill>
                  </a:endParaRPr>
                </a:p>
              </p:txBody>
            </p:sp>
            <p:pic>
              <p:nvPicPr>
                <p:cNvPr id="112" name="Picture 72" descr="Shape, logo, company name, arrow&#10;&#10;Description automatically generated">
                  <a:extLst>
                    <a:ext uri="{FF2B5EF4-FFF2-40B4-BE49-F238E27FC236}">
                      <a16:creationId xmlns:a16="http://schemas.microsoft.com/office/drawing/2014/main" id="{DD3EC157-0188-4D4C-8D73-23FAEBB8F900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8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0731397" y="2014652"/>
                  <a:ext cx="592125" cy="592125"/>
                </a:xfrm>
                <a:prstGeom prst="rect">
                  <a:avLst/>
                </a:prstGeom>
              </p:spPr>
            </p:pic>
            <p:sp>
              <p:nvSpPr>
                <p:cNvPr id="113" name="TextBox 77">
                  <a:extLst>
                    <a:ext uri="{FF2B5EF4-FFF2-40B4-BE49-F238E27FC236}">
                      <a16:creationId xmlns:a16="http://schemas.microsoft.com/office/drawing/2014/main" id="{ABA46643-7262-44F2-820B-8D2CE9608C3A}"/>
                    </a:ext>
                  </a:extLst>
                </p:cNvPr>
                <p:cNvSpPr txBox="1"/>
                <p:nvPr/>
              </p:nvSpPr>
              <p:spPr>
                <a:xfrm>
                  <a:off x="10388503" y="2606777"/>
                  <a:ext cx="1190839" cy="309551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en-US" sz="1200"/>
                    <a:t>JIRA / XRAY</a:t>
                  </a:r>
                  <a:endParaRPr lang="fr-FR" sz="1200"/>
                </a:p>
              </p:txBody>
            </p:sp>
          </p:grpSp>
          <p:grpSp>
            <p:nvGrpSpPr>
              <p:cNvPr id="20" name="Groupe 22">
                <a:extLst>
                  <a:ext uri="{FF2B5EF4-FFF2-40B4-BE49-F238E27FC236}">
                    <a16:creationId xmlns:a16="http://schemas.microsoft.com/office/drawing/2014/main" id="{82857D75-91BE-4A9B-A03D-9C7A2F85EEFA}"/>
                  </a:ext>
                </a:extLst>
              </p:cNvPr>
              <p:cNvGrpSpPr/>
              <p:nvPr/>
            </p:nvGrpSpPr>
            <p:grpSpPr>
              <a:xfrm>
                <a:off x="226256" y="2852801"/>
                <a:ext cx="2735308" cy="3649345"/>
                <a:chOff x="478740" y="3029169"/>
                <a:chExt cx="2735308" cy="3440566"/>
              </a:xfrm>
            </p:grpSpPr>
            <p:grpSp>
              <p:nvGrpSpPr>
                <p:cNvPr id="101" name="Group 10">
                  <a:extLst>
                    <a:ext uri="{FF2B5EF4-FFF2-40B4-BE49-F238E27FC236}">
                      <a16:creationId xmlns:a16="http://schemas.microsoft.com/office/drawing/2014/main" id="{FD59C956-0060-49F6-9467-6AD645F7714F}"/>
                    </a:ext>
                  </a:extLst>
                </p:cNvPr>
                <p:cNvGrpSpPr/>
                <p:nvPr/>
              </p:nvGrpSpPr>
              <p:grpSpPr>
                <a:xfrm>
                  <a:off x="478740" y="3205678"/>
                  <a:ext cx="2735308" cy="3264057"/>
                  <a:chOff x="226256" y="1398897"/>
                  <a:chExt cx="2735308" cy="2613546"/>
                </a:xfrm>
                <a:solidFill>
                  <a:srgbClr val="CCECFF"/>
                </a:solidFill>
              </p:grpSpPr>
              <p:sp>
                <p:nvSpPr>
                  <p:cNvPr id="106" name="Rectangle 105">
                    <a:extLst>
                      <a:ext uri="{FF2B5EF4-FFF2-40B4-BE49-F238E27FC236}">
                        <a16:creationId xmlns:a16="http://schemas.microsoft.com/office/drawing/2014/main" id="{B3DCB650-2C2D-4109-B0C8-FDCF8F98F6E3}"/>
                      </a:ext>
                    </a:extLst>
                  </p:cNvPr>
                  <p:cNvSpPr/>
                  <p:nvPr/>
                </p:nvSpPr>
                <p:spPr>
                  <a:xfrm>
                    <a:off x="226256" y="1398897"/>
                    <a:ext cx="2735308" cy="2613546"/>
                  </a:xfrm>
                  <a:prstGeom prst="rect">
                    <a:avLst/>
                  </a:prstGeom>
                  <a:grpFill/>
                  <a:ln>
                    <a:solidFill>
                      <a:srgbClr val="002060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t"/>
                  <a:lstStyle/>
                  <a:p>
                    <a:r>
                      <a:rPr lang="en-US" sz="1050" err="1">
                        <a:solidFill>
                          <a:srgbClr val="002060"/>
                        </a:solidFill>
                      </a:rPr>
                      <a:t>Plateforme</a:t>
                    </a:r>
                    <a:r>
                      <a:rPr lang="en-US" sz="1050">
                        <a:solidFill>
                          <a:srgbClr val="002060"/>
                        </a:solidFill>
                      </a:rPr>
                      <a:t> DevOps</a:t>
                    </a:r>
                    <a:endParaRPr lang="fr-FR" sz="1050">
                      <a:solidFill>
                        <a:srgbClr val="002060"/>
                      </a:solidFill>
                    </a:endParaRPr>
                  </a:p>
                </p:txBody>
              </p:sp>
              <p:sp>
                <p:nvSpPr>
                  <p:cNvPr id="107" name="Rectangle 106">
                    <a:extLst>
                      <a:ext uri="{FF2B5EF4-FFF2-40B4-BE49-F238E27FC236}">
                        <a16:creationId xmlns:a16="http://schemas.microsoft.com/office/drawing/2014/main" id="{D723B1EA-04F9-4A30-B51A-86B9CB89B154}"/>
                      </a:ext>
                    </a:extLst>
                  </p:cNvPr>
                  <p:cNvSpPr/>
                  <p:nvPr/>
                </p:nvSpPr>
                <p:spPr>
                  <a:xfrm>
                    <a:off x="409433" y="1835641"/>
                    <a:ext cx="2306471" cy="400332"/>
                  </a:xfrm>
                  <a:prstGeom prst="rect">
                    <a:avLst/>
                  </a:prstGeom>
                  <a:solidFill>
                    <a:srgbClr val="66CCFF"/>
                  </a:solidFill>
                  <a:ln>
                    <a:solidFill>
                      <a:srgbClr val="00B0F0"/>
                    </a:solidFill>
                  </a:ln>
                </p:spPr>
                <p:style>
                  <a:lnRef idx="2">
                    <a:schemeClr val="accent2">
                      <a:shade val="50000"/>
                    </a:schemeClr>
                  </a:lnRef>
                  <a:fillRef idx="1">
                    <a:schemeClr val="accent2"/>
                  </a:fillRef>
                  <a:effectRef idx="0">
                    <a:schemeClr val="accent2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r>
                      <a:rPr lang="en-US" sz="900">
                        <a:solidFill>
                          <a:srgbClr val="002060"/>
                        </a:solidFill>
                      </a:rPr>
                      <a:t>Git Repository</a:t>
                    </a:r>
                    <a:endParaRPr lang="fr-FR" sz="900">
                      <a:solidFill>
                        <a:srgbClr val="002060"/>
                      </a:solidFill>
                    </a:endParaRPr>
                  </a:p>
                </p:txBody>
              </p:sp>
              <p:sp>
                <p:nvSpPr>
                  <p:cNvPr id="108" name="Rectangle 107">
                    <a:extLst>
                      <a:ext uri="{FF2B5EF4-FFF2-40B4-BE49-F238E27FC236}">
                        <a16:creationId xmlns:a16="http://schemas.microsoft.com/office/drawing/2014/main" id="{3944476E-0547-4516-A0AF-CE12D3191498}"/>
                      </a:ext>
                    </a:extLst>
                  </p:cNvPr>
                  <p:cNvSpPr/>
                  <p:nvPr/>
                </p:nvSpPr>
                <p:spPr>
                  <a:xfrm>
                    <a:off x="1433014" y="3294549"/>
                    <a:ext cx="1282890" cy="459142"/>
                  </a:xfrm>
                  <a:prstGeom prst="rect">
                    <a:avLst/>
                  </a:prstGeom>
                  <a:solidFill>
                    <a:srgbClr val="66CCFF"/>
                  </a:solidFill>
                  <a:ln>
                    <a:solidFill>
                      <a:srgbClr val="00B0F0"/>
                    </a:solidFill>
                  </a:ln>
                </p:spPr>
                <p:style>
                  <a:lnRef idx="2">
                    <a:schemeClr val="accent2">
                      <a:shade val="50000"/>
                    </a:schemeClr>
                  </a:lnRef>
                  <a:fillRef idx="1">
                    <a:schemeClr val="accent2"/>
                  </a:fillRef>
                  <a:effectRef idx="0">
                    <a:schemeClr val="accent2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r>
                      <a:rPr lang="en-US" sz="900">
                        <a:solidFill>
                          <a:srgbClr val="002060"/>
                        </a:solidFill>
                      </a:rPr>
                      <a:t>UI Test</a:t>
                    </a:r>
                    <a:br>
                      <a:rPr lang="en-US" sz="900">
                        <a:solidFill>
                          <a:srgbClr val="002060"/>
                        </a:solidFill>
                      </a:rPr>
                    </a:br>
                    <a:r>
                      <a:rPr lang="en-US" sz="900">
                        <a:solidFill>
                          <a:srgbClr val="002060"/>
                        </a:solidFill>
                      </a:rPr>
                      <a:t>Agent Pool</a:t>
                    </a:r>
                    <a:endParaRPr lang="fr-FR" sz="900">
                      <a:solidFill>
                        <a:srgbClr val="002060"/>
                      </a:solidFill>
                    </a:endParaRPr>
                  </a:p>
                </p:txBody>
              </p:sp>
              <p:sp>
                <p:nvSpPr>
                  <p:cNvPr id="109" name="Rectangle 108">
                    <a:extLst>
                      <a:ext uri="{FF2B5EF4-FFF2-40B4-BE49-F238E27FC236}">
                        <a16:creationId xmlns:a16="http://schemas.microsoft.com/office/drawing/2014/main" id="{5AA4293A-A80B-45C8-BC26-2223FD8046E8}"/>
                      </a:ext>
                    </a:extLst>
                  </p:cNvPr>
                  <p:cNvSpPr/>
                  <p:nvPr/>
                </p:nvSpPr>
                <p:spPr>
                  <a:xfrm>
                    <a:off x="1433014" y="2573739"/>
                    <a:ext cx="1282890" cy="491240"/>
                  </a:xfrm>
                  <a:prstGeom prst="rect">
                    <a:avLst/>
                  </a:prstGeom>
                  <a:solidFill>
                    <a:srgbClr val="66CCFF"/>
                  </a:solidFill>
                  <a:ln>
                    <a:solidFill>
                      <a:srgbClr val="00B0F0"/>
                    </a:solidFill>
                  </a:ln>
                </p:spPr>
                <p:style>
                  <a:lnRef idx="2">
                    <a:schemeClr val="accent2">
                      <a:shade val="50000"/>
                    </a:schemeClr>
                  </a:lnRef>
                  <a:fillRef idx="1">
                    <a:schemeClr val="accent2"/>
                  </a:fillRef>
                  <a:effectRef idx="0">
                    <a:schemeClr val="accent2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r>
                      <a:rPr lang="en-US" sz="900">
                        <a:solidFill>
                          <a:srgbClr val="002060"/>
                        </a:solidFill>
                      </a:rPr>
                      <a:t>API Test</a:t>
                    </a:r>
                    <a:br>
                      <a:rPr lang="en-US" sz="900">
                        <a:solidFill>
                          <a:srgbClr val="002060"/>
                        </a:solidFill>
                      </a:rPr>
                    </a:br>
                    <a:r>
                      <a:rPr lang="en-US" sz="900">
                        <a:solidFill>
                          <a:srgbClr val="002060"/>
                        </a:solidFill>
                      </a:rPr>
                      <a:t>Agent Pool</a:t>
                    </a:r>
                    <a:endParaRPr lang="fr-FR" sz="900">
                      <a:solidFill>
                        <a:srgbClr val="002060"/>
                      </a:solidFill>
                    </a:endParaRPr>
                  </a:p>
                </p:txBody>
              </p:sp>
              <p:sp>
                <p:nvSpPr>
                  <p:cNvPr id="110" name="Rectangle 109">
                    <a:extLst>
                      <a:ext uri="{FF2B5EF4-FFF2-40B4-BE49-F238E27FC236}">
                        <a16:creationId xmlns:a16="http://schemas.microsoft.com/office/drawing/2014/main" id="{106DAEA6-55C5-47E2-AAA6-05E87866454C}"/>
                      </a:ext>
                    </a:extLst>
                  </p:cNvPr>
                  <p:cNvSpPr/>
                  <p:nvPr/>
                </p:nvSpPr>
                <p:spPr>
                  <a:xfrm>
                    <a:off x="409433" y="2573739"/>
                    <a:ext cx="893928" cy="1182251"/>
                  </a:xfrm>
                  <a:prstGeom prst="rect">
                    <a:avLst/>
                  </a:prstGeom>
                  <a:solidFill>
                    <a:srgbClr val="66CCFF"/>
                  </a:solidFill>
                  <a:ln>
                    <a:solidFill>
                      <a:srgbClr val="00B0F0"/>
                    </a:solidFill>
                  </a:ln>
                </p:spPr>
                <p:style>
                  <a:lnRef idx="2">
                    <a:schemeClr val="accent2">
                      <a:shade val="50000"/>
                    </a:schemeClr>
                  </a:lnRef>
                  <a:fillRef idx="1">
                    <a:schemeClr val="accent2"/>
                  </a:fillRef>
                  <a:effectRef idx="0">
                    <a:schemeClr val="accent2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r>
                      <a:rPr lang="en-US" sz="900">
                        <a:solidFill>
                          <a:srgbClr val="002060"/>
                        </a:solidFill>
                      </a:rPr>
                      <a:t>CI/CD Pipelines</a:t>
                    </a:r>
                    <a:endParaRPr lang="fr-FR" sz="900">
                      <a:solidFill>
                        <a:srgbClr val="002060"/>
                      </a:solidFill>
                    </a:endParaRPr>
                  </a:p>
                </p:txBody>
              </p:sp>
            </p:grpSp>
            <p:cxnSp>
              <p:nvCxnSpPr>
                <p:cNvPr id="102" name="Straight Arrow Connector 87">
                  <a:extLst>
                    <a:ext uri="{FF2B5EF4-FFF2-40B4-BE49-F238E27FC236}">
                      <a16:creationId xmlns:a16="http://schemas.microsoft.com/office/drawing/2014/main" id="{864AC42C-411F-4D6D-A1DF-79F321D606E4}"/>
                    </a:ext>
                  </a:extLst>
                </p:cNvPr>
                <p:cNvCxnSpPr>
                  <a:cxnSpLocks/>
                  <a:endCxn id="110" idx="0"/>
                </p:cNvCxnSpPr>
                <p:nvPr/>
              </p:nvCxnSpPr>
              <p:spPr>
                <a:xfrm>
                  <a:off x="1108881" y="4251102"/>
                  <a:ext cx="0" cy="421835"/>
                </a:xfrm>
                <a:prstGeom prst="straightConnector1">
                  <a:avLst/>
                </a:prstGeom>
                <a:ln w="28575">
                  <a:tailEnd type="triangle"/>
                </a:ln>
              </p:spPr>
              <p:style>
                <a:lnRef idx="1">
                  <a:schemeClr val="accent4"/>
                </a:lnRef>
                <a:fillRef idx="0">
                  <a:schemeClr val="accent4"/>
                </a:fillRef>
                <a:effectRef idx="0">
                  <a:schemeClr val="accent4"/>
                </a:effectRef>
                <a:fontRef idx="minor">
                  <a:schemeClr val="tx1"/>
                </a:fontRef>
              </p:style>
            </p:cxnSp>
            <p:cxnSp>
              <p:nvCxnSpPr>
                <p:cNvPr id="103" name="Straight Arrow Connector 91">
                  <a:extLst>
                    <a:ext uri="{FF2B5EF4-FFF2-40B4-BE49-F238E27FC236}">
                      <a16:creationId xmlns:a16="http://schemas.microsoft.com/office/drawing/2014/main" id="{F8742C57-7725-4BF1-B680-E3D5412A5FCD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1560716" y="5040586"/>
                  <a:ext cx="136712" cy="7175"/>
                </a:xfrm>
                <a:prstGeom prst="straightConnector1">
                  <a:avLst/>
                </a:prstGeom>
                <a:ln w="28575">
                  <a:tailEnd type="triangle"/>
                </a:ln>
              </p:spPr>
              <p:style>
                <a:lnRef idx="1">
                  <a:schemeClr val="accent4"/>
                </a:lnRef>
                <a:fillRef idx="0">
                  <a:schemeClr val="accent4"/>
                </a:fillRef>
                <a:effectRef idx="0">
                  <a:schemeClr val="accent4"/>
                </a:effectRef>
                <a:fontRef idx="minor">
                  <a:schemeClr val="tx1"/>
                </a:fontRef>
              </p:style>
            </p:cxnSp>
            <p:cxnSp>
              <p:nvCxnSpPr>
                <p:cNvPr id="104" name="Straight Arrow Connector 93">
                  <a:extLst>
                    <a:ext uri="{FF2B5EF4-FFF2-40B4-BE49-F238E27FC236}">
                      <a16:creationId xmlns:a16="http://schemas.microsoft.com/office/drawing/2014/main" id="{24FF4DA9-BF23-4E09-969A-836F1132F224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1553220" y="5856508"/>
                  <a:ext cx="136712" cy="7175"/>
                </a:xfrm>
                <a:prstGeom prst="straightConnector1">
                  <a:avLst/>
                </a:prstGeom>
                <a:ln w="28575">
                  <a:tailEnd type="triangle"/>
                </a:ln>
              </p:spPr>
              <p:style>
                <a:lnRef idx="1">
                  <a:schemeClr val="accent4"/>
                </a:lnRef>
                <a:fillRef idx="0">
                  <a:schemeClr val="accent4"/>
                </a:fillRef>
                <a:effectRef idx="0">
                  <a:schemeClr val="accent4"/>
                </a:effectRef>
                <a:fontRef idx="minor">
                  <a:schemeClr val="tx1"/>
                </a:fontRef>
              </p:style>
            </p:cxnSp>
            <p:cxnSp>
              <p:nvCxnSpPr>
                <p:cNvPr id="105" name="Straight Arrow Connector 94">
                  <a:extLst>
                    <a:ext uri="{FF2B5EF4-FFF2-40B4-BE49-F238E27FC236}">
                      <a16:creationId xmlns:a16="http://schemas.microsoft.com/office/drawing/2014/main" id="{65F44837-5D9F-4F28-B60A-A27AAE63C8B1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1943187" y="3029169"/>
                  <a:ext cx="0" cy="721958"/>
                </a:xfrm>
                <a:prstGeom prst="straightConnector1">
                  <a:avLst/>
                </a:prstGeom>
                <a:ln w="28575">
                  <a:tailEnd type="triangle"/>
                </a:ln>
              </p:spPr>
              <p:style>
                <a:lnRef idx="1">
                  <a:schemeClr val="accent4"/>
                </a:lnRef>
                <a:fillRef idx="0">
                  <a:schemeClr val="accent4"/>
                </a:fillRef>
                <a:effectRef idx="0">
                  <a:schemeClr val="accent4"/>
                </a:effectRef>
                <a:fontRef idx="minor">
                  <a:schemeClr val="tx1"/>
                </a:fontRef>
              </p:style>
            </p:cxnSp>
          </p:grpSp>
          <p:cxnSp>
            <p:nvCxnSpPr>
              <p:cNvPr id="21" name="Connector: Elbow 105">
                <a:extLst>
                  <a:ext uri="{FF2B5EF4-FFF2-40B4-BE49-F238E27FC236}">
                    <a16:creationId xmlns:a16="http://schemas.microsoft.com/office/drawing/2014/main" id="{E4A94295-3FD0-4A35-93CB-24CA9FA5BA57}"/>
                  </a:ext>
                </a:extLst>
              </p:cNvPr>
              <p:cNvCxnSpPr>
                <a:cxnSpLocks/>
                <a:stCxn id="64" idx="3"/>
                <a:endCxn id="114" idx="1"/>
              </p:cNvCxnSpPr>
              <p:nvPr/>
            </p:nvCxnSpPr>
            <p:spPr>
              <a:xfrm flipV="1">
                <a:off x="9368886" y="2607077"/>
                <a:ext cx="681808" cy="1265305"/>
              </a:xfrm>
              <a:prstGeom prst="bentConnector3">
                <a:avLst>
                  <a:gd name="adj1" fmla="val 50000"/>
                </a:avLst>
              </a:prstGeom>
              <a:ln w="28575">
                <a:tailEnd type="triangle"/>
              </a:ln>
            </p:spPr>
            <p:style>
              <a:lnRef idx="1">
                <a:schemeClr val="accent4"/>
              </a:lnRef>
              <a:fillRef idx="0">
                <a:schemeClr val="accent4"/>
              </a:fillRef>
              <a:effectRef idx="0">
                <a:schemeClr val="accent4"/>
              </a:effectRef>
              <a:fontRef idx="minor">
                <a:schemeClr val="tx1"/>
              </a:fontRef>
            </p:style>
          </p:cxnSp>
          <p:grpSp>
            <p:nvGrpSpPr>
              <p:cNvPr id="22" name="Groupe 35">
                <a:extLst>
                  <a:ext uri="{FF2B5EF4-FFF2-40B4-BE49-F238E27FC236}">
                    <a16:creationId xmlns:a16="http://schemas.microsoft.com/office/drawing/2014/main" id="{D2183C07-54CD-45A0-A5D8-2807A73908A4}"/>
                  </a:ext>
                </a:extLst>
              </p:cNvPr>
              <p:cNvGrpSpPr/>
              <p:nvPr/>
            </p:nvGrpSpPr>
            <p:grpSpPr>
              <a:xfrm>
                <a:off x="3626992" y="3176252"/>
                <a:ext cx="5741895" cy="1392262"/>
                <a:chOff x="3879476" y="3352619"/>
                <a:chExt cx="5741895" cy="1392262"/>
              </a:xfrm>
            </p:grpSpPr>
            <p:sp>
              <p:nvSpPr>
                <p:cNvPr id="64" name="Rectangle 63">
                  <a:extLst>
                    <a:ext uri="{FF2B5EF4-FFF2-40B4-BE49-F238E27FC236}">
                      <a16:creationId xmlns:a16="http://schemas.microsoft.com/office/drawing/2014/main" id="{A949D912-06BB-47EE-89F1-B4E8F4094BEB}"/>
                    </a:ext>
                  </a:extLst>
                </p:cNvPr>
                <p:cNvSpPr/>
                <p:nvPr/>
              </p:nvSpPr>
              <p:spPr>
                <a:xfrm>
                  <a:off x="3879476" y="3352619"/>
                  <a:ext cx="5741895" cy="1392262"/>
                </a:xfrm>
                <a:prstGeom prst="rect">
                  <a:avLst/>
                </a:prstGeom>
                <a:solidFill>
                  <a:srgbClr val="0070C0"/>
                </a:solidFill>
                <a:ln>
                  <a:solidFill>
                    <a:srgbClr val="0070C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t"/>
                <a:lstStyle/>
                <a:p>
                  <a:r>
                    <a:rPr lang="en-US" sz="1200"/>
                    <a:t>Azure DevTest Lab</a:t>
                  </a:r>
                  <a:endParaRPr lang="fr-FR" sz="1200"/>
                </a:p>
              </p:txBody>
            </p:sp>
            <p:sp>
              <p:nvSpPr>
                <p:cNvPr id="65" name="Lightning Bolt 114">
                  <a:extLst>
                    <a:ext uri="{FF2B5EF4-FFF2-40B4-BE49-F238E27FC236}">
                      <a16:creationId xmlns:a16="http://schemas.microsoft.com/office/drawing/2014/main" id="{4A9F4D4B-3928-407F-A5B4-CFDC7AEAF97E}"/>
                    </a:ext>
                  </a:extLst>
                </p:cNvPr>
                <p:cNvSpPr/>
                <p:nvPr/>
              </p:nvSpPr>
              <p:spPr>
                <a:xfrm rot="19654483" flipH="1">
                  <a:off x="8025825" y="3888143"/>
                  <a:ext cx="509817" cy="529424"/>
                </a:xfrm>
                <a:prstGeom prst="lightningBolt">
                  <a:avLst/>
                </a:prstGeom>
                <a:solidFill>
                  <a:srgbClr val="FFFF00"/>
                </a:solidFill>
                <a:ln>
                  <a:solidFill>
                    <a:srgbClr val="FFC0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fr-FR" sz="1200"/>
                </a:p>
              </p:txBody>
            </p:sp>
            <p:grpSp>
              <p:nvGrpSpPr>
                <p:cNvPr id="66" name="Group 20">
                  <a:extLst>
                    <a:ext uri="{FF2B5EF4-FFF2-40B4-BE49-F238E27FC236}">
                      <a16:creationId xmlns:a16="http://schemas.microsoft.com/office/drawing/2014/main" id="{312FC212-9F5C-4992-B741-0D093DC2B37A}"/>
                    </a:ext>
                  </a:extLst>
                </p:cNvPr>
                <p:cNvGrpSpPr/>
                <p:nvPr/>
              </p:nvGrpSpPr>
              <p:grpSpPr>
                <a:xfrm>
                  <a:off x="4060924" y="3872671"/>
                  <a:ext cx="962230" cy="855872"/>
                  <a:chOff x="4060924" y="3872671"/>
                  <a:chExt cx="962230" cy="855872"/>
                </a:xfrm>
              </p:grpSpPr>
              <p:grpSp>
                <p:nvGrpSpPr>
                  <p:cNvPr id="95" name="Group 40">
                    <a:extLst>
                      <a:ext uri="{FF2B5EF4-FFF2-40B4-BE49-F238E27FC236}">
                        <a16:creationId xmlns:a16="http://schemas.microsoft.com/office/drawing/2014/main" id="{FA1225D9-12A6-4CA3-94F7-C0B53801589D}"/>
                      </a:ext>
                    </a:extLst>
                  </p:cNvPr>
                  <p:cNvGrpSpPr/>
                  <p:nvPr/>
                </p:nvGrpSpPr>
                <p:grpSpPr>
                  <a:xfrm>
                    <a:off x="4060924" y="3872671"/>
                    <a:ext cx="962230" cy="855872"/>
                    <a:chOff x="3879476" y="3853737"/>
                    <a:chExt cx="962230" cy="855872"/>
                  </a:xfrm>
                </p:grpSpPr>
                <p:pic>
                  <p:nvPicPr>
                    <p:cNvPr id="99" name="Picture 15" descr="Icon&#10;&#10;Description automatically generated">
                      <a:extLst>
                        <a:ext uri="{FF2B5EF4-FFF2-40B4-BE49-F238E27FC236}">
                          <a16:creationId xmlns:a16="http://schemas.microsoft.com/office/drawing/2014/main" id="{D03BFB90-BFA7-4CFD-A255-B551958A8AA4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9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4039737" y="3853737"/>
                      <a:ext cx="592125" cy="546512"/>
                    </a:xfrm>
                    <a:prstGeom prst="rect">
                      <a:avLst/>
                    </a:prstGeom>
                  </p:spPr>
                </p:pic>
                <p:sp>
                  <p:nvSpPr>
                    <p:cNvPr id="100" name="TextBox 14">
                      <a:extLst>
                        <a:ext uri="{FF2B5EF4-FFF2-40B4-BE49-F238E27FC236}">
                          <a16:creationId xmlns:a16="http://schemas.microsoft.com/office/drawing/2014/main" id="{73306DB8-294C-4C56-8501-1276FBBCFA94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3879476" y="4424829"/>
                      <a:ext cx="962230" cy="284780"/>
                    </a:xfrm>
                    <a:prstGeom prst="rect">
                      <a:avLst/>
                    </a:prstGeom>
                    <a:noFill/>
                  </p:spPr>
                  <p:txBody>
                    <a:bodyPr wrap="none" rtlCol="0">
                      <a:spAutoFit/>
                    </a:bodyPr>
                    <a:lstStyle/>
                    <a:p>
                      <a:r>
                        <a:rPr lang="en-US" sz="788">
                          <a:solidFill>
                            <a:schemeClr val="bg1"/>
                          </a:solidFill>
                        </a:rPr>
                        <a:t>VM Test IHM</a:t>
                      </a:r>
                      <a:endParaRPr lang="fr-FR" sz="788">
                        <a:solidFill>
                          <a:schemeClr val="bg1"/>
                        </a:solidFill>
                      </a:endParaRPr>
                    </a:p>
                  </p:txBody>
                </p:sp>
              </p:grpSp>
              <p:grpSp>
                <p:nvGrpSpPr>
                  <p:cNvPr id="96" name="Group 18">
                    <a:extLst>
                      <a:ext uri="{FF2B5EF4-FFF2-40B4-BE49-F238E27FC236}">
                        <a16:creationId xmlns:a16="http://schemas.microsoft.com/office/drawing/2014/main" id="{9C1FE829-13C0-4FDB-BDCE-BDE32EDC60EC}"/>
                      </a:ext>
                    </a:extLst>
                  </p:cNvPr>
                  <p:cNvGrpSpPr/>
                  <p:nvPr/>
                </p:nvGrpSpPr>
                <p:grpSpPr>
                  <a:xfrm>
                    <a:off x="4358640" y="3931525"/>
                    <a:ext cx="298183" cy="296064"/>
                    <a:chOff x="4358640" y="3931525"/>
                    <a:chExt cx="298183" cy="296064"/>
                  </a:xfrm>
                </p:grpSpPr>
                <p:sp>
                  <p:nvSpPr>
                    <p:cNvPr id="97" name="Rectangle 96">
                      <a:extLst>
                        <a:ext uri="{FF2B5EF4-FFF2-40B4-BE49-F238E27FC236}">
                          <a16:creationId xmlns:a16="http://schemas.microsoft.com/office/drawing/2014/main" id="{A63CE639-8C12-423E-94A6-C594520622A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4358640" y="3931920"/>
                      <a:ext cx="294386" cy="295275"/>
                    </a:xfrm>
                    <a:prstGeom prst="rect">
                      <a:avLst/>
                    </a:prstGeom>
                    <a:solidFill>
                      <a:srgbClr val="59B4D9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fr-FR" sz="1200"/>
                    </a:p>
                  </p:txBody>
                </p:sp>
                <p:pic>
                  <p:nvPicPr>
                    <p:cNvPr id="98" name="Picture 104" descr="Icon&#10;&#10;Description automatically generated">
                      <a:extLst>
                        <a:ext uri="{FF2B5EF4-FFF2-40B4-BE49-F238E27FC236}">
                          <a16:creationId xmlns:a16="http://schemas.microsoft.com/office/drawing/2014/main" id="{34D639B1-C459-44B8-9355-47CBD79DF5D9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2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4360759" y="3931525"/>
                      <a:ext cx="296064" cy="296064"/>
                    </a:xfrm>
                    <a:prstGeom prst="rect">
                      <a:avLst/>
                    </a:prstGeom>
                  </p:spPr>
                </p:pic>
              </p:grpSp>
            </p:grpSp>
            <p:grpSp>
              <p:nvGrpSpPr>
                <p:cNvPr id="67" name="Group 109">
                  <a:extLst>
                    <a:ext uri="{FF2B5EF4-FFF2-40B4-BE49-F238E27FC236}">
                      <a16:creationId xmlns:a16="http://schemas.microsoft.com/office/drawing/2014/main" id="{E44B7B91-0882-41D1-B673-9D2EBBE45923}"/>
                    </a:ext>
                  </a:extLst>
                </p:cNvPr>
                <p:cNvGrpSpPr/>
                <p:nvPr/>
              </p:nvGrpSpPr>
              <p:grpSpPr>
                <a:xfrm>
                  <a:off x="4977948" y="3872671"/>
                  <a:ext cx="962230" cy="855872"/>
                  <a:chOff x="4060924" y="3872671"/>
                  <a:chExt cx="962230" cy="855872"/>
                </a:xfrm>
              </p:grpSpPr>
              <p:grpSp>
                <p:nvGrpSpPr>
                  <p:cNvPr id="89" name="Group 110">
                    <a:extLst>
                      <a:ext uri="{FF2B5EF4-FFF2-40B4-BE49-F238E27FC236}">
                        <a16:creationId xmlns:a16="http://schemas.microsoft.com/office/drawing/2014/main" id="{51E7FBE3-28DF-4CDB-9C5A-5390966BF4B5}"/>
                      </a:ext>
                    </a:extLst>
                  </p:cNvPr>
                  <p:cNvGrpSpPr/>
                  <p:nvPr/>
                </p:nvGrpSpPr>
                <p:grpSpPr>
                  <a:xfrm>
                    <a:off x="4060924" y="3872671"/>
                    <a:ext cx="962230" cy="855872"/>
                    <a:chOff x="3879476" y="3853737"/>
                    <a:chExt cx="962230" cy="855872"/>
                  </a:xfrm>
                </p:grpSpPr>
                <p:pic>
                  <p:nvPicPr>
                    <p:cNvPr id="93" name="Picture 115" descr="Icon&#10;&#10;Description automatically generated">
                      <a:extLst>
                        <a:ext uri="{FF2B5EF4-FFF2-40B4-BE49-F238E27FC236}">
                          <a16:creationId xmlns:a16="http://schemas.microsoft.com/office/drawing/2014/main" id="{4C8CBD21-4DEE-45A0-98CB-5E4A0278ED1B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9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4039737" y="3853737"/>
                      <a:ext cx="592125" cy="546512"/>
                    </a:xfrm>
                    <a:prstGeom prst="rect">
                      <a:avLst/>
                    </a:prstGeom>
                  </p:spPr>
                </p:pic>
                <p:sp>
                  <p:nvSpPr>
                    <p:cNvPr id="94" name="TextBox 116">
                      <a:extLst>
                        <a:ext uri="{FF2B5EF4-FFF2-40B4-BE49-F238E27FC236}">
                          <a16:creationId xmlns:a16="http://schemas.microsoft.com/office/drawing/2014/main" id="{99CD75B1-B510-4CCB-8492-E12E5116AEBF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3879476" y="4424829"/>
                      <a:ext cx="962230" cy="284780"/>
                    </a:xfrm>
                    <a:prstGeom prst="rect">
                      <a:avLst/>
                    </a:prstGeom>
                    <a:noFill/>
                  </p:spPr>
                  <p:txBody>
                    <a:bodyPr wrap="none" rtlCol="0">
                      <a:spAutoFit/>
                    </a:bodyPr>
                    <a:lstStyle/>
                    <a:p>
                      <a:r>
                        <a:rPr lang="en-US" sz="788">
                          <a:solidFill>
                            <a:schemeClr val="bg1"/>
                          </a:solidFill>
                        </a:rPr>
                        <a:t>VM Test IHM</a:t>
                      </a:r>
                      <a:endParaRPr lang="fr-FR" sz="788">
                        <a:solidFill>
                          <a:schemeClr val="bg1"/>
                        </a:solidFill>
                      </a:endParaRPr>
                    </a:p>
                  </p:txBody>
                </p:sp>
              </p:grpSp>
              <p:grpSp>
                <p:nvGrpSpPr>
                  <p:cNvPr id="90" name="Group 111">
                    <a:extLst>
                      <a:ext uri="{FF2B5EF4-FFF2-40B4-BE49-F238E27FC236}">
                        <a16:creationId xmlns:a16="http://schemas.microsoft.com/office/drawing/2014/main" id="{6AD8B3AB-D0EB-4AAC-8372-48BFCD52B8E9}"/>
                      </a:ext>
                    </a:extLst>
                  </p:cNvPr>
                  <p:cNvGrpSpPr/>
                  <p:nvPr/>
                </p:nvGrpSpPr>
                <p:grpSpPr>
                  <a:xfrm>
                    <a:off x="4358640" y="3931525"/>
                    <a:ext cx="298183" cy="296064"/>
                    <a:chOff x="4358640" y="3931525"/>
                    <a:chExt cx="298183" cy="296064"/>
                  </a:xfrm>
                </p:grpSpPr>
                <p:sp>
                  <p:nvSpPr>
                    <p:cNvPr id="91" name="Rectangle 90">
                      <a:extLst>
                        <a:ext uri="{FF2B5EF4-FFF2-40B4-BE49-F238E27FC236}">
                          <a16:creationId xmlns:a16="http://schemas.microsoft.com/office/drawing/2014/main" id="{F6477754-8466-4BC6-AAA4-1A6C31B704B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4358640" y="3931920"/>
                      <a:ext cx="294386" cy="295275"/>
                    </a:xfrm>
                    <a:prstGeom prst="rect">
                      <a:avLst/>
                    </a:prstGeom>
                    <a:solidFill>
                      <a:srgbClr val="59B4D9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fr-FR" sz="1200"/>
                    </a:p>
                  </p:txBody>
                </p:sp>
                <p:pic>
                  <p:nvPicPr>
                    <p:cNvPr id="92" name="Picture 113" descr="Icon&#10;&#10;Description automatically generated">
                      <a:extLst>
                        <a:ext uri="{FF2B5EF4-FFF2-40B4-BE49-F238E27FC236}">
                          <a16:creationId xmlns:a16="http://schemas.microsoft.com/office/drawing/2014/main" id="{08A5EA7A-E415-4878-8FF7-3CB972E9F69A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2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4360759" y="3931525"/>
                      <a:ext cx="296064" cy="296064"/>
                    </a:xfrm>
                    <a:prstGeom prst="rect">
                      <a:avLst/>
                    </a:prstGeom>
                  </p:spPr>
                </p:pic>
              </p:grpSp>
            </p:grpSp>
            <p:grpSp>
              <p:nvGrpSpPr>
                <p:cNvPr id="68" name="Group 117">
                  <a:extLst>
                    <a:ext uri="{FF2B5EF4-FFF2-40B4-BE49-F238E27FC236}">
                      <a16:creationId xmlns:a16="http://schemas.microsoft.com/office/drawing/2014/main" id="{8A6BC82E-E244-4DE4-89A6-A38E347907D6}"/>
                    </a:ext>
                  </a:extLst>
                </p:cNvPr>
                <p:cNvGrpSpPr/>
                <p:nvPr/>
              </p:nvGrpSpPr>
              <p:grpSpPr>
                <a:xfrm>
                  <a:off x="5894972" y="3871135"/>
                  <a:ext cx="962230" cy="855872"/>
                  <a:chOff x="4060924" y="3872671"/>
                  <a:chExt cx="962230" cy="855872"/>
                </a:xfrm>
              </p:grpSpPr>
              <p:grpSp>
                <p:nvGrpSpPr>
                  <p:cNvPr id="83" name="Group 119">
                    <a:extLst>
                      <a:ext uri="{FF2B5EF4-FFF2-40B4-BE49-F238E27FC236}">
                        <a16:creationId xmlns:a16="http://schemas.microsoft.com/office/drawing/2014/main" id="{6342A84A-31D3-465B-B5AC-33C1378A15E2}"/>
                      </a:ext>
                    </a:extLst>
                  </p:cNvPr>
                  <p:cNvGrpSpPr/>
                  <p:nvPr/>
                </p:nvGrpSpPr>
                <p:grpSpPr>
                  <a:xfrm>
                    <a:off x="4060924" y="3872671"/>
                    <a:ext cx="962230" cy="855872"/>
                    <a:chOff x="3879476" y="3853737"/>
                    <a:chExt cx="962230" cy="855872"/>
                  </a:xfrm>
                </p:grpSpPr>
                <p:pic>
                  <p:nvPicPr>
                    <p:cNvPr id="87" name="Picture 123" descr="Icon&#10;&#10;Description automatically generated">
                      <a:extLst>
                        <a:ext uri="{FF2B5EF4-FFF2-40B4-BE49-F238E27FC236}">
                          <a16:creationId xmlns:a16="http://schemas.microsoft.com/office/drawing/2014/main" id="{90EDD812-953F-436B-BB29-409A7C5A0643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9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4039737" y="3853737"/>
                      <a:ext cx="592125" cy="546512"/>
                    </a:xfrm>
                    <a:prstGeom prst="rect">
                      <a:avLst/>
                    </a:prstGeom>
                  </p:spPr>
                </p:pic>
                <p:sp>
                  <p:nvSpPr>
                    <p:cNvPr id="88" name="TextBox 124">
                      <a:extLst>
                        <a:ext uri="{FF2B5EF4-FFF2-40B4-BE49-F238E27FC236}">
                          <a16:creationId xmlns:a16="http://schemas.microsoft.com/office/drawing/2014/main" id="{355BDFF1-85EF-4A23-878C-33B2AF90B333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3879476" y="4424829"/>
                      <a:ext cx="962230" cy="284780"/>
                    </a:xfrm>
                    <a:prstGeom prst="rect">
                      <a:avLst/>
                    </a:prstGeom>
                    <a:noFill/>
                  </p:spPr>
                  <p:txBody>
                    <a:bodyPr wrap="none" rtlCol="0">
                      <a:spAutoFit/>
                    </a:bodyPr>
                    <a:lstStyle/>
                    <a:p>
                      <a:r>
                        <a:rPr lang="en-US" sz="788">
                          <a:solidFill>
                            <a:schemeClr val="bg1"/>
                          </a:solidFill>
                        </a:rPr>
                        <a:t>VM Test IHM</a:t>
                      </a:r>
                      <a:endParaRPr lang="fr-FR" sz="788">
                        <a:solidFill>
                          <a:schemeClr val="bg1"/>
                        </a:solidFill>
                      </a:endParaRPr>
                    </a:p>
                  </p:txBody>
                </p:sp>
              </p:grpSp>
              <p:grpSp>
                <p:nvGrpSpPr>
                  <p:cNvPr id="84" name="Group 120">
                    <a:extLst>
                      <a:ext uri="{FF2B5EF4-FFF2-40B4-BE49-F238E27FC236}">
                        <a16:creationId xmlns:a16="http://schemas.microsoft.com/office/drawing/2014/main" id="{CA135788-371B-483E-B211-1A0CE62BE80D}"/>
                      </a:ext>
                    </a:extLst>
                  </p:cNvPr>
                  <p:cNvGrpSpPr/>
                  <p:nvPr/>
                </p:nvGrpSpPr>
                <p:grpSpPr>
                  <a:xfrm>
                    <a:off x="4358640" y="3931525"/>
                    <a:ext cx="298183" cy="296064"/>
                    <a:chOff x="4358640" y="3931525"/>
                    <a:chExt cx="298183" cy="296064"/>
                  </a:xfrm>
                </p:grpSpPr>
                <p:sp>
                  <p:nvSpPr>
                    <p:cNvPr id="85" name="Rectangle 84">
                      <a:extLst>
                        <a:ext uri="{FF2B5EF4-FFF2-40B4-BE49-F238E27FC236}">
                          <a16:creationId xmlns:a16="http://schemas.microsoft.com/office/drawing/2014/main" id="{ED78A9D3-2B9F-49BD-977E-AE188C15C0E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4358640" y="3931920"/>
                      <a:ext cx="294386" cy="295275"/>
                    </a:xfrm>
                    <a:prstGeom prst="rect">
                      <a:avLst/>
                    </a:prstGeom>
                    <a:solidFill>
                      <a:srgbClr val="59B4D9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fr-FR" sz="1200"/>
                    </a:p>
                  </p:txBody>
                </p:sp>
                <p:pic>
                  <p:nvPicPr>
                    <p:cNvPr id="86" name="Picture 122" descr="Icon&#10;&#10;Description automatically generated">
                      <a:extLst>
                        <a:ext uri="{FF2B5EF4-FFF2-40B4-BE49-F238E27FC236}">
                          <a16:creationId xmlns:a16="http://schemas.microsoft.com/office/drawing/2014/main" id="{47F5161C-4E96-43F2-9895-AF6D6A0A653F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2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4360759" y="3931525"/>
                      <a:ext cx="296064" cy="296064"/>
                    </a:xfrm>
                    <a:prstGeom prst="rect">
                      <a:avLst/>
                    </a:prstGeom>
                  </p:spPr>
                </p:pic>
              </p:grpSp>
            </p:grpSp>
            <p:grpSp>
              <p:nvGrpSpPr>
                <p:cNvPr id="69" name="Group 126">
                  <a:extLst>
                    <a:ext uri="{FF2B5EF4-FFF2-40B4-BE49-F238E27FC236}">
                      <a16:creationId xmlns:a16="http://schemas.microsoft.com/office/drawing/2014/main" id="{91AFA45E-D485-4A1E-92B0-F904214FBF4C}"/>
                    </a:ext>
                  </a:extLst>
                </p:cNvPr>
                <p:cNvGrpSpPr/>
                <p:nvPr/>
              </p:nvGrpSpPr>
              <p:grpSpPr>
                <a:xfrm>
                  <a:off x="8516138" y="3871684"/>
                  <a:ext cx="962230" cy="855872"/>
                  <a:chOff x="4060924" y="3872671"/>
                  <a:chExt cx="962230" cy="855872"/>
                </a:xfrm>
              </p:grpSpPr>
              <p:grpSp>
                <p:nvGrpSpPr>
                  <p:cNvPr id="77" name="Group 127">
                    <a:extLst>
                      <a:ext uri="{FF2B5EF4-FFF2-40B4-BE49-F238E27FC236}">
                        <a16:creationId xmlns:a16="http://schemas.microsoft.com/office/drawing/2014/main" id="{DBB4F7C4-320B-487C-8FE0-3E8F18B51218}"/>
                      </a:ext>
                    </a:extLst>
                  </p:cNvPr>
                  <p:cNvGrpSpPr/>
                  <p:nvPr/>
                </p:nvGrpSpPr>
                <p:grpSpPr>
                  <a:xfrm>
                    <a:off x="4060924" y="3872671"/>
                    <a:ext cx="962230" cy="855872"/>
                    <a:chOff x="3879476" y="3853737"/>
                    <a:chExt cx="962230" cy="855872"/>
                  </a:xfrm>
                </p:grpSpPr>
                <p:pic>
                  <p:nvPicPr>
                    <p:cNvPr id="81" name="Picture 132" descr="Icon&#10;&#10;Description automatically generated">
                      <a:extLst>
                        <a:ext uri="{FF2B5EF4-FFF2-40B4-BE49-F238E27FC236}">
                          <a16:creationId xmlns:a16="http://schemas.microsoft.com/office/drawing/2014/main" id="{03D665D6-807C-48E9-A148-9DA10571C364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9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4039737" y="3853737"/>
                      <a:ext cx="592125" cy="546512"/>
                    </a:xfrm>
                    <a:prstGeom prst="rect">
                      <a:avLst/>
                    </a:prstGeom>
                  </p:spPr>
                </p:pic>
                <p:sp>
                  <p:nvSpPr>
                    <p:cNvPr id="82" name="TextBox 133">
                      <a:extLst>
                        <a:ext uri="{FF2B5EF4-FFF2-40B4-BE49-F238E27FC236}">
                          <a16:creationId xmlns:a16="http://schemas.microsoft.com/office/drawing/2014/main" id="{6D801217-B523-4BB4-AF60-0AD9FFCB5FAA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3879476" y="4424829"/>
                      <a:ext cx="962230" cy="284780"/>
                    </a:xfrm>
                    <a:prstGeom prst="rect">
                      <a:avLst/>
                    </a:prstGeom>
                    <a:noFill/>
                  </p:spPr>
                  <p:txBody>
                    <a:bodyPr wrap="none" rtlCol="0">
                      <a:spAutoFit/>
                    </a:bodyPr>
                    <a:lstStyle/>
                    <a:p>
                      <a:r>
                        <a:rPr lang="en-US" sz="788">
                          <a:solidFill>
                            <a:schemeClr val="bg1"/>
                          </a:solidFill>
                        </a:rPr>
                        <a:t>VM Test IHM</a:t>
                      </a:r>
                      <a:endParaRPr lang="fr-FR" sz="788">
                        <a:solidFill>
                          <a:schemeClr val="bg1"/>
                        </a:solidFill>
                      </a:endParaRPr>
                    </a:p>
                  </p:txBody>
                </p:sp>
              </p:grpSp>
              <p:grpSp>
                <p:nvGrpSpPr>
                  <p:cNvPr id="78" name="Group 128">
                    <a:extLst>
                      <a:ext uri="{FF2B5EF4-FFF2-40B4-BE49-F238E27FC236}">
                        <a16:creationId xmlns:a16="http://schemas.microsoft.com/office/drawing/2014/main" id="{2CC04753-9D5A-4AF1-8581-6A989F6320A7}"/>
                      </a:ext>
                    </a:extLst>
                  </p:cNvPr>
                  <p:cNvGrpSpPr/>
                  <p:nvPr/>
                </p:nvGrpSpPr>
                <p:grpSpPr>
                  <a:xfrm>
                    <a:off x="4358640" y="3931525"/>
                    <a:ext cx="298183" cy="296064"/>
                    <a:chOff x="4358640" y="3931525"/>
                    <a:chExt cx="298183" cy="296064"/>
                  </a:xfrm>
                </p:grpSpPr>
                <p:sp>
                  <p:nvSpPr>
                    <p:cNvPr id="79" name="Rectangle 78">
                      <a:extLst>
                        <a:ext uri="{FF2B5EF4-FFF2-40B4-BE49-F238E27FC236}">
                          <a16:creationId xmlns:a16="http://schemas.microsoft.com/office/drawing/2014/main" id="{70200EDF-D0B8-4264-A301-25BBA17305B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4358640" y="3931920"/>
                      <a:ext cx="294386" cy="295275"/>
                    </a:xfrm>
                    <a:prstGeom prst="rect">
                      <a:avLst/>
                    </a:prstGeom>
                    <a:solidFill>
                      <a:srgbClr val="59B4D9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fr-FR" sz="1200"/>
                    </a:p>
                  </p:txBody>
                </p:sp>
                <p:pic>
                  <p:nvPicPr>
                    <p:cNvPr id="80" name="Picture 131" descr="Icon&#10;&#10;Description automatically generated">
                      <a:extLst>
                        <a:ext uri="{FF2B5EF4-FFF2-40B4-BE49-F238E27FC236}">
                          <a16:creationId xmlns:a16="http://schemas.microsoft.com/office/drawing/2014/main" id="{BB8CA62C-AA65-43D9-AADD-35AFEC103CC2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2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4360759" y="3931525"/>
                      <a:ext cx="296064" cy="296064"/>
                    </a:xfrm>
                    <a:prstGeom prst="rect">
                      <a:avLst/>
                    </a:prstGeom>
                  </p:spPr>
                </p:pic>
              </p:grpSp>
            </p:grpSp>
            <p:grpSp>
              <p:nvGrpSpPr>
                <p:cNvPr id="70" name="Group 134">
                  <a:extLst>
                    <a:ext uri="{FF2B5EF4-FFF2-40B4-BE49-F238E27FC236}">
                      <a16:creationId xmlns:a16="http://schemas.microsoft.com/office/drawing/2014/main" id="{6863DAA8-4C2E-4714-861C-CF8564DF4CBE}"/>
                    </a:ext>
                  </a:extLst>
                </p:cNvPr>
                <p:cNvGrpSpPr/>
                <p:nvPr/>
              </p:nvGrpSpPr>
              <p:grpSpPr>
                <a:xfrm>
                  <a:off x="6811995" y="3870344"/>
                  <a:ext cx="962230" cy="855872"/>
                  <a:chOff x="4060924" y="3872671"/>
                  <a:chExt cx="962230" cy="855872"/>
                </a:xfrm>
              </p:grpSpPr>
              <p:grpSp>
                <p:nvGrpSpPr>
                  <p:cNvPr id="71" name="Group 135">
                    <a:extLst>
                      <a:ext uri="{FF2B5EF4-FFF2-40B4-BE49-F238E27FC236}">
                        <a16:creationId xmlns:a16="http://schemas.microsoft.com/office/drawing/2014/main" id="{E719AA70-8759-446D-ABDA-58499E9CA17A}"/>
                      </a:ext>
                    </a:extLst>
                  </p:cNvPr>
                  <p:cNvGrpSpPr/>
                  <p:nvPr/>
                </p:nvGrpSpPr>
                <p:grpSpPr>
                  <a:xfrm>
                    <a:off x="4060924" y="3872671"/>
                    <a:ext cx="962230" cy="855872"/>
                    <a:chOff x="3879476" y="3853737"/>
                    <a:chExt cx="962230" cy="855872"/>
                  </a:xfrm>
                </p:grpSpPr>
                <p:pic>
                  <p:nvPicPr>
                    <p:cNvPr id="75" name="Picture 139" descr="Icon&#10;&#10;Description automatically generated">
                      <a:extLst>
                        <a:ext uri="{FF2B5EF4-FFF2-40B4-BE49-F238E27FC236}">
                          <a16:creationId xmlns:a16="http://schemas.microsoft.com/office/drawing/2014/main" id="{E46651D4-E96E-4C41-B40C-3952A182BF73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9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4039737" y="3853737"/>
                      <a:ext cx="592125" cy="546512"/>
                    </a:xfrm>
                    <a:prstGeom prst="rect">
                      <a:avLst/>
                    </a:prstGeom>
                  </p:spPr>
                </p:pic>
                <p:sp>
                  <p:nvSpPr>
                    <p:cNvPr id="76" name="TextBox 140">
                      <a:extLst>
                        <a:ext uri="{FF2B5EF4-FFF2-40B4-BE49-F238E27FC236}">
                          <a16:creationId xmlns:a16="http://schemas.microsoft.com/office/drawing/2014/main" id="{DEAAE9FC-A479-4648-96FA-7A84CCB284E9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3879476" y="4424829"/>
                      <a:ext cx="962230" cy="284780"/>
                    </a:xfrm>
                    <a:prstGeom prst="rect">
                      <a:avLst/>
                    </a:prstGeom>
                    <a:noFill/>
                  </p:spPr>
                  <p:txBody>
                    <a:bodyPr wrap="none" rtlCol="0">
                      <a:spAutoFit/>
                    </a:bodyPr>
                    <a:lstStyle/>
                    <a:p>
                      <a:r>
                        <a:rPr lang="en-US" sz="788">
                          <a:solidFill>
                            <a:schemeClr val="bg1"/>
                          </a:solidFill>
                        </a:rPr>
                        <a:t>VM Test IHM</a:t>
                      </a:r>
                      <a:endParaRPr lang="fr-FR" sz="788">
                        <a:solidFill>
                          <a:schemeClr val="bg1"/>
                        </a:solidFill>
                      </a:endParaRPr>
                    </a:p>
                  </p:txBody>
                </p:sp>
              </p:grpSp>
              <p:grpSp>
                <p:nvGrpSpPr>
                  <p:cNvPr id="72" name="Group 136">
                    <a:extLst>
                      <a:ext uri="{FF2B5EF4-FFF2-40B4-BE49-F238E27FC236}">
                        <a16:creationId xmlns:a16="http://schemas.microsoft.com/office/drawing/2014/main" id="{21E0EEBA-4623-4357-B4E8-3C74551FCBAD}"/>
                      </a:ext>
                    </a:extLst>
                  </p:cNvPr>
                  <p:cNvGrpSpPr/>
                  <p:nvPr/>
                </p:nvGrpSpPr>
                <p:grpSpPr>
                  <a:xfrm>
                    <a:off x="4358640" y="3931525"/>
                    <a:ext cx="298183" cy="296064"/>
                    <a:chOff x="4358640" y="3931525"/>
                    <a:chExt cx="298183" cy="296064"/>
                  </a:xfrm>
                </p:grpSpPr>
                <p:sp>
                  <p:nvSpPr>
                    <p:cNvPr id="73" name="Rectangle 72">
                      <a:extLst>
                        <a:ext uri="{FF2B5EF4-FFF2-40B4-BE49-F238E27FC236}">
                          <a16:creationId xmlns:a16="http://schemas.microsoft.com/office/drawing/2014/main" id="{85B16951-8426-4F21-983E-6BAB0392067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4358640" y="3931920"/>
                      <a:ext cx="294386" cy="295275"/>
                    </a:xfrm>
                    <a:prstGeom prst="rect">
                      <a:avLst/>
                    </a:prstGeom>
                    <a:solidFill>
                      <a:srgbClr val="59B4D9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fr-FR" sz="1200"/>
                    </a:p>
                  </p:txBody>
                </p:sp>
                <p:pic>
                  <p:nvPicPr>
                    <p:cNvPr id="74" name="Picture 138" descr="Icon&#10;&#10;Description automatically generated">
                      <a:extLst>
                        <a:ext uri="{FF2B5EF4-FFF2-40B4-BE49-F238E27FC236}">
                          <a16:creationId xmlns:a16="http://schemas.microsoft.com/office/drawing/2014/main" id="{BC7765A4-5F65-4526-9EA9-9EAF1EAEBBB4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2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4360759" y="3931525"/>
                      <a:ext cx="296064" cy="296064"/>
                    </a:xfrm>
                    <a:prstGeom prst="rect">
                      <a:avLst/>
                    </a:prstGeom>
                  </p:spPr>
                </p:pic>
              </p:grpSp>
            </p:grpSp>
          </p:grpSp>
          <p:grpSp>
            <p:nvGrpSpPr>
              <p:cNvPr id="23" name="Groupe 75">
                <a:extLst>
                  <a:ext uri="{FF2B5EF4-FFF2-40B4-BE49-F238E27FC236}">
                    <a16:creationId xmlns:a16="http://schemas.microsoft.com/office/drawing/2014/main" id="{CA7B3781-11C3-4A69-ABA7-B160AD5B5268}"/>
                  </a:ext>
                </a:extLst>
              </p:cNvPr>
              <p:cNvGrpSpPr/>
              <p:nvPr/>
            </p:nvGrpSpPr>
            <p:grpSpPr>
              <a:xfrm>
                <a:off x="3645467" y="4895376"/>
                <a:ext cx="2589123" cy="1270688"/>
                <a:chOff x="3283039" y="5177107"/>
                <a:chExt cx="2875428" cy="1366701"/>
              </a:xfrm>
            </p:grpSpPr>
            <p:sp>
              <p:nvSpPr>
                <p:cNvPr id="62" name="Rectangle 61">
                  <a:extLst>
                    <a:ext uri="{FF2B5EF4-FFF2-40B4-BE49-F238E27FC236}">
                      <a16:creationId xmlns:a16="http://schemas.microsoft.com/office/drawing/2014/main" id="{C18BA10D-A3A1-49D0-8C24-603EE3035392}"/>
                    </a:ext>
                  </a:extLst>
                </p:cNvPr>
                <p:cNvSpPr/>
                <p:nvPr/>
              </p:nvSpPr>
              <p:spPr>
                <a:xfrm>
                  <a:off x="3283039" y="5177107"/>
                  <a:ext cx="2875428" cy="1366701"/>
                </a:xfrm>
                <a:prstGeom prst="rect">
                  <a:avLst/>
                </a:prstGeom>
                <a:solidFill>
                  <a:srgbClr val="CCECFF"/>
                </a:solidFill>
                <a:ln>
                  <a:solidFill>
                    <a:srgbClr val="0070C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t"/>
                <a:lstStyle/>
                <a:p>
                  <a:r>
                    <a:rPr lang="en-US" sz="1050">
                      <a:solidFill>
                        <a:sysClr val="windowText" lastClr="000000"/>
                      </a:solidFill>
                    </a:rPr>
                    <a:t>BrowserStack (</a:t>
                  </a:r>
                  <a:r>
                    <a:rPr lang="en-US" sz="1050" err="1">
                      <a:solidFill>
                        <a:sysClr val="windowText" lastClr="000000"/>
                      </a:solidFill>
                    </a:rPr>
                    <a:t>Paas</a:t>
                  </a:r>
                  <a:r>
                    <a:rPr lang="en-US" sz="1050">
                      <a:solidFill>
                        <a:sysClr val="windowText" lastClr="000000"/>
                      </a:solidFill>
                    </a:rPr>
                    <a:t>)</a:t>
                  </a:r>
                  <a:endParaRPr lang="fr-FR" sz="1050">
                    <a:solidFill>
                      <a:sysClr val="windowText" lastClr="000000"/>
                    </a:solidFill>
                  </a:endParaRPr>
                </a:p>
              </p:txBody>
            </p:sp>
            <p:pic>
              <p:nvPicPr>
                <p:cNvPr id="63" name="Picture 2" descr="Afficher l’image source">
                  <a:extLst>
                    <a:ext uri="{FF2B5EF4-FFF2-40B4-BE49-F238E27FC236}">
                      <a16:creationId xmlns:a16="http://schemas.microsoft.com/office/drawing/2014/main" id="{10008383-6EA4-4AB5-A67B-216B930D9390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10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3927134" y="5524043"/>
                  <a:ext cx="1602608" cy="909497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</p:grpSp>
          <p:cxnSp>
            <p:nvCxnSpPr>
              <p:cNvPr id="24" name="Connecteur : en angle 89">
                <a:extLst>
                  <a:ext uri="{FF2B5EF4-FFF2-40B4-BE49-F238E27FC236}">
                    <a16:creationId xmlns:a16="http://schemas.microsoft.com/office/drawing/2014/main" id="{5CCF296D-E473-41C8-A411-F5844FB8753F}"/>
                  </a:ext>
                </a:extLst>
              </p:cNvPr>
              <p:cNvCxnSpPr>
                <a:cxnSpLocks/>
                <a:stCxn id="32" idx="2"/>
                <a:endCxn id="111" idx="1"/>
              </p:cNvCxnSpPr>
              <p:nvPr/>
            </p:nvCxnSpPr>
            <p:spPr>
              <a:xfrm rot="16200000" flipH="1">
                <a:off x="8636516" y="3857208"/>
                <a:ext cx="2503900" cy="332330"/>
              </a:xfrm>
              <a:prstGeom prst="bentConnector2">
                <a:avLst/>
              </a:prstGeom>
              <a:ln w="28575">
                <a:headEnd type="none" w="med" len="med"/>
                <a:tailEnd type="triangle" w="med" len="med"/>
              </a:ln>
            </p:spPr>
            <p:style>
              <a:lnRef idx="1">
                <a:schemeClr val="accent4"/>
              </a:lnRef>
              <a:fillRef idx="0">
                <a:schemeClr val="accent4"/>
              </a:fillRef>
              <a:effectRef idx="0">
                <a:schemeClr val="accent4"/>
              </a:effectRef>
              <a:fontRef idx="minor">
                <a:schemeClr val="tx1"/>
              </a:fontRef>
            </p:style>
          </p:cxnSp>
          <p:cxnSp>
            <p:nvCxnSpPr>
              <p:cNvPr id="25" name="Connector: Elbow 79">
                <a:extLst>
                  <a:ext uri="{FF2B5EF4-FFF2-40B4-BE49-F238E27FC236}">
                    <a16:creationId xmlns:a16="http://schemas.microsoft.com/office/drawing/2014/main" id="{B4250D08-F56C-485D-B600-3268629E7710}"/>
                  </a:ext>
                </a:extLst>
              </p:cNvPr>
              <p:cNvCxnSpPr>
                <a:cxnSpLocks/>
                <a:stCxn id="109" idx="3"/>
                <a:endCxn id="46" idx="1"/>
              </p:cNvCxnSpPr>
              <p:nvPr/>
            </p:nvCxnSpPr>
            <p:spPr>
              <a:xfrm flipV="1">
                <a:off x="2715904" y="2293609"/>
                <a:ext cx="884882" cy="2628076"/>
              </a:xfrm>
              <a:prstGeom prst="bentConnector3">
                <a:avLst>
                  <a:gd name="adj1" fmla="val 50000"/>
                </a:avLst>
              </a:prstGeom>
              <a:ln w="28575">
                <a:tailEnd type="triangle"/>
              </a:ln>
            </p:spPr>
            <p:style>
              <a:lnRef idx="1">
                <a:schemeClr val="accent4"/>
              </a:lnRef>
              <a:fillRef idx="0">
                <a:schemeClr val="accent4"/>
              </a:fillRef>
              <a:effectRef idx="0">
                <a:schemeClr val="accent4"/>
              </a:effectRef>
              <a:fontRef idx="minor">
                <a:schemeClr val="tx1"/>
              </a:fontRef>
            </p:style>
          </p:cxnSp>
          <p:cxnSp>
            <p:nvCxnSpPr>
              <p:cNvPr id="26" name="Connector: Elbow 82">
                <a:extLst>
                  <a:ext uri="{FF2B5EF4-FFF2-40B4-BE49-F238E27FC236}">
                    <a16:creationId xmlns:a16="http://schemas.microsoft.com/office/drawing/2014/main" id="{A729799C-F909-4770-B534-97ADC8EA7B38}"/>
                  </a:ext>
                </a:extLst>
              </p:cNvPr>
              <p:cNvCxnSpPr>
                <a:cxnSpLocks/>
                <a:stCxn id="108" idx="3"/>
                <a:endCxn id="64" idx="1"/>
              </p:cNvCxnSpPr>
              <p:nvPr/>
            </p:nvCxnSpPr>
            <p:spPr>
              <a:xfrm flipV="1">
                <a:off x="2715905" y="3872383"/>
                <a:ext cx="911087" cy="1982889"/>
              </a:xfrm>
              <a:prstGeom prst="bentConnector3">
                <a:avLst>
                  <a:gd name="adj1" fmla="val 50000"/>
                </a:avLst>
              </a:prstGeom>
              <a:ln w="28575">
                <a:tailEnd type="triangle"/>
              </a:ln>
            </p:spPr>
            <p:style>
              <a:lnRef idx="1">
                <a:schemeClr val="accent4"/>
              </a:lnRef>
              <a:fillRef idx="0">
                <a:schemeClr val="accent4"/>
              </a:fillRef>
              <a:effectRef idx="0">
                <a:schemeClr val="accent4"/>
              </a:effectRef>
              <a:fontRef idx="minor">
                <a:schemeClr val="tx1"/>
              </a:fontRef>
            </p:style>
          </p:cxnSp>
          <p:pic>
            <p:nvPicPr>
              <p:cNvPr id="27" name="Picture 2" descr="Afficher l’image source">
                <a:extLst>
                  <a:ext uri="{FF2B5EF4-FFF2-40B4-BE49-F238E27FC236}">
                    <a16:creationId xmlns:a16="http://schemas.microsoft.com/office/drawing/2014/main" id="{5D7BAED6-1B47-45AE-BAF5-311FE1AC615B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1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653764" y="2042373"/>
                <a:ext cx="314208" cy="315259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28" name="TextBox 152">
                <a:extLst>
                  <a:ext uri="{FF2B5EF4-FFF2-40B4-BE49-F238E27FC236}">
                    <a16:creationId xmlns:a16="http://schemas.microsoft.com/office/drawing/2014/main" id="{835407BC-64E2-48F7-9E2B-5CDE9BB2A7EA}"/>
                  </a:ext>
                </a:extLst>
              </p:cNvPr>
              <p:cNvSpPr txBox="1"/>
              <p:nvPr/>
            </p:nvSpPr>
            <p:spPr>
              <a:xfrm>
                <a:off x="1927300" y="2094632"/>
                <a:ext cx="697200" cy="29238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825">
                    <a:solidFill>
                      <a:srgbClr val="002060"/>
                    </a:solidFill>
                  </a:rPr>
                  <a:t>Appium</a:t>
                </a:r>
                <a:endParaRPr lang="fr-FR" sz="825">
                  <a:solidFill>
                    <a:srgbClr val="002060"/>
                  </a:solidFill>
                </a:endParaRPr>
              </a:p>
            </p:txBody>
          </p:sp>
          <p:pic>
            <p:nvPicPr>
              <p:cNvPr id="29" name="Picture 4" descr="Afficher l’image source">
                <a:extLst>
                  <a:ext uri="{FF2B5EF4-FFF2-40B4-BE49-F238E27FC236}">
                    <a16:creationId xmlns:a16="http://schemas.microsoft.com/office/drawing/2014/main" id="{8290F608-3CBB-458C-8C60-1B3150C978A3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82416" y="2077725"/>
                <a:ext cx="290259" cy="30311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30" name="TextBox 153">
                <a:extLst>
                  <a:ext uri="{FF2B5EF4-FFF2-40B4-BE49-F238E27FC236}">
                    <a16:creationId xmlns:a16="http://schemas.microsoft.com/office/drawing/2014/main" id="{5E070AF9-B1D5-4591-9D29-B37D2988C421}"/>
                  </a:ext>
                </a:extLst>
              </p:cNvPr>
              <p:cNvSpPr txBox="1"/>
              <p:nvPr/>
            </p:nvSpPr>
            <p:spPr>
              <a:xfrm>
                <a:off x="661491" y="2089633"/>
                <a:ext cx="778419" cy="29238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825">
                    <a:solidFill>
                      <a:srgbClr val="002060"/>
                    </a:solidFill>
                  </a:rPr>
                  <a:t>Selenium</a:t>
                </a:r>
                <a:endParaRPr lang="fr-FR" sz="825">
                  <a:solidFill>
                    <a:srgbClr val="002060"/>
                  </a:solidFill>
                </a:endParaRPr>
              </a:p>
            </p:txBody>
          </p:sp>
          <p:grpSp>
            <p:nvGrpSpPr>
              <p:cNvPr id="31" name="Group 34">
                <a:extLst>
                  <a:ext uri="{FF2B5EF4-FFF2-40B4-BE49-F238E27FC236}">
                    <a16:creationId xmlns:a16="http://schemas.microsoft.com/office/drawing/2014/main" id="{B38719F9-73E1-47A1-A5B5-3C73F09B0571}"/>
                  </a:ext>
                </a:extLst>
              </p:cNvPr>
              <p:cNvGrpSpPr/>
              <p:nvPr/>
            </p:nvGrpSpPr>
            <p:grpSpPr>
              <a:xfrm>
                <a:off x="3600786" y="1391702"/>
                <a:ext cx="5768101" cy="1467732"/>
                <a:chOff x="3859791" y="1174494"/>
                <a:chExt cx="5768101" cy="1467732"/>
              </a:xfrm>
            </p:grpSpPr>
            <p:grpSp>
              <p:nvGrpSpPr>
                <p:cNvPr id="41" name="Groupe 108">
                  <a:extLst>
                    <a:ext uri="{FF2B5EF4-FFF2-40B4-BE49-F238E27FC236}">
                      <a16:creationId xmlns:a16="http://schemas.microsoft.com/office/drawing/2014/main" id="{F903D21D-E219-44E4-A508-0A50753275DD}"/>
                    </a:ext>
                  </a:extLst>
                </p:cNvPr>
                <p:cNvGrpSpPr/>
                <p:nvPr/>
              </p:nvGrpSpPr>
              <p:grpSpPr>
                <a:xfrm>
                  <a:off x="3859791" y="1174494"/>
                  <a:ext cx="5768101" cy="1467732"/>
                  <a:chOff x="3859791" y="1372959"/>
                  <a:chExt cx="5768101" cy="1467732"/>
                </a:xfrm>
              </p:grpSpPr>
              <p:sp>
                <p:nvSpPr>
                  <p:cNvPr id="46" name="Rectangle 45">
                    <a:extLst>
                      <a:ext uri="{FF2B5EF4-FFF2-40B4-BE49-F238E27FC236}">
                        <a16:creationId xmlns:a16="http://schemas.microsoft.com/office/drawing/2014/main" id="{0A691CFB-1BC2-430B-BC7E-7475ADBF8182}"/>
                      </a:ext>
                    </a:extLst>
                  </p:cNvPr>
                  <p:cNvSpPr/>
                  <p:nvPr/>
                </p:nvSpPr>
                <p:spPr>
                  <a:xfrm>
                    <a:off x="3859791" y="1709041"/>
                    <a:ext cx="5761580" cy="1131650"/>
                  </a:xfrm>
                  <a:prstGeom prst="rect">
                    <a:avLst/>
                  </a:prstGeom>
                  <a:solidFill>
                    <a:srgbClr val="CCECFF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fr-FR" sz="1200"/>
                  </a:p>
                </p:txBody>
              </p:sp>
              <p:sp>
                <p:nvSpPr>
                  <p:cNvPr id="47" name="Rectangle 46">
                    <a:extLst>
                      <a:ext uri="{FF2B5EF4-FFF2-40B4-BE49-F238E27FC236}">
                        <a16:creationId xmlns:a16="http://schemas.microsoft.com/office/drawing/2014/main" id="{ECE5F3C3-EFC2-4869-A688-C5A29A12097E}"/>
                      </a:ext>
                    </a:extLst>
                  </p:cNvPr>
                  <p:cNvSpPr/>
                  <p:nvPr/>
                </p:nvSpPr>
                <p:spPr>
                  <a:xfrm>
                    <a:off x="3866311" y="1372959"/>
                    <a:ext cx="5761581" cy="1463705"/>
                  </a:xfrm>
                  <a:prstGeom prst="rect">
                    <a:avLst/>
                  </a:prstGeom>
                  <a:solidFill>
                    <a:srgbClr val="FFFFCC"/>
                  </a:solidFill>
                  <a:ln>
                    <a:solidFill>
                      <a:srgbClr val="0070C0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t"/>
                  <a:lstStyle/>
                  <a:p>
                    <a:r>
                      <a:rPr lang="en-US" sz="1050" err="1">
                        <a:solidFill>
                          <a:srgbClr val="002060"/>
                        </a:solidFill>
                      </a:rPr>
                      <a:t>Serveurs</a:t>
                    </a:r>
                    <a:r>
                      <a:rPr lang="en-US" sz="1050">
                        <a:solidFill>
                          <a:srgbClr val="002060"/>
                        </a:solidFill>
                      </a:rPr>
                      <a:t> ReadyAPI</a:t>
                    </a:r>
                    <a:endParaRPr lang="fr-FR" sz="1050">
                      <a:solidFill>
                        <a:srgbClr val="002060"/>
                      </a:solidFill>
                    </a:endParaRPr>
                  </a:p>
                </p:txBody>
              </p:sp>
              <p:grpSp>
                <p:nvGrpSpPr>
                  <p:cNvPr id="48" name="Group 16">
                    <a:extLst>
                      <a:ext uri="{FF2B5EF4-FFF2-40B4-BE49-F238E27FC236}">
                        <a16:creationId xmlns:a16="http://schemas.microsoft.com/office/drawing/2014/main" id="{27CDB0A6-8ED3-4745-8D27-B4097D88566D}"/>
                      </a:ext>
                    </a:extLst>
                  </p:cNvPr>
                  <p:cNvGrpSpPr/>
                  <p:nvPr/>
                </p:nvGrpSpPr>
                <p:grpSpPr>
                  <a:xfrm>
                    <a:off x="3969370" y="1808214"/>
                    <a:ext cx="1077647" cy="942592"/>
                    <a:chOff x="3969370" y="1808214"/>
                    <a:chExt cx="1077647" cy="942592"/>
                  </a:xfrm>
                </p:grpSpPr>
                <p:grpSp>
                  <p:nvGrpSpPr>
                    <p:cNvPr id="58" name="Group 56">
                      <a:extLst>
                        <a:ext uri="{FF2B5EF4-FFF2-40B4-BE49-F238E27FC236}">
                          <a16:creationId xmlns:a16="http://schemas.microsoft.com/office/drawing/2014/main" id="{51AC55CC-9379-483A-835D-F84DF2DA7B3B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3969370" y="1808214"/>
                      <a:ext cx="1077647" cy="942592"/>
                      <a:chOff x="3979167" y="1787744"/>
                      <a:chExt cx="1077647" cy="942592"/>
                    </a:xfrm>
                  </p:grpSpPr>
                  <p:pic>
                    <p:nvPicPr>
                      <p:cNvPr id="60" name="Graphic 54">
                        <a:extLst>
                          <a:ext uri="{FF2B5EF4-FFF2-40B4-BE49-F238E27FC236}">
                            <a16:creationId xmlns:a16="http://schemas.microsoft.com/office/drawing/2014/main" id="{D5CD863F-A650-4F76-90DC-77462368E561}"/>
                          </a:ext>
                        </a:extLst>
                      </p:cNvPr>
                      <p:cNvPicPr>
                        <a:picLocks noChangeAspect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  <a:ext uri="{96DAC541-7B7A-43D3-8B79-37D633B846F1}">
                            <asvg:svgBlip xmlns:asvg="http://schemas.microsoft.com/office/drawing/2016/SVG/main" r:embed="rId14"/>
                          </a:ext>
                        </a:extLst>
                      </a:blip>
                      <a:stretch>
                        <a:fillRect/>
                      </a:stretch>
                    </p:blipFill>
                    <p:spPr>
                      <a:xfrm>
                        <a:off x="4170656" y="1787744"/>
                        <a:ext cx="609600" cy="609600"/>
                      </a:xfrm>
                      <a:prstGeom prst="rect">
                        <a:avLst/>
                      </a:prstGeom>
                    </p:spPr>
                  </p:pic>
                  <p:sp>
                    <p:nvSpPr>
                      <p:cNvPr id="61" name="TextBox 55">
                        <a:extLst>
                          <a:ext uri="{FF2B5EF4-FFF2-40B4-BE49-F238E27FC236}">
                            <a16:creationId xmlns:a16="http://schemas.microsoft.com/office/drawing/2014/main" id="{E35D7CF2-3878-4EFF-8EF2-29BEAD33EDFF}"/>
                          </a:ext>
                        </a:extLst>
                      </p:cNvPr>
                      <p:cNvSpPr txBox="1"/>
                      <p:nvPr/>
                    </p:nvSpPr>
                    <p:spPr>
                      <a:xfrm>
                        <a:off x="3979167" y="2445556"/>
                        <a:ext cx="1077647" cy="284780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none" rtlCol="0">
                        <a:spAutoFit/>
                      </a:bodyPr>
                      <a:lstStyle/>
                      <a:p>
                        <a:r>
                          <a:rPr lang="en-US" sz="788">
                            <a:solidFill>
                              <a:srgbClr val="002060"/>
                            </a:solidFill>
                          </a:rPr>
                          <a:t>VM de Test API</a:t>
                        </a:r>
                        <a:endParaRPr lang="fr-FR" sz="788">
                          <a:solidFill>
                            <a:srgbClr val="002060"/>
                          </a:solidFill>
                        </a:endParaRPr>
                      </a:p>
                    </p:txBody>
                  </p:sp>
                </p:grpSp>
                <p:pic>
                  <p:nvPicPr>
                    <p:cNvPr id="59" name="Picture 80" descr="A picture containing text, yellow, clipart, picture frame&#10;&#10;Description automatically generated">
                      <a:extLst>
                        <a:ext uri="{FF2B5EF4-FFF2-40B4-BE49-F238E27FC236}">
                          <a16:creationId xmlns:a16="http://schemas.microsoft.com/office/drawing/2014/main" id="{C219FDEC-4B5D-48D1-B221-02FD4DE8AAC0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4468181" y="2259122"/>
                      <a:ext cx="184845" cy="184845"/>
                    </a:xfrm>
                    <a:prstGeom prst="rect">
                      <a:avLst/>
                    </a:prstGeom>
                  </p:spPr>
                </p:pic>
              </p:grpSp>
              <p:grpSp>
                <p:nvGrpSpPr>
                  <p:cNvPr id="49" name="Group 83">
                    <a:extLst>
                      <a:ext uri="{FF2B5EF4-FFF2-40B4-BE49-F238E27FC236}">
                        <a16:creationId xmlns:a16="http://schemas.microsoft.com/office/drawing/2014/main" id="{ECAE7420-AA73-4156-9381-0272CA24B906}"/>
                      </a:ext>
                    </a:extLst>
                  </p:cNvPr>
                  <p:cNvGrpSpPr/>
                  <p:nvPr/>
                </p:nvGrpSpPr>
                <p:grpSpPr>
                  <a:xfrm>
                    <a:off x="5166356" y="1811635"/>
                    <a:ext cx="609600" cy="635753"/>
                    <a:chOff x="4160859" y="1808214"/>
                    <a:chExt cx="609600" cy="635753"/>
                  </a:xfrm>
                </p:grpSpPr>
                <p:pic>
                  <p:nvPicPr>
                    <p:cNvPr id="56" name="Graphic 86">
                      <a:extLst>
                        <a:ext uri="{FF2B5EF4-FFF2-40B4-BE49-F238E27FC236}">
                          <a16:creationId xmlns:a16="http://schemas.microsoft.com/office/drawing/2014/main" id="{059B356A-5BC1-4CFE-9F69-62913C692F2B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13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  <a:ext uri="{96DAC541-7B7A-43D3-8B79-37D633B846F1}">
                          <asvg:svgBlip xmlns:asvg="http://schemas.microsoft.com/office/drawing/2016/SVG/main" r:embed="rId1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4160859" y="1808214"/>
                      <a:ext cx="609600" cy="609600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57" name="Picture 85" descr="A picture containing text, yellow, clipart, picture frame&#10;&#10;Description automatically generated">
                      <a:extLst>
                        <a:ext uri="{FF2B5EF4-FFF2-40B4-BE49-F238E27FC236}">
                          <a16:creationId xmlns:a16="http://schemas.microsoft.com/office/drawing/2014/main" id="{15258A11-F534-407C-BE5C-6F1297E7AC86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4468181" y="2259122"/>
                      <a:ext cx="184845" cy="184845"/>
                    </a:xfrm>
                    <a:prstGeom prst="rect">
                      <a:avLst/>
                    </a:prstGeom>
                  </p:spPr>
                </p:pic>
              </p:grpSp>
              <p:grpSp>
                <p:nvGrpSpPr>
                  <p:cNvPr id="50" name="Group 89">
                    <a:extLst>
                      <a:ext uri="{FF2B5EF4-FFF2-40B4-BE49-F238E27FC236}">
                        <a16:creationId xmlns:a16="http://schemas.microsoft.com/office/drawing/2014/main" id="{8BD7B276-96E9-4C0A-93C1-74BA4083C260}"/>
                      </a:ext>
                    </a:extLst>
                  </p:cNvPr>
                  <p:cNvGrpSpPr/>
                  <p:nvPr/>
                </p:nvGrpSpPr>
                <p:grpSpPr>
                  <a:xfrm>
                    <a:off x="6167676" y="1808214"/>
                    <a:ext cx="609600" cy="635753"/>
                    <a:chOff x="4160859" y="1808214"/>
                    <a:chExt cx="609600" cy="635753"/>
                  </a:xfrm>
                </p:grpSpPr>
                <p:pic>
                  <p:nvPicPr>
                    <p:cNvPr id="54" name="Graphic 95">
                      <a:extLst>
                        <a:ext uri="{FF2B5EF4-FFF2-40B4-BE49-F238E27FC236}">
                          <a16:creationId xmlns:a16="http://schemas.microsoft.com/office/drawing/2014/main" id="{91ED5D0A-E765-497B-93FB-29621195F7EE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13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  <a:ext uri="{96DAC541-7B7A-43D3-8B79-37D633B846F1}">
                          <asvg:svgBlip xmlns:asvg="http://schemas.microsoft.com/office/drawing/2016/SVG/main" r:embed="rId1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4160859" y="1808214"/>
                      <a:ext cx="609600" cy="609600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55" name="Picture 92" descr="A picture containing text, yellow, clipart, picture frame&#10;&#10;Description automatically generated">
                      <a:extLst>
                        <a:ext uri="{FF2B5EF4-FFF2-40B4-BE49-F238E27FC236}">
                          <a16:creationId xmlns:a16="http://schemas.microsoft.com/office/drawing/2014/main" id="{EF961BD4-46B5-4EA8-A16D-B402E739A658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4468181" y="2259122"/>
                      <a:ext cx="184845" cy="184845"/>
                    </a:xfrm>
                    <a:prstGeom prst="rect">
                      <a:avLst/>
                    </a:prstGeom>
                  </p:spPr>
                </p:pic>
              </p:grpSp>
              <p:grpSp>
                <p:nvGrpSpPr>
                  <p:cNvPr id="51" name="Group 97">
                    <a:extLst>
                      <a:ext uri="{FF2B5EF4-FFF2-40B4-BE49-F238E27FC236}">
                        <a16:creationId xmlns:a16="http://schemas.microsoft.com/office/drawing/2014/main" id="{4A209F61-256A-454E-A719-AB4B72F296B1}"/>
                      </a:ext>
                    </a:extLst>
                  </p:cNvPr>
                  <p:cNvGrpSpPr/>
                  <p:nvPr/>
                </p:nvGrpSpPr>
                <p:grpSpPr>
                  <a:xfrm>
                    <a:off x="7151209" y="1803184"/>
                    <a:ext cx="609600" cy="635753"/>
                    <a:chOff x="4160859" y="1808214"/>
                    <a:chExt cx="609600" cy="635753"/>
                  </a:xfrm>
                </p:grpSpPr>
                <p:pic>
                  <p:nvPicPr>
                    <p:cNvPr id="52" name="Graphic 102">
                      <a:extLst>
                        <a:ext uri="{FF2B5EF4-FFF2-40B4-BE49-F238E27FC236}">
                          <a16:creationId xmlns:a16="http://schemas.microsoft.com/office/drawing/2014/main" id="{C851A4A9-96F1-4909-BDFF-C0EDB1D2ECE8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13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  <a:ext uri="{96DAC541-7B7A-43D3-8B79-37D633B846F1}">
                          <asvg:svgBlip xmlns:asvg="http://schemas.microsoft.com/office/drawing/2016/SVG/main" r:embed="rId1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4160859" y="1808214"/>
                      <a:ext cx="609600" cy="609600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53" name="Picture 100" descr="A picture containing text, yellow, clipart, picture frame&#10;&#10;Description automatically generated">
                      <a:extLst>
                        <a:ext uri="{FF2B5EF4-FFF2-40B4-BE49-F238E27FC236}">
                          <a16:creationId xmlns:a16="http://schemas.microsoft.com/office/drawing/2014/main" id="{61D48228-FB3B-4D42-999B-8F5D415AF372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4468181" y="2259122"/>
                      <a:ext cx="184845" cy="184845"/>
                    </a:xfrm>
                    <a:prstGeom prst="rect">
                      <a:avLst/>
                    </a:prstGeom>
                  </p:spPr>
                </p:pic>
              </p:grpSp>
            </p:grpSp>
            <p:grpSp>
              <p:nvGrpSpPr>
                <p:cNvPr id="42" name="Group 33">
                  <a:extLst>
                    <a:ext uri="{FF2B5EF4-FFF2-40B4-BE49-F238E27FC236}">
                      <a16:creationId xmlns:a16="http://schemas.microsoft.com/office/drawing/2014/main" id="{FA05F65D-1E63-4016-A691-63A1396CC8E4}"/>
                    </a:ext>
                  </a:extLst>
                </p:cNvPr>
                <p:cNvGrpSpPr/>
                <p:nvPr/>
              </p:nvGrpSpPr>
              <p:grpSpPr>
                <a:xfrm>
                  <a:off x="4974600" y="2257003"/>
                  <a:ext cx="3095928" cy="290308"/>
                  <a:chOff x="4974600" y="2257003"/>
                  <a:chExt cx="3095928" cy="290308"/>
                </a:xfrm>
              </p:grpSpPr>
              <p:sp>
                <p:nvSpPr>
                  <p:cNvPr id="43" name="TextBox 162">
                    <a:extLst>
                      <a:ext uri="{FF2B5EF4-FFF2-40B4-BE49-F238E27FC236}">
                        <a16:creationId xmlns:a16="http://schemas.microsoft.com/office/drawing/2014/main" id="{AA6C38F5-3731-4C4A-8413-65C2B1E7AE5A}"/>
                      </a:ext>
                    </a:extLst>
                  </p:cNvPr>
                  <p:cNvSpPr txBox="1"/>
                  <p:nvPr/>
                </p:nvSpPr>
                <p:spPr>
                  <a:xfrm>
                    <a:off x="4974600" y="2262531"/>
                    <a:ext cx="1077647" cy="284780"/>
                  </a:xfrm>
                  <a:prstGeom prst="rect">
                    <a:avLst/>
                  </a:prstGeom>
                  <a:noFill/>
                </p:spPr>
                <p:txBody>
                  <a:bodyPr wrap="none" rtlCol="0">
                    <a:spAutoFit/>
                  </a:bodyPr>
                  <a:lstStyle/>
                  <a:p>
                    <a:r>
                      <a:rPr lang="en-US" sz="788">
                        <a:solidFill>
                          <a:srgbClr val="002060"/>
                        </a:solidFill>
                      </a:rPr>
                      <a:t>VM de Test API</a:t>
                    </a:r>
                    <a:endParaRPr lang="fr-FR" sz="788">
                      <a:solidFill>
                        <a:srgbClr val="002060"/>
                      </a:solidFill>
                    </a:endParaRPr>
                  </a:p>
                </p:txBody>
              </p:sp>
              <p:sp>
                <p:nvSpPr>
                  <p:cNvPr id="44" name="TextBox 163">
                    <a:extLst>
                      <a:ext uri="{FF2B5EF4-FFF2-40B4-BE49-F238E27FC236}">
                        <a16:creationId xmlns:a16="http://schemas.microsoft.com/office/drawing/2014/main" id="{97E14D3A-F6D4-4A81-AAB6-6EC33AF7D1A2}"/>
                      </a:ext>
                    </a:extLst>
                  </p:cNvPr>
                  <p:cNvSpPr txBox="1"/>
                  <p:nvPr/>
                </p:nvSpPr>
                <p:spPr>
                  <a:xfrm>
                    <a:off x="5975193" y="2257003"/>
                    <a:ext cx="1077647" cy="284780"/>
                  </a:xfrm>
                  <a:prstGeom prst="rect">
                    <a:avLst/>
                  </a:prstGeom>
                  <a:noFill/>
                </p:spPr>
                <p:txBody>
                  <a:bodyPr wrap="none" rtlCol="0">
                    <a:spAutoFit/>
                  </a:bodyPr>
                  <a:lstStyle/>
                  <a:p>
                    <a:r>
                      <a:rPr lang="en-US" sz="788">
                        <a:solidFill>
                          <a:srgbClr val="002060"/>
                        </a:solidFill>
                      </a:rPr>
                      <a:t>VM de Test API</a:t>
                    </a:r>
                    <a:endParaRPr lang="fr-FR" sz="788">
                      <a:solidFill>
                        <a:srgbClr val="002060"/>
                      </a:solidFill>
                    </a:endParaRPr>
                  </a:p>
                </p:txBody>
              </p:sp>
              <p:sp>
                <p:nvSpPr>
                  <p:cNvPr id="45" name="TextBox 164">
                    <a:extLst>
                      <a:ext uri="{FF2B5EF4-FFF2-40B4-BE49-F238E27FC236}">
                        <a16:creationId xmlns:a16="http://schemas.microsoft.com/office/drawing/2014/main" id="{CB73A1E1-9512-4E0F-ACEE-8ADD5303AAA1}"/>
                      </a:ext>
                    </a:extLst>
                  </p:cNvPr>
                  <p:cNvSpPr txBox="1"/>
                  <p:nvPr/>
                </p:nvSpPr>
                <p:spPr>
                  <a:xfrm>
                    <a:off x="6992881" y="2257003"/>
                    <a:ext cx="1077647" cy="284780"/>
                  </a:xfrm>
                  <a:prstGeom prst="rect">
                    <a:avLst/>
                  </a:prstGeom>
                  <a:noFill/>
                </p:spPr>
                <p:txBody>
                  <a:bodyPr wrap="none" rtlCol="0">
                    <a:spAutoFit/>
                  </a:bodyPr>
                  <a:lstStyle/>
                  <a:p>
                    <a:r>
                      <a:rPr lang="en-US" sz="788">
                        <a:solidFill>
                          <a:srgbClr val="002060"/>
                        </a:solidFill>
                      </a:rPr>
                      <a:t>VM de Test API</a:t>
                    </a:r>
                    <a:endParaRPr lang="fr-FR" sz="788">
                      <a:solidFill>
                        <a:srgbClr val="002060"/>
                      </a:solidFill>
                    </a:endParaRPr>
                  </a:p>
                </p:txBody>
              </p:sp>
            </p:grpSp>
          </p:grpSp>
          <p:pic>
            <p:nvPicPr>
              <p:cNvPr id="32" name="Graphic 118">
                <a:extLst>
                  <a:ext uri="{FF2B5EF4-FFF2-40B4-BE49-F238E27FC236}">
                    <a16:creationId xmlns:a16="http://schemas.microsoft.com/office/drawing/2014/main" id="{EAEF5CC1-9788-498C-AAC3-1EE8FF7BFCE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5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6"/>
                  </a:ext>
                </a:extLst>
              </a:blip>
              <a:stretch>
                <a:fillRect/>
              </a:stretch>
            </p:blipFill>
            <p:spPr>
              <a:xfrm>
                <a:off x="9553428" y="2433677"/>
                <a:ext cx="337746" cy="337746"/>
              </a:xfrm>
              <a:prstGeom prst="rect">
                <a:avLst/>
              </a:prstGeom>
            </p:spPr>
          </p:pic>
          <p:cxnSp>
            <p:nvCxnSpPr>
              <p:cNvPr id="33" name="Connector: Elbow 101">
                <a:extLst>
                  <a:ext uri="{FF2B5EF4-FFF2-40B4-BE49-F238E27FC236}">
                    <a16:creationId xmlns:a16="http://schemas.microsoft.com/office/drawing/2014/main" id="{4EFC1034-D7AC-4D4D-A422-E29BEE3DDE0D}"/>
                  </a:ext>
                </a:extLst>
              </p:cNvPr>
              <p:cNvCxnSpPr>
                <a:cxnSpLocks/>
                <a:stCxn id="47" idx="3"/>
                <a:endCxn id="32" idx="0"/>
              </p:cNvCxnSpPr>
              <p:nvPr/>
            </p:nvCxnSpPr>
            <p:spPr>
              <a:xfrm>
                <a:off x="9368888" y="2123555"/>
                <a:ext cx="353413" cy="310123"/>
              </a:xfrm>
              <a:prstGeom prst="bentConnector2">
                <a:avLst/>
              </a:prstGeom>
              <a:ln w="28575">
                <a:tailEnd type="triangle"/>
              </a:ln>
            </p:spPr>
            <p:style>
              <a:lnRef idx="1">
                <a:schemeClr val="accent4"/>
              </a:lnRef>
              <a:fillRef idx="0">
                <a:schemeClr val="accent4"/>
              </a:fillRef>
              <a:effectRef idx="0">
                <a:schemeClr val="accent4"/>
              </a:effectRef>
              <a:fontRef idx="minor">
                <a:schemeClr val="tx1"/>
              </a:fontRef>
            </p:style>
          </p:cxnSp>
          <p:grpSp>
            <p:nvGrpSpPr>
              <p:cNvPr id="34" name="Groupe 131">
                <a:extLst>
                  <a:ext uri="{FF2B5EF4-FFF2-40B4-BE49-F238E27FC236}">
                    <a16:creationId xmlns:a16="http://schemas.microsoft.com/office/drawing/2014/main" id="{36EBC747-7268-4C54-9E30-C6DDAC992792}"/>
                  </a:ext>
                </a:extLst>
              </p:cNvPr>
              <p:cNvGrpSpPr/>
              <p:nvPr/>
            </p:nvGrpSpPr>
            <p:grpSpPr>
              <a:xfrm>
                <a:off x="6773243" y="4891738"/>
                <a:ext cx="2589123" cy="1270688"/>
                <a:chOff x="3283039" y="5177107"/>
                <a:chExt cx="2875428" cy="1366701"/>
              </a:xfrm>
            </p:grpSpPr>
            <p:sp>
              <p:nvSpPr>
                <p:cNvPr id="39" name="Rectangle 38">
                  <a:extLst>
                    <a:ext uri="{FF2B5EF4-FFF2-40B4-BE49-F238E27FC236}">
                      <a16:creationId xmlns:a16="http://schemas.microsoft.com/office/drawing/2014/main" id="{8006EA99-1AB4-4EB8-BB8E-E8D2A4956B30}"/>
                    </a:ext>
                  </a:extLst>
                </p:cNvPr>
                <p:cNvSpPr/>
                <p:nvPr/>
              </p:nvSpPr>
              <p:spPr>
                <a:xfrm>
                  <a:off x="3283039" y="5177107"/>
                  <a:ext cx="2875428" cy="1366701"/>
                </a:xfrm>
                <a:prstGeom prst="rect">
                  <a:avLst/>
                </a:prstGeom>
                <a:solidFill>
                  <a:srgbClr val="FFFFCC"/>
                </a:solidFill>
                <a:ln>
                  <a:solidFill>
                    <a:srgbClr val="0070C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t"/>
                <a:lstStyle/>
                <a:p>
                  <a:r>
                    <a:rPr lang="en-US" sz="1050">
                      <a:solidFill>
                        <a:sysClr val="windowText" lastClr="000000"/>
                      </a:solidFill>
                    </a:rPr>
                    <a:t>Mobile Lab (Interne)</a:t>
                  </a:r>
                  <a:endParaRPr lang="fr-FR" sz="1050">
                    <a:solidFill>
                      <a:sysClr val="windowText" lastClr="000000"/>
                    </a:solidFill>
                  </a:endParaRPr>
                </a:p>
              </p:txBody>
            </p:sp>
            <p:pic>
              <p:nvPicPr>
                <p:cNvPr id="40" name="Picture 2" descr="Afficher l’image source">
                  <a:extLst>
                    <a:ext uri="{FF2B5EF4-FFF2-40B4-BE49-F238E27FC236}">
                      <a16:creationId xmlns:a16="http://schemas.microsoft.com/office/drawing/2014/main" id="{EABC2C85-2F76-4B8E-8F6C-49428BC3C285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10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3927134" y="5524043"/>
                  <a:ext cx="1602608" cy="909497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</p:grpSp>
          <p:cxnSp>
            <p:nvCxnSpPr>
              <p:cNvPr id="35" name="Connector: Elbow 82">
                <a:extLst>
                  <a:ext uri="{FF2B5EF4-FFF2-40B4-BE49-F238E27FC236}">
                    <a16:creationId xmlns:a16="http://schemas.microsoft.com/office/drawing/2014/main" id="{1FC3F842-AB5E-4734-8DF2-4511B3E7455B}"/>
                  </a:ext>
                </a:extLst>
              </p:cNvPr>
              <p:cNvCxnSpPr>
                <a:cxnSpLocks/>
                <a:stCxn id="64" idx="2"/>
                <a:endCxn id="62" idx="0"/>
              </p:cNvCxnSpPr>
              <p:nvPr/>
            </p:nvCxnSpPr>
            <p:spPr>
              <a:xfrm rot="5400000">
                <a:off x="5555553" y="3952988"/>
                <a:ext cx="326863" cy="1557912"/>
              </a:xfrm>
              <a:prstGeom prst="bentConnector3">
                <a:avLst>
                  <a:gd name="adj1" fmla="val 50000"/>
                </a:avLst>
              </a:prstGeom>
              <a:ln w="28575">
                <a:tailEnd type="triangle"/>
              </a:ln>
            </p:spPr>
            <p:style>
              <a:lnRef idx="1">
                <a:schemeClr val="accent4"/>
              </a:lnRef>
              <a:fillRef idx="0">
                <a:schemeClr val="accent4"/>
              </a:fillRef>
              <a:effectRef idx="0">
                <a:schemeClr val="accent4"/>
              </a:effectRef>
              <a:fontRef idx="minor">
                <a:schemeClr val="tx1"/>
              </a:fontRef>
            </p:style>
          </p:cxnSp>
          <p:cxnSp>
            <p:nvCxnSpPr>
              <p:cNvPr id="36" name="Connector: Elbow 82">
                <a:extLst>
                  <a:ext uri="{FF2B5EF4-FFF2-40B4-BE49-F238E27FC236}">
                    <a16:creationId xmlns:a16="http://schemas.microsoft.com/office/drawing/2014/main" id="{413D5538-B75B-4470-B265-1FDE9FFC8653}"/>
                  </a:ext>
                </a:extLst>
              </p:cNvPr>
              <p:cNvCxnSpPr>
                <a:cxnSpLocks/>
                <a:stCxn id="64" idx="2"/>
                <a:endCxn id="39" idx="0"/>
              </p:cNvCxnSpPr>
              <p:nvPr/>
            </p:nvCxnSpPr>
            <p:spPr>
              <a:xfrm rot="16200000" flipH="1">
                <a:off x="7121260" y="3945194"/>
                <a:ext cx="323224" cy="1569864"/>
              </a:xfrm>
              <a:prstGeom prst="bentConnector3">
                <a:avLst>
                  <a:gd name="adj1" fmla="val 50000"/>
                </a:avLst>
              </a:prstGeom>
              <a:ln w="28575">
                <a:tailEnd type="triangle"/>
              </a:ln>
            </p:spPr>
            <p:style>
              <a:lnRef idx="1">
                <a:schemeClr val="accent4"/>
              </a:lnRef>
              <a:fillRef idx="0">
                <a:schemeClr val="accent4"/>
              </a:fillRef>
              <a:effectRef idx="0">
                <a:schemeClr val="accent4"/>
              </a:effectRef>
              <a:fontRef idx="minor">
                <a:schemeClr val="tx1"/>
              </a:fontRef>
            </p:style>
          </p:cxnSp>
          <p:cxnSp>
            <p:nvCxnSpPr>
              <p:cNvPr id="37" name="Connector: Elbow 82">
                <a:extLst>
                  <a:ext uri="{FF2B5EF4-FFF2-40B4-BE49-F238E27FC236}">
                    <a16:creationId xmlns:a16="http://schemas.microsoft.com/office/drawing/2014/main" id="{F72F21A0-29C9-472D-A636-A8AAEC5BA662}"/>
                  </a:ext>
                </a:extLst>
              </p:cNvPr>
              <p:cNvCxnSpPr>
                <a:cxnSpLocks/>
                <a:stCxn id="62" idx="2"/>
                <a:endCxn id="32" idx="2"/>
              </p:cNvCxnSpPr>
              <p:nvPr/>
            </p:nvCxnSpPr>
            <p:spPr>
              <a:xfrm rot="5400000" flipH="1" flipV="1">
                <a:off x="5633844" y="2077608"/>
                <a:ext cx="3394641" cy="4782272"/>
              </a:xfrm>
              <a:prstGeom prst="bentConnector3">
                <a:avLst>
                  <a:gd name="adj1" fmla="val -6734"/>
                </a:avLst>
              </a:prstGeom>
              <a:ln w="28575">
                <a:tailEnd type="triangle"/>
              </a:ln>
            </p:spPr>
            <p:style>
              <a:lnRef idx="1">
                <a:schemeClr val="accent4"/>
              </a:lnRef>
              <a:fillRef idx="0">
                <a:schemeClr val="accent4"/>
              </a:fillRef>
              <a:effectRef idx="0">
                <a:schemeClr val="accent4"/>
              </a:effectRef>
              <a:fontRef idx="minor">
                <a:schemeClr val="tx1"/>
              </a:fontRef>
            </p:style>
          </p:cxnSp>
          <p:cxnSp>
            <p:nvCxnSpPr>
              <p:cNvPr id="38" name="Connector: Elbow 82">
                <a:extLst>
                  <a:ext uri="{FF2B5EF4-FFF2-40B4-BE49-F238E27FC236}">
                    <a16:creationId xmlns:a16="http://schemas.microsoft.com/office/drawing/2014/main" id="{E695D9B7-0A93-410E-8824-3EDC157E90BD}"/>
                  </a:ext>
                </a:extLst>
              </p:cNvPr>
              <p:cNvCxnSpPr>
                <a:cxnSpLocks/>
                <a:stCxn id="39" idx="2"/>
                <a:endCxn id="32" idx="2"/>
              </p:cNvCxnSpPr>
              <p:nvPr/>
            </p:nvCxnSpPr>
            <p:spPr>
              <a:xfrm rot="5400000" flipH="1" flipV="1">
                <a:off x="7199551" y="3639677"/>
                <a:ext cx="3391003" cy="1654496"/>
              </a:xfrm>
              <a:prstGeom prst="bentConnector3">
                <a:avLst>
                  <a:gd name="adj1" fmla="val -6741"/>
                </a:avLst>
              </a:prstGeom>
              <a:ln w="28575">
                <a:tailEnd type="triangle"/>
              </a:ln>
            </p:spPr>
            <p:style>
              <a:lnRef idx="1">
                <a:schemeClr val="accent4"/>
              </a:lnRef>
              <a:fillRef idx="0">
                <a:schemeClr val="accent4"/>
              </a:fillRef>
              <a:effectRef idx="0">
                <a:schemeClr val="accent4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2263875010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47C774A-4EFE-4312-8142-C4EA91EB08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Organisation de l’équipe et les rôles </a:t>
            </a:r>
          </a:p>
        </p:txBody>
      </p:sp>
      <p:graphicFrame>
        <p:nvGraphicFramePr>
          <p:cNvPr id="7" name="Table 7">
            <a:extLst>
              <a:ext uri="{FF2B5EF4-FFF2-40B4-BE49-F238E27FC236}">
                <a16:creationId xmlns:a16="http://schemas.microsoft.com/office/drawing/2014/main" id="{818F4A08-B265-4906-9459-52D7E5763DAD}"/>
              </a:ext>
            </a:extLst>
          </p:cNvPr>
          <p:cNvGraphicFramePr>
            <a:graphicFrameLocks noGrp="1"/>
          </p:cNvGraphicFramePr>
          <p:nvPr>
            <p:ph sz="quarter" idx="13"/>
            <p:extLst>
              <p:ext uri="{D42A27DB-BD31-4B8C-83A1-F6EECF244321}">
                <p14:modId xmlns:p14="http://schemas.microsoft.com/office/powerpoint/2010/main" val="2070155473"/>
              </p:ext>
            </p:extLst>
          </p:nvPr>
        </p:nvGraphicFramePr>
        <p:xfrm>
          <a:off x="228600" y="1133475"/>
          <a:ext cx="8556623" cy="2171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88857">
                  <a:extLst>
                    <a:ext uri="{9D8B030D-6E8A-4147-A177-3AD203B41FA5}">
                      <a16:colId xmlns:a16="http://schemas.microsoft.com/office/drawing/2014/main" val="2254203368"/>
                    </a:ext>
                  </a:extLst>
                </a:gridCol>
                <a:gridCol w="1803322">
                  <a:extLst>
                    <a:ext uri="{9D8B030D-6E8A-4147-A177-3AD203B41FA5}">
                      <a16:colId xmlns:a16="http://schemas.microsoft.com/office/drawing/2014/main" val="2848543970"/>
                    </a:ext>
                  </a:extLst>
                </a:gridCol>
                <a:gridCol w="956366">
                  <a:extLst>
                    <a:ext uri="{9D8B030D-6E8A-4147-A177-3AD203B41FA5}">
                      <a16:colId xmlns:a16="http://schemas.microsoft.com/office/drawing/2014/main" val="1893971476"/>
                    </a:ext>
                  </a:extLst>
                </a:gridCol>
                <a:gridCol w="1593273">
                  <a:extLst>
                    <a:ext uri="{9D8B030D-6E8A-4147-A177-3AD203B41FA5}">
                      <a16:colId xmlns:a16="http://schemas.microsoft.com/office/drawing/2014/main" val="3749134359"/>
                    </a:ext>
                  </a:extLst>
                </a:gridCol>
                <a:gridCol w="1711037">
                  <a:extLst>
                    <a:ext uri="{9D8B030D-6E8A-4147-A177-3AD203B41FA5}">
                      <a16:colId xmlns:a16="http://schemas.microsoft.com/office/drawing/2014/main" val="1626081741"/>
                    </a:ext>
                  </a:extLst>
                </a:gridCol>
                <a:gridCol w="1303768">
                  <a:extLst>
                    <a:ext uri="{9D8B030D-6E8A-4147-A177-3AD203B41FA5}">
                      <a16:colId xmlns:a16="http://schemas.microsoft.com/office/drawing/2014/main" val="2060774049"/>
                    </a:ext>
                  </a:extLst>
                </a:gridCol>
              </a:tblGrid>
              <a:tr h="205468">
                <a:tc>
                  <a:txBody>
                    <a:bodyPr/>
                    <a:lstStyle/>
                    <a:p>
                      <a:r>
                        <a:rPr lang="fr-FR" sz="1050" noProof="0"/>
                        <a:t>No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1050" noProof="0"/>
                        <a:t>Rol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1050" noProof="0"/>
                        <a:t>Squa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1050" noProof="0"/>
                        <a:t>Automatisation Test WebServic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1050" noProof="0"/>
                        <a:t>Automatisation Scenario D’accepta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1050" noProof="0"/>
                        <a:t>Automatisation</a:t>
                      </a:r>
                      <a:br>
                        <a:rPr lang="fr-FR" sz="1050" noProof="0"/>
                      </a:br>
                      <a:r>
                        <a:rPr lang="fr-FR" sz="1050" noProof="0"/>
                        <a:t>Parcours Clé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46828956"/>
                  </a:ext>
                </a:extLst>
              </a:tr>
              <a:tr h="205468">
                <a:tc>
                  <a:txBody>
                    <a:bodyPr/>
                    <a:lstStyle/>
                    <a:p>
                      <a:r>
                        <a:rPr lang="fr-FR" sz="1050" noProof="0"/>
                        <a:t>XXX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1050" noProof="0"/>
                        <a:t>Test Lea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1050" noProof="0"/>
                        <a:t>Transvers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sz="1050" noProof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sz="1050" noProof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sz="1050" noProof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30211607"/>
                  </a:ext>
                </a:extLst>
              </a:tr>
              <a:tr h="205468">
                <a:tc>
                  <a:txBody>
                    <a:bodyPr/>
                    <a:lstStyle/>
                    <a:p>
                      <a:r>
                        <a:rPr lang="fr-FR" sz="1050" noProof="0"/>
                        <a:t>Xxx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1050" noProof="0"/>
                        <a:t>Automaticie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1050" noProof="0"/>
                        <a:t>Transvers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fr-FR" sz="1050" noProof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fr-FR" sz="1050" noProof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050" noProof="0"/>
                        <a:t>Référen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1179929"/>
                  </a:ext>
                </a:extLst>
              </a:tr>
              <a:tr h="205468">
                <a:tc>
                  <a:txBody>
                    <a:bodyPr/>
                    <a:lstStyle/>
                    <a:p>
                      <a:r>
                        <a:rPr lang="fr-FR" sz="1050" noProof="0"/>
                        <a:t>Xxx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1050" noProof="0"/>
                        <a:t>Testeur ou Automaticie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1050" noProof="0"/>
                        <a:t>Squad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050" noProof="0"/>
                        <a:t>X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fr-FR" sz="1050" noProof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050" noProof="0"/>
                        <a:t>X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34866369"/>
                  </a:ext>
                </a:extLst>
              </a:tr>
              <a:tr h="205468">
                <a:tc>
                  <a:txBody>
                    <a:bodyPr/>
                    <a:lstStyle/>
                    <a:p>
                      <a:r>
                        <a:rPr lang="fr-FR" sz="1050" noProof="0"/>
                        <a:t>xxx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1050" noProof="0"/>
                        <a:t>Testeu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1050" noProof="0"/>
                        <a:t>Squad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fr-FR" sz="1050" noProof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fr-FR" sz="1050" noProof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sz="1050" noProof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89315767"/>
                  </a:ext>
                </a:extLst>
              </a:tr>
              <a:tr h="205468">
                <a:tc>
                  <a:txBody>
                    <a:bodyPr/>
                    <a:lstStyle/>
                    <a:p>
                      <a:r>
                        <a:rPr lang="fr-FR" sz="1050" noProof="0"/>
                        <a:t>xxx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1050" noProof="0"/>
                        <a:t>Testeur ou Automaticie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1050" noProof="0"/>
                        <a:t>Squad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050" noProof="0"/>
                        <a:t>X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fr-FR" sz="1050" noProof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sz="1050" noProof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59019932"/>
                  </a:ext>
                </a:extLst>
              </a:tr>
              <a:tr h="205468">
                <a:tc>
                  <a:txBody>
                    <a:bodyPr/>
                    <a:lstStyle/>
                    <a:p>
                      <a:r>
                        <a:rPr lang="fr-FR" sz="1050" noProof="0"/>
                        <a:t>xxx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1050" noProof="0"/>
                        <a:t>Testeu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1050" noProof="0"/>
                        <a:t>Squad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fr-FR" sz="1050" noProof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fr-FR" sz="1050" noProof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sz="1050" noProof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37968430"/>
                  </a:ext>
                </a:extLst>
              </a:tr>
              <a:tr h="205468">
                <a:tc>
                  <a:txBody>
                    <a:bodyPr/>
                    <a:lstStyle/>
                    <a:p>
                      <a:r>
                        <a:rPr lang="fr-FR" sz="1050" noProof="0"/>
                        <a:t>Xxx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1050" noProof="0"/>
                        <a:t>Développeu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1050" noProof="0"/>
                        <a:t>Squad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fr-FR" sz="1050" noProof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050" noProof="0"/>
                        <a:t>X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sz="1050" noProof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68387963"/>
                  </a:ext>
                </a:extLst>
              </a:tr>
            </a:tbl>
          </a:graphicData>
        </a:graphic>
      </p:graphicFrame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CF81940-8CAC-47B5-93D6-EAA400B90D9D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438FEFB8-6B6E-4DC1-A5E4-A1258711B442}" type="slidenum">
              <a:rPr lang="fr-FR" smtClean="0"/>
              <a:pPr/>
              <a:t>29</a:t>
            </a:fld>
            <a:endParaRPr lang="fr-FR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96512D7E-BF7C-4FE6-90AC-ECC6FF63A87F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33E2A876-6808-42D7-B9E9-0E9017F3C491}" type="datetime1">
              <a:rPr lang="fr-FR" smtClean="0"/>
              <a:t>20/03/2023</a:t>
            </a:fld>
            <a:endParaRPr lang="fr-FR"/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D086E61C-EE66-4C4A-BEC4-FBD9A1511AF2}"/>
              </a:ext>
            </a:extLst>
          </p:cNvPr>
          <p:cNvSpPr txBox="1">
            <a:spLocks/>
          </p:cNvSpPr>
          <p:nvPr/>
        </p:nvSpPr>
        <p:spPr>
          <a:xfrm>
            <a:off x="228600" y="729348"/>
            <a:ext cx="8596106" cy="252924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 defTabSz="815806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800" kern="1200">
                <a:solidFill>
                  <a:srgbClr val="027180"/>
                </a:solidFill>
                <a:latin typeface="+mj-lt"/>
                <a:ea typeface="+mn-ea"/>
                <a:cs typeface="+mn-cs"/>
              </a:defRPr>
            </a:lvl1pPr>
            <a:lvl2pPr marL="661565" indent="-254591" algn="l" defTabSz="815806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20222" indent="-202558" algn="l" defTabSz="815806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27196" indent="-202558" algn="l" defTabSz="815806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36028" indent="-202558" algn="l" defTabSz="815806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44782" indent="-204071" algn="l" defTabSz="81628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52925" indent="-204071" algn="l" defTabSz="81628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61066" indent="-204071" algn="l" defTabSz="81628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69209" indent="-204071" algn="l" defTabSz="81628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/>
              <a:t>L’Organisation de l’équipe de test</a:t>
            </a:r>
          </a:p>
        </p:txBody>
      </p:sp>
    </p:spTree>
    <p:extLst>
      <p:ext uri="{BB962C8B-B14F-4D97-AF65-F5344CB8AC3E}">
        <p14:creationId xmlns:p14="http://schemas.microsoft.com/office/powerpoint/2010/main" val="134980028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D764384-8DFC-41BF-BE36-A563A431AE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Les objectifs de l’automatisation de test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18DFA26-10F8-4880-803A-29697DD48185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>
            <a:normAutofit fontScale="92500" lnSpcReduction="10000"/>
          </a:bodyPr>
          <a:lstStyle/>
          <a:p>
            <a:r>
              <a:rPr lang="fr-FR"/>
              <a:t>Améliorer l’efficacité du test</a:t>
            </a:r>
          </a:p>
          <a:p>
            <a:pPr lvl="1"/>
            <a:r>
              <a:rPr lang="fr-FR"/>
              <a:t>Exécution des tests plus rapide</a:t>
            </a:r>
          </a:p>
          <a:p>
            <a:pPr lvl="1"/>
            <a:r>
              <a:rPr lang="fr-FR"/>
              <a:t>Exécution des tests plus fréquents (via plateforme DevOps)</a:t>
            </a:r>
          </a:p>
          <a:p>
            <a:pPr lvl="1"/>
            <a:r>
              <a:rPr lang="fr-FR"/>
              <a:t>Régressions détectées au plus tôt</a:t>
            </a:r>
            <a:r>
              <a:rPr lang="fr-FR" strike="sngStrike"/>
              <a:t> </a:t>
            </a:r>
          </a:p>
          <a:p>
            <a:pPr marL="0" indent="0">
              <a:buNone/>
            </a:pPr>
            <a:endParaRPr lang="fr-FR" strike="sngStrike"/>
          </a:p>
          <a:p>
            <a:r>
              <a:rPr lang="fr-FR"/>
              <a:t>Améliorer la couverture de test</a:t>
            </a:r>
          </a:p>
          <a:p>
            <a:pPr lvl="1"/>
            <a:r>
              <a:rPr lang="fr-FR"/>
              <a:t>Couverture de test plus large grâce à la rapidité et la fréquence</a:t>
            </a:r>
          </a:p>
          <a:p>
            <a:pPr lvl="1"/>
            <a:endParaRPr lang="fr-FR"/>
          </a:p>
          <a:p>
            <a:r>
              <a:rPr lang="fr-FR"/>
              <a:t>Optimiser l’utilisation des ressources</a:t>
            </a:r>
          </a:p>
          <a:p>
            <a:pPr lvl="1"/>
            <a:r>
              <a:rPr lang="fr-FR"/>
              <a:t>Temps machine vs temps humain</a:t>
            </a:r>
          </a:p>
          <a:p>
            <a:pPr lvl="1"/>
            <a:r>
              <a:rPr lang="fr-FR"/>
              <a:t>Focus de l’équipe sur les nouvelles fonctionnalités</a:t>
            </a:r>
          </a:p>
          <a:p>
            <a:pPr lvl="1"/>
            <a:r>
              <a:rPr lang="fr-FR"/>
              <a:t>Moins de temps passés manuellement sur les tests de régression</a:t>
            </a:r>
          </a:p>
          <a:p>
            <a:pPr lvl="1"/>
            <a:endParaRPr lang="fr-FR"/>
          </a:p>
          <a:p>
            <a:r>
              <a:rPr lang="fr-FR">
                <a:solidFill>
                  <a:srgbClr val="FF0000"/>
                </a:solidFill>
              </a:rPr>
              <a:t>Pour au final : Améliorer la qualité et la fiabilité du système sous test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8B05078-8661-433A-B759-9A06F1463655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438FEFB8-6B6E-4DC1-A5E4-A1258711B442}" type="slidenum">
              <a:rPr lang="fr-FR" smtClean="0"/>
              <a:pPr/>
              <a:t>3</a:t>
            </a:fld>
            <a:endParaRPr lang="fr-FR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18270996-ED12-4C88-835F-354F3B530F78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33E2A876-6808-42D7-B9E9-0E9017F3C491}" type="datetime1">
              <a:rPr lang="fr-FR" smtClean="0"/>
              <a:t>20/03/2023</a:t>
            </a:fld>
            <a:endParaRPr lang="fr-FR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BF0B081-2A74-4537-B175-D2267B80896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80180273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FD134C9-C070-A685-C99D-E9715F45661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Tableaux de responsabilité RACI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61D616D-EEDB-7085-E926-B4CDBD5F667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fr-FR"/>
              <a:t>Sur les activités d’automatisation de test uniquement</a:t>
            </a:r>
          </a:p>
        </p:txBody>
      </p:sp>
      <p:graphicFrame>
        <p:nvGraphicFramePr>
          <p:cNvPr id="7" name="Table 7">
            <a:extLst>
              <a:ext uri="{FF2B5EF4-FFF2-40B4-BE49-F238E27FC236}">
                <a16:creationId xmlns:a16="http://schemas.microsoft.com/office/drawing/2014/main" id="{F4B5C520-7A25-7813-6164-F69CC04BC06F}"/>
              </a:ext>
            </a:extLst>
          </p:cNvPr>
          <p:cNvGraphicFramePr>
            <a:graphicFrameLocks noGrp="1"/>
          </p:cNvGraphicFramePr>
          <p:nvPr>
            <p:ph sz="quarter" idx="13"/>
            <p:extLst>
              <p:ext uri="{D42A27DB-BD31-4B8C-83A1-F6EECF244321}">
                <p14:modId xmlns:p14="http://schemas.microsoft.com/office/powerpoint/2010/main" val="2501979054"/>
              </p:ext>
            </p:extLst>
          </p:nvPr>
        </p:nvGraphicFramePr>
        <p:xfrm>
          <a:off x="228599" y="1133475"/>
          <a:ext cx="8478371" cy="21945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408830">
                  <a:extLst>
                    <a:ext uri="{9D8B030D-6E8A-4147-A177-3AD203B41FA5}">
                      <a16:colId xmlns:a16="http://schemas.microsoft.com/office/drawing/2014/main" val="3485503197"/>
                    </a:ext>
                  </a:extLst>
                </a:gridCol>
                <a:gridCol w="1653989">
                  <a:extLst>
                    <a:ext uri="{9D8B030D-6E8A-4147-A177-3AD203B41FA5}">
                      <a16:colId xmlns:a16="http://schemas.microsoft.com/office/drawing/2014/main" val="2679392600"/>
                    </a:ext>
                  </a:extLst>
                </a:gridCol>
                <a:gridCol w="880782">
                  <a:extLst>
                    <a:ext uri="{9D8B030D-6E8A-4147-A177-3AD203B41FA5}">
                      <a16:colId xmlns:a16="http://schemas.microsoft.com/office/drawing/2014/main" val="2483367787"/>
                    </a:ext>
                  </a:extLst>
                </a:gridCol>
                <a:gridCol w="833718">
                  <a:extLst>
                    <a:ext uri="{9D8B030D-6E8A-4147-A177-3AD203B41FA5}">
                      <a16:colId xmlns:a16="http://schemas.microsoft.com/office/drawing/2014/main" val="872890970"/>
                    </a:ext>
                  </a:extLst>
                </a:gridCol>
                <a:gridCol w="874058">
                  <a:extLst>
                    <a:ext uri="{9D8B030D-6E8A-4147-A177-3AD203B41FA5}">
                      <a16:colId xmlns:a16="http://schemas.microsoft.com/office/drawing/2014/main" val="2773228566"/>
                    </a:ext>
                  </a:extLst>
                </a:gridCol>
                <a:gridCol w="826994">
                  <a:extLst>
                    <a:ext uri="{9D8B030D-6E8A-4147-A177-3AD203B41FA5}">
                      <a16:colId xmlns:a16="http://schemas.microsoft.com/office/drawing/2014/main" val="2759140742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000"/>
                        <a:t>Activit</a:t>
                      </a:r>
                      <a:r>
                        <a:rPr lang="fr-FR" sz="1000"/>
                        <a:t>é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/>
                        <a:t>Archi/TechLead</a:t>
                      </a:r>
                      <a:endParaRPr lang="fr-FR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/>
                        <a:t>Metier/PO</a:t>
                      </a:r>
                      <a:endParaRPr lang="fr-FR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81628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/>
                        <a:t>DEV</a:t>
                      </a:r>
                      <a:endParaRPr lang="fr-FR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81628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/>
                        <a:t>TE/TL</a:t>
                      </a:r>
                      <a:endParaRPr lang="fr-FR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81628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/>
                        <a:t>TAE</a:t>
                      </a:r>
                      <a:endParaRPr lang="fr-FR" sz="10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4871498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/>
                      <a:r>
                        <a:rPr lang="en-US" sz="1000"/>
                        <a:t>Architecture Logiciel</a:t>
                      </a:r>
                      <a:endParaRPr lang="fr-FR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/>
                        <a:t>R/A</a:t>
                      </a:r>
                      <a:endParaRPr lang="fr-FR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/>
                        <a:t>C</a:t>
                      </a:r>
                      <a:endParaRPr lang="fr-FR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/>
                        <a:t>I</a:t>
                      </a:r>
                      <a:endParaRPr lang="fr-FR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81628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/>
                        <a:t>I</a:t>
                      </a:r>
                      <a:endParaRPr lang="fr-FR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81628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/>
                        <a:t>I</a:t>
                      </a:r>
                      <a:endParaRPr lang="fr-FR" sz="10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6994074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/>
                      <a:r>
                        <a:rPr lang="en-US" sz="1000"/>
                        <a:t>Identifier les WebService </a:t>
                      </a:r>
                      <a:r>
                        <a:rPr lang="fr-FR" sz="1000"/>
                        <a:t>à</a:t>
                      </a:r>
                      <a:r>
                        <a:rPr lang="en-US" sz="1000"/>
                        <a:t> couvrire par le test</a:t>
                      </a:r>
                      <a:endParaRPr lang="fr-FR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/>
                        <a:t>A/C</a:t>
                      </a:r>
                      <a:endParaRPr lang="fr-FR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/>
                        <a:t>C</a:t>
                      </a:r>
                      <a:endParaRPr lang="fr-FR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/>
                        <a:t>C</a:t>
                      </a:r>
                      <a:endParaRPr lang="fr-FR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/>
                        <a:t>R</a:t>
                      </a:r>
                      <a:endParaRPr lang="fr-FR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/>
                        <a:t>I</a:t>
                      </a:r>
                      <a:endParaRPr lang="fr-FR" sz="10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6417643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/>
                      <a:r>
                        <a:rPr lang="en-US" sz="1000"/>
                        <a:t>Identifier/Revue des </a:t>
                      </a:r>
                      <a:r>
                        <a:rPr lang="en-US" sz="1000" err="1"/>
                        <a:t>parcours</a:t>
                      </a:r>
                      <a:r>
                        <a:rPr lang="en-US" sz="1000"/>
                        <a:t> cl</a:t>
                      </a:r>
                      <a:r>
                        <a:rPr lang="fr-FR" sz="1000" err="1"/>
                        <a:t>és</a:t>
                      </a:r>
                      <a:endParaRPr lang="fr-FR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/>
                        <a:t>I</a:t>
                      </a:r>
                      <a:endParaRPr lang="fr-FR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/>
                        <a:t>R</a:t>
                      </a:r>
                      <a:endParaRPr lang="fr-FR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/>
                        <a:t>I</a:t>
                      </a:r>
                      <a:endParaRPr lang="fr-FR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/>
                        <a:t>C</a:t>
                      </a:r>
                      <a:endParaRPr lang="fr-FR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/>
                        <a:t>C</a:t>
                      </a:r>
                      <a:endParaRPr lang="fr-FR" sz="10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0051696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/>
                      <a:r>
                        <a:rPr lang="en-US" sz="1000"/>
                        <a:t>Définir une strategie de test/couverture de test</a:t>
                      </a:r>
                      <a:endParaRPr lang="fr-FR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/>
                        <a:t>I</a:t>
                      </a:r>
                      <a:endParaRPr lang="fr-FR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/>
                        <a:t>I</a:t>
                      </a:r>
                      <a:endParaRPr lang="fr-FR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/>
                        <a:t>C</a:t>
                      </a:r>
                      <a:endParaRPr lang="fr-FR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/>
                        <a:t>R</a:t>
                      </a:r>
                      <a:endParaRPr lang="fr-FR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/>
                        <a:t>C</a:t>
                      </a:r>
                      <a:endParaRPr lang="fr-FR" sz="10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5636302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/>
                      <a:r>
                        <a:rPr lang="fr-FR" sz="1000"/>
                        <a:t>Conception des cas de test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000"/>
                        <a:t>I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000"/>
                        <a:t>C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000"/>
                        <a:t>I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000"/>
                        <a:t>R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000"/>
                        <a:t>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1172083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/>
                      <a:r>
                        <a:rPr lang="fr-FR" sz="1000"/>
                        <a:t>L’implémentation de l’automat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000"/>
                        <a:t>I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000"/>
                        <a:t>I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000"/>
                        <a:t>I/C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000"/>
                        <a:t>R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000"/>
                        <a:t>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6643752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/>
                      <a:r>
                        <a:rPr lang="fr-FR" sz="1000"/>
                        <a:t>L’exécution de l’automat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000"/>
                        <a:t>I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000"/>
                        <a:t>I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000"/>
                        <a:t>I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000"/>
                        <a:t>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000"/>
                        <a:t>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6745050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/>
                      <a:r>
                        <a:rPr lang="fr-FR" sz="1000"/>
                        <a:t>Le report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000"/>
                        <a:t>I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000"/>
                        <a:t>C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000"/>
                        <a:t>I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000"/>
                        <a:t>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000"/>
                        <a:t>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57327368"/>
                  </a:ext>
                </a:extLst>
              </a:tr>
            </a:tbl>
          </a:graphicData>
        </a:graphic>
      </p:graphicFrame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15B0EBD-3A0D-347B-DAA4-5A5E12604FCF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438FEFB8-6B6E-4DC1-A5E4-A1258711B442}" type="slidenum">
              <a:rPr lang="fr-FR" smtClean="0"/>
              <a:pPr/>
              <a:t>30</a:t>
            </a:fld>
            <a:endParaRPr lang="fr-FR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89EBEE78-1642-ABBF-D5FD-993FEF60E8B4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33E2A876-6808-42D7-B9E9-0E9017F3C491}" type="datetime1">
              <a:rPr lang="fr-FR" smtClean="0"/>
              <a:t>20/03/2023</a:t>
            </a:fld>
            <a:endParaRPr lang="fr-FR"/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id="{FA319ED9-A1DC-FDF1-C503-0980AA3C7FEC}"/>
              </a:ext>
            </a:extLst>
          </p:cNvPr>
          <p:cNvSpPr txBox="1"/>
          <p:nvPr/>
        </p:nvSpPr>
        <p:spPr bwMode="auto">
          <a:xfrm>
            <a:off x="228599" y="4158853"/>
            <a:ext cx="2551776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algn="l"/>
            <a:r>
              <a:rPr lang="fr-FR" sz="900" b="1" i="0">
                <a:solidFill>
                  <a:srgbClr val="202122"/>
                </a:solidFill>
                <a:effectLst/>
                <a:latin typeface="Arial" panose="020B0604020202020204" pitchFamily="34" charset="0"/>
              </a:rPr>
              <a:t>R</a:t>
            </a:r>
            <a:r>
              <a:rPr lang="fr-FR" sz="900" b="0" i="0">
                <a:solidFill>
                  <a:srgbClr val="202122"/>
                </a:solidFill>
                <a:effectLst/>
                <a:latin typeface="Arial" panose="020B0604020202020204" pitchFamily="34" charset="0"/>
              </a:rPr>
              <a:t> : Réalisateur.</a:t>
            </a:r>
          </a:p>
          <a:p>
            <a:pPr algn="l"/>
            <a:r>
              <a:rPr lang="fr-FR" sz="900" b="1" i="0">
                <a:solidFill>
                  <a:srgbClr val="202122"/>
                </a:solidFill>
                <a:effectLst/>
                <a:latin typeface="Arial" panose="020B0604020202020204" pitchFamily="34" charset="0"/>
              </a:rPr>
              <a:t>A</a:t>
            </a:r>
            <a:r>
              <a:rPr lang="fr-FR" sz="900" b="0" i="0">
                <a:solidFill>
                  <a:srgbClr val="202122"/>
                </a:solidFill>
                <a:effectLst/>
                <a:latin typeface="Arial" panose="020B0604020202020204" pitchFamily="34" charset="0"/>
              </a:rPr>
              <a:t> : Approbateur, Autorité, ou responsable </a:t>
            </a:r>
          </a:p>
          <a:p>
            <a:pPr algn="l"/>
            <a:r>
              <a:rPr lang="fr-FR" sz="900" b="1">
                <a:solidFill>
                  <a:srgbClr val="202122"/>
                </a:solidFill>
                <a:latin typeface="Arial" panose="020B0604020202020204" pitchFamily="34" charset="0"/>
              </a:rPr>
              <a:t>C</a:t>
            </a:r>
            <a:r>
              <a:rPr lang="fr-FR" sz="900" b="0" i="0">
                <a:solidFill>
                  <a:srgbClr val="202122"/>
                </a:solidFill>
                <a:effectLst/>
                <a:latin typeface="Arial" panose="020B0604020202020204" pitchFamily="34" charset="0"/>
              </a:rPr>
              <a:t> : Consulté.</a:t>
            </a:r>
          </a:p>
          <a:p>
            <a:pPr algn="l"/>
            <a:r>
              <a:rPr lang="fr-FR" sz="900" b="1" i="0">
                <a:solidFill>
                  <a:srgbClr val="202122"/>
                </a:solidFill>
                <a:effectLst/>
                <a:latin typeface="Arial" panose="020B0604020202020204" pitchFamily="34" charset="0"/>
              </a:rPr>
              <a:t>I</a:t>
            </a:r>
            <a:r>
              <a:rPr lang="fr-FR" sz="900" b="0" i="0">
                <a:solidFill>
                  <a:srgbClr val="202122"/>
                </a:solidFill>
                <a:effectLst/>
                <a:latin typeface="Arial" panose="020B0604020202020204" pitchFamily="34" charset="0"/>
              </a:rPr>
              <a:t> : Informé.</a:t>
            </a:r>
          </a:p>
        </p:txBody>
      </p:sp>
    </p:spTree>
    <p:extLst>
      <p:ext uri="{BB962C8B-B14F-4D97-AF65-F5344CB8AC3E}">
        <p14:creationId xmlns:p14="http://schemas.microsoft.com/office/powerpoint/2010/main" val="3753043822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>
            <a:extLst>
              <a:ext uri="{FF2B5EF4-FFF2-40B4-BE49-F238E27FC236}">
                <a16:creationId xmlns:a16="http://schemas.microsoft.com/office/drawing/2014/main" id="{3BC69B21-9673-4402-A996-9C79CE40E058}"/>
              </a:ext>
            </a:extLst>
          </p:cNvPr>
          <p:cNvSpPr/>
          <p:nvPr/>
        </p:nvSpPr>
        <p:spPr>
          <a:xfrm>
            <a:off x="2703654" y="1287066"/>
            <a:ext cx="2246713" cy="1939782"/>
          </a:xfrm>
          <a:prstGeom prst="rect">
            <a:avLst/>
          </a:prstGeom>
          <a:solidFill>
            <a:schemeClr val="bg1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050" err="1">
                <a:solidFill>
                  <a:srgbClr val="D6ECE9">
                    <a:lumMod val="25000"/>
                  </a:srgbClr>
                </a:solidFill>
                <a:latin typeface="Source Sans Pro"/>
              </a:rPr>
              <a:t>WebEngine</a:t>
            </a:r>
            <a:r>
              <a:rPr lang="fr-FR" sz="1050">
                <a:solidFill>
                  <a:srgbClr val="D6ECE9">
                    <a:lumMod val="25000"/>
                  </a:srgbClr>
                </a:solidFill>
                <a:latin typeface="Source Sans Pro"/>
              </a:rPr>
              <a:t> Web</a:t>
            </a:r>
          </a:p>
          <a:p>
            <a:pPr algn="ctr"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fr-FR" sz="1050">
              <a:solidFill>
                <a:srgbClr val="D6ECE9">
                  <a:lumMod val="25000"/>
                </a:srgbClr>
              </a:solidFill>
              <a:latin typeface="Source Sans Pro"/>
            </a:endParaRPr>
          </a:p>
          <a:p>
            <a:pPr algn="ctr"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fr-FR" sz="1050">
              <a:solidFill>
                <a:srgbClr val="D6ECE9">
                  <a:lumMod val="25000"/>
                </a:srgbClr>
              </a:solidFill>
              <a:latin typeface="Source Sans Pro"/>
            </a:endParaRPr>
          </a:p>
          <a:p>
            <a:pPr algn="ctr"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fr-FR" sz="825">
              <a:solidFill>
                <a:srgbClr val="D6ECE9">
                  <a:lumMod val="25000"/>
                </a:srgbClr>
              </a:solidFill>
              <a:latin typeface="Source Sans Pro"/>
            </a:endParaRPr>
          </a:p>
          <a:p>
            <a:pPr marL="406400" lvl="1" indent="-47625"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825">
                <a:solidFill>
                  <a:srgbClr val="D6ECE9">
                    <a:lumMod val="25000"/>
                  </a:srgbClr>
                </a:solidFill>
                <a:latin typeface="Source Sans Pro"/>
              </a:rPr>
              <a:t>Pour test Web et </a:t>
            </a:r>
            <a:r>
              <a:rPr lang="fr-FR" sz="825" err="1">
                <a:solidFill>
                  <a:srgbClr val="D6ECE9">
                    <a:lumMod val="25000"/>
                  </a:srgbClr>
                </a:solidFill>
                <a:latin typeface="Source Sans Pro"/>
              </a:rPr>
              <a:t>WebMobile</a:t>
            </a:r>
            <a:endParaRPr lang="fr-FR" sz="825">
              <a:solidFill>
                <a:srgbClr val="D6ECE9">
                  <a:lumMod val="25000"/>
                </a:srgbClr>
              </a:solidFill>
              <a:latin typeface="Source Sans Pro"/>
            </a:endParaRPr>
          </a:p>
          <a:p>
            <a:pPr lvl="1"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fr-FR" sz="825">
              <a:solidFill>
                <a:srgbClr val="D6ECE9">
                  <a:lumMod val="25000"/>
                </a:srgbClr>
              </a:solidFill>
              <a:latin typeface="Source Sans Pro"/>
            </a:endParaRPr>
          </a:p>
          <a:p>
            <a:pPr marL="537420" lvl="2" indent="-128588" defTabSz="685800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fr-FR" sz="788">
                <a:solidFill>
                  <a:srgbClr val="D6ECE9">
                    <a:lumMod val="25000"/>
                  </a:srgbClr>
                </a:solidFill>
                <a:latin typeface="Source Sans Pro"/>
              </a:rPr>
              <a:t>Gestion du Driver</a:t>
            </a:r>
          </a:p>
          <a:p>
            <a:pPr marL="537420" lvl="2" indent="-128588" defTabSz="685800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fr-FR" sz="788">
                <a:solidFill>
                  <a:srgbClr val="D6ECE9">
                    <a:lumMod val="25000"/>
                  </a:srgbClr>
                </a:solidFill>
                <a:latin typeface="Source Sans Pro"/>
              </a:rPr>
              <a:t>Web Model</a:t>
            </a:r>
          </a:p>
          <a:p>
            <a:pPr marL="537420" lvl="2" indent="-128588" defTabSz="685800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fr-FR" sz="788" err="1">
                <a:solidFill>
                  <a:srgbClr val="D6ECE9">
                    <a:lumMod val="25000"/>
                  </a:srgbClr>
                </a:solidFill>
                <a:latin typeface="Source Sans Pro"/>
              </a:rPr>
              <a:t>Synchonisation</a:t>
            </a:r>
            <a:r>
              <a:rPr lang="fr-FR" sz="788">
                <a:solidFill>
                  <a:srgbClr val="D6ECE9">
                    <a:lumMod val="25000"/>
                  </a:srgbClr>
                </a:solidFill>
                <a:latin typeface="Source Sans Pro"/>
              </a:rPr>
              <a:t> des objets</a:t>
            </a:r>
          </a:p>
          <a:p>
            <a:pPr marL="537420" lvl="2" indent="-128588" defTabSz="685800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fr-FR" sz="788">
                <a:solidFill>
                  <a:srgbClr val="D6ECE9">
                    <a:lumMod val="25000"/>
                  </a:srgbClr>
                </a:solidFill>
                <a:latin typeface="Source Sans Pro"/>
              </a:rPr>
              <a:t>Orienté</a:t>
            </a:r>
            <a:r>
              <a:rPr lang="en-US" sz="788">
                <a:solidFill>
                  <a:srgbClr val="D6ECE9">
                    <a:lumMod val="25000"/>
                  </a:srgbClr>
                </a:solidFill>
                <a:latin typeface="Source Sans Pro"/>
              </a:rPr>
              <a:t> </a:t>
            </a:r>
            <a:r>
              <a:rPr lang="en-US" sz="788" err="1">
                <a:solidFill>
                  <a:srgbClr val="D6ECE9">
                    <a:lumMod val="25000"/>
                  </a:srgbClr>
                </a:solidFill>
                <a:latin typeface="Source Sans Pro"/>
              </a:rPr>
              <a:t>objet</a:t>
            </a:r>
            <a:endParaRPr lang="en-US" sz="788">
              <a:solidFill>
                <a:srgbClr val="D6ECE9">
                  <a:lumMod val="25000"/>
                </a:srgbClr>
              </a:solidFill>
              <a:latin typeface="Source Sans Pro"/>
            </a:endParaRPr>
          </a:p>
          <a:p>
            <a:pPr marL="537420" lvl="2" indent="-128588" defTabSz="685800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sz="788" err="1">
                <a:solidFill>
                  <a:srgbClr val="D6ECE9">
                    <a:lumMod val="25000"/>
                  </a:srgbClr>
                </a:solidFill>
                <a:latin typeface="Source Sans Pro"/>
              </a:rPr>
              <a:t>Connexion</a:t>
            </a:r>
            <a:r>
              <a:rPr lang="en-US" sz="788">
                <a:solidFill>
                  <a:srgbClr val="D6ECE9">
                    <a:lumMod val="25000"/>
                  </a:srgbClr>
                </a:solidFill>
                <a:latin typeface="Source Sans Pro"/>
              </a:rPr>
              <a:t> Grid + Device</a:t>
            </a:r>
            <a:endParaRPr lang="fr-FR" sz="788">
              <a:solidFill>
                <a:srgbClr val="D6ECE9">
                  <a:lumMod val="25000"/>
                </a:srgbClr>
              </a:solidFill>
              <a:latin typeface="Source Sans Pro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FE216A78-E7D2-46C7-8033-E087F306E12D}"/>
              </a:ext>
            </a:extLst>
          </p:cNvPr>
          <p:cNvSpPr/>
          <p:nvPr/>
        </p:nvSpPr>
        <p:spPr>
          <a:xfrm>
            <a:off x="5094200" y="1287066"/>
            <a:ext cx="2267282" cy="1939782"/>
          </a:xfrm>
          <a:prstGeom prst="rect">
            <a:avLst/>
          </a:prstGeom>
          <a:solidFill>
            <a:schemeClr val="bg1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050" err="1">
                <a:solidFill>
                  <a:srgbClr val="D6ECE9">
                    <a:lumMod val="25000"/>
                  </a:srgbClr>
                </a:solidFill>
                <a:latin typeface="Source Sans Pro"/>
              </a:rPr>
              <a:t>WebEngine</a:t>
            </a:r>
            <a:r>
              <a:rPr lang="fr-FR" sz="1050">
                <a:solidFill>
                  <a:srgbClr val="D6ECE9">
                    <a:lumMod val="25000"/>
                  </a:srgbClr>
                </a:solidFill>
                <a:latin typeface="Source Sans Pro"/>
              </a:rPr>
              <a:t> </a:t>
            </a:r>
            <a:r>
              <a:rPr lang="fr-FR" sz="1050" err="1">
                <a:solidFill>
                  <a:srgbClr val="D6ECE9">
                    <a:lumMod val="25000"/>
                  </a:srgbClr>
                </a:solidFill>
                <a:latin typeface="Source Sans Pro"/>
              </a:rPr>
              <a:t>AppMobile</a:t>
            </a:r>
            <a:endParaRPr lang="fr-FR" sz="1050">
              <a:solidFill>
                <a:srgbClr val="D6ECE9">
                  <a:lumMod val="25000"/>
                </a:srgbClr>
              </a:solidFill>
              <a:latin typeface="Source Sans Pro"/>
            </a:endParaRPr>
          </a:p>
          <a:p>
            <a:pPr algn="ctr"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fr-FR" sz="1050">
              <a:solidFill>
                <a:srgbClr val="D6ECE9">
                  <a:lumMod val="25000"/>
                </a:srgbClr>
              </a:solidFill>
              <a:latin typeface="Source Sans Pro"/>
            </a:endParaRPr>
          </a:p>
          <a:p>
            <a:pPr algn="ctr"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fr-FR" sz="1050">
              <a:solidFill>
                <a:srgbClr val="D6ECE9">
                  <a:lumMod val="25000"/>
                </a:srgbClr>
              </a:solidFill>
              <a:latin typeface="Source Sans Pro"/>
            </a:endParaRPr>
          </a:p>
          <a:p>
            <a:pPr algn="ctr"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fr-FR" sz="1050">
              <a:solidFill>
                <a:srgbClr val="D6ECE9">
                  <a:lumMod val="25000"/>
                </a:srgbClr>
              </a:solidFill>
              <a:latin typeface="Source Sans Pro"/>
            </a:endParaRPr>
          </a:p>
          <a:p>
            <a:pPr marL="406400" lvl="1" indent="-47625"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825">
                <a:solidFill>
                  <a:srgbClr val="D6ECE9">
                    <a:lumMod val="25000"/>
                  </a:srgbClr>
                </a:solidFill>
                <a:latin typeface="Source Sans Pro"/>
              </a:rPr>
              <a:t>Pour test App Mobile</a:t>
            </a:r>
          </a:p>
          <a:p>
            <a:pPr marL="880320" lvl="2" indent="-128588" defTabSz="685800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endParaRPr lang="fr-FR" sz="788">
              <a:solidFill>
                <a:srgbClr val="D6ECE9">
                  <a:lumMod val="25000"/>
                </a:srgbClr>
              </a:solidFill>
              <a:latin typeface="Source Sans Pro"/>
            </a:endParaRPr>
          </a:p>
          <a:p>
            <a:pPr marL="537420" lvl="2" indent="-128588" defTabSz="685800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fr-FR" sz="788">
                <a:solidFill>
                  <a:srgbClr val="D6ECE9">
                    <a:lumMod val="25000"/>
                  </a:srgbClr>
                </a:solidFill>
                <a:latin typeface="Source Sans Pro"/>
              </a:rPr>
              <a:t>App Model</a:t>
            </a:r>
          </a:p>
          <a:p>
            <a:pPr marL="537420" lvl="2" indent="-128588" defTabSz="685800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fr-FR" sz="788" err="1">
                <a:solidFill>
                  <a:srgbClr val="D6ECE9">
                    <a:lumMod val="25000"/>
                  </a:srgbClr>
                </a:solidFill>
                <a:latin typeface="Source Sans Pro"/>
              </a:rPr>
              <a:t>Synchonisation</a:t>
            </a:r>
            <a:r>
              <a:rPr lang="fr-FR" sz="788">
                <a:solidFill>
                  <a:srgbClr val="D6ECE9">
                    <a:lumMod val="25000"/>
                  </a:srgbClr>
                </a:solidFill>
                <a:latin typeface="Source Sans Pro"/>
              </a:rPr>
              <a:t> des objets</a:t>
            </a:r>
          </a:p>
          <a:p>
            <a:pPr marL="537420" lvl="2" indent="-128588" defTabSz="685800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fr-FR" sz="788">
                <a:solidFill>
                  <a:srgbClr val="D6ECE9">
                    <a:lumMod val="25000"/>
                  </a:srgbClr>
                </a:solidFill>
                <a:latin typeface="Source Sans Pro"/>
              </a:rPr>
              <a:t>Gestion de Contexte</a:t>
            </a:r>
          </a:p>
          <a:p>
            <a:pPr marL="537420" lvl="2" indent="-128588" defTabSz="685800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fr-FR" sz="788">
                <a:solidFill>
                  <a:srgbClr val="D6ECE9">
                    <a:lumMod val="25000"/>
                  </a:srgbClr>
                </a:solidFill>
                <a:latin typeface="Source Sans Pro"/>
              </a:rPr>
              <a:t>Orienté</a:t>
            </a:r>
            <a:r>
              <a:rPr lang="en-US" sz="788">
                <a:solidFill>
                  <a:srgbClr val="D6ECE9">
                    <a:lumMod val="25000"/>
                  </a:srgbClr>
                </a:solidFill>
                <a:latin typeface="Source Sans Pro"/>
              </a:rPr>
              <a:t> </a:t>
            </a:r>
            <a:r>
              <a:rPr lang="en-US" sz="788" err="1">
                <a:solidFill>
                  <a:srgbClr val="D6ECE9">
                    <a:lumMod val="25000"/>
                  </a:srgbClr>
                </a:solidFill>
                <a:latin typeface="Source Sans Pro"/>
              </a:rPr>
              <a:t>objet</a:t>
            </a:r>
            <a:endParaRPr lang="en-US" sz="788">
              <a:solidFill>
                <a:srgbClr val="D6ECE9">
                  <a:lumMod val="25000"/>
                </a:srgbClr>
              </a:solidFill>
              <a:latin typeface="Source Sans Pro"/>
            </a:endParaRPr>
          </a:p>
          <a:p>
            <a:pPr marL="537420" lvl="2" indent="-128588" defTabSz="685800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sz="788" err="1">
                <a:solidFill>
                  <a:srgbClr val="D6ECE9">
                    <a:lumMod val="25000"/>
                  </a:srgbClr>
                </a:solidFill>
                <a:latin typeface="Source Sans Pro"/>
              </a:rPr>
              <a:t>Connexion</a:t>
            </a:r>
            <a:r>
              <a:rPr lang="en-US" sz="788">
                <a:solidFill>
                  <a:srgbClr val="D6ECE9">
                    <a:lumMod val="25000"/>
                  </a:srgbClr>
                </a:solidFill>
                <a:latin typeface="Source Sans Pro"/>
              </a:rPr>
              <a:t> Grid + Device</a:t>
            </a:r>
            <a:endParaRPr lang="fr-FR" sz="788">
              <a:solidFill>
                <a:srgbClr val="D6ECE9">
                  <a:lumMod val="25000"/>
                </a:srgbClr>
              </a:solidFill>
              <a:latin typeface="Source Sans Pro"/>
            </a:endParaRPr>
          </a:p>
          <a:p>
            <a:pPr algn="ctr"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fr-FR" sz="1050">
              <a:solidFill>
                <a:srgbClr val="D6ECE9">
                  <a:lumMod val="25000"/>
                </a:srgbClr>
              </a:solidFill>
              <a:latin typeface="Source Sans Pro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22878E13-E2D8-4802-AC6A-E2AA1240EAD1}"/>
              </a:ext>
            </a:extLst>
          </p:cNvPr>
          <p:cNvSpPr/>
          <p:nvPr/>
        </p:nvSpPr>
        <p:spPr>
          <a:xfrm>
            <a:off x="2693231" y="3373054"/>
            <a:ext cx="2246713" cy="718504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050">
                <a:solidFill>
                  <a:srgbClr val="FFFFFF"/>
                </a:solidFill>
                <a:latin typeface="Source Sans Pro"/>
              </a:rPr>
              <a:t>Projets de Test Web</a:t>
            </a:r>
          </a:p>
          <a:p>
            <a:pPr algn="ctr"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050">
                <a:solidFill>
                  <a:srgbClr val="FFFFFF"/>
                </a:solidFill>
                <a:latin typeface="Source Sans Pro"/>
              </a:rPr>
              <a:t>(Desktop + Mobile)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57B9D499-DF3B-4690-9961-33AF1FC91FDD}"/>
              </a:ext>
            </a:extLst>
          </p:cNvPr>
          <p:cNvSpPr/>
          <p:nvPr/>
        </p:nvSpPr>
        <p:spPr>
          <a:xfrm>
            <a:off x="5084243" y="3379390"/>
            <a:ext cx="2277240" cy="712167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050">
                <a:solidFill>
                  <a:srgbClr val="FFFFFF"/>
                </a:solidFill>
                <a:latin typeface="Source Sans Pro"/>
              </a:rPr>
              <a:t>Projets de Test App Mobile</a:t>
            </a:r>
          </a:p>
        </p:txBody>
      </p:sp>
      <p:pic>
        <p:nvPicPr>
          <p:cNvPr id="33" name="Picture 4" descr="Afficher l’image source">
            <a:extLst>
              <a:ext uri="{FF2B5EF4-FFF2-40B4-BE49-F238E27FC236}">
                <a16:creationId xmlns:a16="http://schemas.microsoft.com/office/drawing/2014/main" id="{56E2CF98-5C55-4389-8C53-DCD679229A9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89873" y="1578951"/>
            <a:ext cx="274274" cy="285294"/>
          </a:xfrm>
          <a:prstGeom prst="rect">
            <a:avLst/>
          </a:prstGeom>
          <a:noFill/>
          <a:ln>
            <a:solidFill>
              <a:schemeClr val="bg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4" name="Picture 4" descr="Afficher l’image source">
            <a:extLst>
              <a:ext uri="{FF2B5EF4-FFF2-40B4-BE49-F238E27FC236}">
                <a16:creationId xmlns:a16="http://schemas.microsoft.com/office/drawing/2014/main" id="{BBE4CD57-A2F8-413B-A40E-34717B9A361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44181" y="1578951"/>
            <a:ext cx="274274" cy="285294"/>
          </a:xfrm>
          <a:prstGeom prst="rect">
            <a:avLst/>
          </a:prstGeom>
          <a:noFill/>
          <a:ln>
            <a:solidFill>
              <a:schemeClr val="bg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5" name="Picture 2" descr="Afficher l’image source">
            <a:extLst>
              <a:ext uri="{FF2B5EF4-FFF2-40B4-BE49-F238E27FC236}">
                <a16:creationId xmlns:a16="http://schemas.microsoft.com/office/drawing/2014/main" id="{E85FE648-ED07-48BD-8766-A8A13A51E6D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46115" y="1597539"/>
            <a:ext cx="273359" cy="2731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Rectangle 21">
            <a:extLst>
              <a:ext uri="{FF2B5EF4-FFF2-40B4-BE49-F238E27FC236}">
                <a16:creationId xmlns:a16="http://schemas.microsoft.com/office/drawing/2014/main" id="{BC88CEC1-A6FE-4804-B20E-0F4CEC704419}"/>
              </a:ext>
            </a:extLst>
          </p:cNvPr>
          <p:cNvSpPr/>
          <p:nvPr/>
        </p:nvSpPr>
        <p:spPr>
          <a:xfrm>
            <a:off x="277317" y="1"/>
            <a:ext cx="7084166" cy="1180648"/>
          </a:xfrm>
          <a:prstGeom prst="rect">
            <a:avLst/>
          </a:prstGeom>
          <a:solidFill>
            <a:schemeClr val="accent2"/>
          </a:solidFill>
          <a:ln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050" err="1">
                <a:solidFill>
                  <a:srgbClr val="002060"/>
                </a:solidFill>
                <a:latin typeface="Source Sans Pro"/>
              </a:rPr>
              <a:t>WebEngine</a:t>
            </a:r>
            <a:r>
              <a:rPr lang="fr-FR" sz="1050">
                <a:solidFill>
                  <a:srgbClr val="002060"/>
                </a:solidFill>
                <a:latin typeface="Source Sans Pro"/>
              </a:rPr>
              <a:t> de Base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255C7B3D-3955-4691-A5B2-45A4FF78550F}"/>
              </a:ext>
            </a:extLst>
          </p:cNvPr>
          <p:cNvSpPr/>
          <p:nvPr/>
        </p:nvSpPr>
        <p:spPr>
          <a:xfrm>
            <a:off x="277318" y="4197970"/>
            <a:ext cx="7084166" cy="718503"/>
          </a:xfrm>
          <a:prstGeom prst="rect">
            <a:avLst/>
          </a:prstGeom>
          <a:solidFill>
            <a:schemeClr val="accent2"/>
          </a:solidFill>
          <a:ln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050">
                <a:solidFill>
                  <a:srgbClr val="002060"/>
                </a:solidFill>
                <a:latin typeface="Source Sans Pro"/>
              </a:rPr>
              <a:t>L’ordonnanceur de test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045E6862-F740-46CF-9052-28E961D14841}"/>
              </a:ext>
            </a:extLst>
          </p:cNvPr>
          <p:cNvSpPr/>
          <p:nvPr/>
        </p:nvSpPr>
        <p:spPr>
          <a:xfrm>
            <a:off x="277320" y="3379390"/>
            <a:ext cx="2258641" cy="712168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050">
                <a:solidFill>
                  <a:srgbClr val="FFFFFF"/>
                </a:solidFill>
                <a:latin typeface="Source Sans Pro"/>
              </a:rPr>
              <a:t>Projets de Test Web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AEBE766B-34A2-4D68-B8FD-F164648F6038}"/>
              </a:ext>
            </a:extLst>
          </p:cNvPr>
          <p:cNvSpPr/>
          <p:nvPr/>
        </p:nvSpPr>
        <p:spPr>
          <a:xfrm>
            <a:off x="7493286" y="0"/>
            <a:ext cx="1215999" cy="4922684"/>
          </a:xfrm>
          <a:prstGeom prst="rect">
            <a:avLst/>
          </a:prstGeom>
          <a:solidFill>
            <a:schemeClr val="accent2"/>
          </a:solidFill>
          <a:ln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050" err="1">
                <a:solidFill>
                  <a:srgbClr val="002060"/>
                </a:solidFill>
                <a:latin typeface="Source Sans Pro"/>
              </a:rPr>
              <a:t>Add-in</a:t>
            </a:r>
            <a:endParaRPr lang="fr-FR" sz="1050">
              <a:solidFill>
                <a:srgbClr val="002060"/>
              </a:solidFill>
              <a:latin typeface="Source Sans Pro"/>
            </a:endParaRPr>
          </a:p>
          <a:p>
            <a:pPr algn="ctr"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fr-FR" sz="1050">
              <a:solidFill>
                <a:srgbClr val="002060"/>
              </a:solidFill>
              <a:latin typeface="Source Sans Pro"/>
            </a:endParaRPr>
          </a:p>
          <a:p>
            <a:pPr algn="ctr"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050">
                <a:solidFill>
                  <a:srgbClr val="002060"/>
                </a:solidFill>
                <a:latin typeface="Source Sans Pro"/>
              </a:rPr>
              <a:t>Excel</a:t>
            </a:r>
          </a:p>
        </p:txBody>
      </p:sp>
      <p:grpSp>
        <p:nvGrpSpPr>
          <p:cNvPr id="17" name="Group 16"/>
          <p:cNvGrpSpPr/>
          <p:nvPr/>
        </p:nvGrpSpPr>
        <p:grpSpPr>
          <a:xfrm>
            <a:off x="3101188" y="243384"/>
            <a:ext cx="703672" cy="818647"/>
            <a:chOff x="1219674" y="1331276"/>
            <a:chExt cx="1523683" cy="1808164"/>
          </a:xfrm>
        </p:grpSpPr>
        <p:sp>
          <p:nvSpPr>
            <p:cNvPr id="9" name="Rectangle 8"/>
            <p:cNvSpPr/>
            <p:nvPr/>
          </p:nvSpPr>
          <p:spPr>
            <a:xfrm>
              <a:off x="1219674" y="1331276"/>
              <a:ext cx="1523683" cy="1808164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b"/>
            <a:lstStyle/>
            <a:p>
              <a:pPr algn="ctr" defTabSz="68580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fr-FR" sz="675">
                  <a:solidFill>
                    <a:srgbClr val="002060"/>
                  </a:solidFill>
                  <a:latin typeface="Segoe UI Light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Données</a:t>
              </a:r>
            </a:p>
          </p:txBody>
        </p:sp>
        <p:pic>
          <p:nvPicPr>
            <p:cNvPr id="2050" name="Picture 2" descr="https://www.thermofisher.com/fr/fr/home/clinical/preclinical-companion-diagnostic-development/oncomine-cancer-research-panel-workflow/_jcr_content/MainParsys/tabworkflowcontainer/container-cce1e3ae-1261-4519-a7eb-59a622ea1986/tab/image_dcb.img.jpg/1429726097745.jpg"/>
            <p:cNvPicPr>
              <a:picLocks noChangeAspect="1" noChangeArrowheads="1"/>
            </p:cNvPicPr>
            <p:nvPr/>
          </p:nvPicPr>
          <p:blipFill>
            <a:blip r:embed="rId5">
              <a:alphaModFix/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ackgroundRemoval t="10000" b="90000" l="10000" r="90000">
                          <a14:foregroundMark x1="29429" y1="25429" x2="29429" y2="25429"/>
                          <a14:foregroundMark x1="69429" y1="56000" x2="69429" y2="56000"/>
                          <a14:foregroundMark x1="76571" y1="52571" x2="76571" y2="52571"/>
                          <a14:foregroundMark x1="74286" y1="54857" x2="74286" y2="54857"/>
                          <a14:foregroundMark x1="71714" y1="60857" x2="71714" y2="65429"/>
                          <a14:foregroundMark x1="72857" y1="74857" x2="72857" y2="74857"/>
                          <a14:foregroundMark x1="72857" y1="83143" x2="72857" y2="83143"/>
                          <a14:foregroundMark x1="69429" y1="82000" x2="69429" y2="82000"/>
                          <a14:foregroundMark x1="69429" y1="82000" x2="69429" y2="82000"/>
                          <a14:foregroundMark x1="67143" y1="80571" x2="67143" y2="68857"/>
                          <a14:foregroundMark x1="67143" y1="64286" x2="66000" y2="58286"/>
                          <a14:foregroundMark x1="66000" y1="58286" x2="66000" y2="58286"/>
                          <a14:foregroundMark x1="70571" y1="50286" x2="70571" y2="50286"/>
                          <a14:foregroundMark x1="74286" y1="50286" x2="74286" y2="50286"/>
                          <a14:foregroundMark x1="74286" y1="47714" x2="74286" y2="47714"/>
                          <a14:foregroundMark x1="75429" y1="47714" x2="76571" y2="47714"/>
                          <a14:foregroundMark x1="76571" y1="47714" x2="76571" y2="47714"/>
                          <a14:foregroundMark x1="71714" y1="68857" x2="70571" y2="73714"/>
                          <a14:foregroundMark x1="70571" y1="77143" x2="70571" y2="77143"/>
                          <a14:foregroundMark x1="70571" y1="79429" x2="70571" y2="79429"/>
                          <a14:foregroundMark x1="70571" y1="80571" x2="70571" y2="80571"/>
                          <a14:foregroundMark x1="69429" y1="80571" x2="69429" y2="80571"/>
                          <a14:foregroundMark x1="69429" y1="84286" x2="69429" y2="84286"/>
                          <a14:foregroundMark x1="69429" y1="84286" x2="69429" y2="84286"/>
                          <a14:foregroundMark x1="64857" y1="84286" x2="64857" y2="84286"/>
                          <a14:foregroundMark x1="62286" y1="84286" x2="62286" y2="84286"/>
                          <a14:foregroundMark x1="57714" y1="84286" x2="57714" y2="84286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442717" y="1502885"/>
              <a:ext cx="1077595" cy="107759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8" name="Group 17"/>
          <p:cNvGrpSpPr/>
          <p:nvPr/>
        </p:nvGrpSpPr>
        <p:grpSpPr>
          <a:xfrm>
            <a:off x="2299178" y="249491"/>
            <a:ext cx="670209" cy="806434"/>
            <a:chOff x="2885440" y="1331276"/>
            <a:chExt cx="1473200" cy="1808164"/>
          </a:xfrm>
        </p:grpSpPr>
        <p:sp>
          <p:nvSpPr>
            <p:cNvPr id="10" name="Rectangle 9"/>
            <p:cNvSpPr/>
            <p:nvPr/>
          </p:nvSpPr>
          <p:spPr>
            <a:xfrm>
              <a:off x="2885440" y="1331276"/>
              <a:ext cx="1473200" cy="1808164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b"/>
            <a:lstStyle/>
            <a:p>
              <a:pPr algn="ctr" defTabSz="68580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fr-FR" sz="675">
                  <a:solidFill>
                    <a:srgbClr val="002060"/>
                  </a:solidFill>
                  <a:latin typeface="Segoe UI Light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Structure</a:t>
              </a:r>
            </a:p>
          </p:txBody>
        </p:sp>
        <p:pic>
          <p:nvPicPr>
            <p:cNvPr id="2052" name="Picture 4" descr="http://www.iconshock.com/img_vista/WINDOWS8/project_management/jpg/work_breakdown_structure_icon.jpg"/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BEBA8EAE-BF5A-486C-A8C5-ECC9F3942E4B}">
                  <a14:imgProps xmlns:a14="http://schemas.microsoft.com/office/drawing/2010/main">
                    <a14:imgLayer r:embed="rId8">
                      <a14:imgEffect>
                        <a14:backgroundRemoval t="9766" b="89844" l="8594" r="89844">
                          <a14:foregroundMark x1="83203" y1="9766" x2="83203" y2="9766"/>
                          <a14:foregroundMark x1="90234" y1="57422" x2="90234" y2="57422"/>
                          <a14:foregroundMark x1="8594" y1="53125" x2="8594" y2="53125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094990" y="1592818"/>
              <a:ext cx="1054100" cy="10541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9" name="Group 18"/>
          <p:cNvGrpSpPr/>
          <p:nvPr/>
        </p:nvGrpSpPr>
        <p:grpSpPr>
          <a:xfrm>
            <a:off x="3936663" y="249491"/>
            <a:ext cx="697941" cy="806434"/>
            <a:chOff x="4511040" y="1331276"/>
            <a:chExt cx="1534160" cy="1808164"/>
          </a:xfrm>
        </p:grpSpPr>
        <p:sp>
          <p:nvSpPr>
            <p:cNvPr id="11" name="Rectangle 10"/>
            <p:cNvSpPr/>
            <p:nvPr/>
          </p:nvSpPr>
          <p:spPr>
            <a:xfrm>
              <a:off x="4511040" y="1331276"/>
              <a:ext cx="1534160" cy="1808164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b"/>
            <a:lstStyle/>
            <a:p>
              <a:pPr algn="ctr" defTabSz="68580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fr-FR" sz="675">
                  <a:solidFill>
                    <a:srgbClr val="002060"/>
                  </a:solidFill>
                  <a:latin typeface="Segoe UI Light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Processus</a:t>
              </a:r>
            </a:p>
          </p:txBody>
        </p:sp>
        <p:pic>
          <p:nvPicPr>
            <p:cNvPr id="2054" name="Picture 6" descr="brain, mind, process, think icon"/>
            <p:cNvPicPr>
              <a:picLocks noChangeAspect="1"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57420" y="1520983"/>
              <a:ext cx="1041400" cy="104140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0" name="Group 19"/>
          <p:cNvGrpSpPr/>
          <p:nvPr/>
        </p:nvGrpSpPr>
        <p:grpSpPr>
          <a:xfrm>
            <a:off x="4766405" y="243384"/>
            <a:ext cx="708510" cy="818647"/>
            <a:chOff x="6197600" y="1330960"/>
            <a:chExt cx="1534160" cy="1808164"/>
          </a:xfrm>
        </p:grpSpPr>
        <p:sp>
          <p:nvSpPr>
            <p:cNvPr id="21" name="Rectangle 20"/>
            <p:cNvSpPr/>
            <p:nvPr/>
          </p:nvSpPr>
          <p:spPr>
            <a:xfrm>
              <a:off x="6197600" y="1330960"/>
              <a:ext cx="1534160" cy="1808164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b"/>
            <a:lstStyle/>
            <a:p>
              <a:pPr algn="ctr" defTabSz="68580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fr-FR" sz="675">
                  <a:solidFill>
                    <a:srgbClr val="002060"/>
                  </a:solidFill>
                  <a:latin typeface="Segoe UI Light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Rapport</a:t>
              </a:r>
            </a:p>
          </p:txBody>
        </p:sp>
        <p:pic>
          <p:nvPicPr>
            <p:cNvPr id="2056" name="Picture 8" descr="chart, graph, infographic, investment, report, stocks icon"/>
            <p:cNvPicPr>
              <a:picLocks noChangeAspect="1" noChangeArrowheads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453108" y="1539239"/>
              <a:ext cx="1023144" cy="102314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36" name="Rectangle 35">
            <a:extLst>
              <a:ext uri="{FF2B5EF4-FFF2-40B4-BE49-F238E27FC236}">
                <a16:creationId xmlns:a16="http://schemas.microsoft.com/office/drawing/2014/main" id="{359F12FE-2AA1-4316-8D48-0A55C916285E}"/>
              </a:ext>
            </a:extLst>
          </p:cNvPr>
          <p:cNvSpPr/>
          <p:nvPr/>
        </p:nvSpPr>
        <p:spPr>
          <a:xfrm>
            <a:off x="277318" y="1297089"/>
            <a:ext cx="2246713" cy="1939782"/>
          </a:xfrm>
          <a:prstGeom prst="rect">
            <a:avLst/>
          </a:prstGeom>
          <a:solidFill>
            <a:schemeClr val="bg1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68580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fr-FR" sz="1050" err="1">
                <a:solidFill>
                  <a:srgbClr val="D6ECE9">
                    <a:lumMod val="25000"/>
                  </a:srgbClr>
                </a:solidFill>
                <a:latin typeface="Source Sans Pro"/>
              </a:rPr>
              <a:t>WebEngine</a:t>
            </a:r>
            <a:r>
              <a:rPr lang="fr-FR" sz="1050">
                <a:solidFill>
                  <a:srgbClr val="D6ECE9">
                    <a:lumMod val="25000"/>
                  </a:srgbClr>
                </a:solidFill>
                <a:latin typeface="Source Sans Pro"/>
              </a:rPr>
              <a:t> </a:t>
            </a:r>
            <a:r>
              <a:rPr lang="fr-FR" sz="1050" err="1">
                <a:solidFill>
                  <a:srgbClr val="D6ECE9">
                    <a:lumMod val="25000"/>
                  </a:srgbClr>
                </a:solidFill>
                <a:latin typeface="Source Sans Pro"/>
              </a:rPr>
              <a:t>DriveByExcel</a:t>
            </a:r>
            <a:endParaRPr lang="fr-FR" sz="1050">
              <a:solidFill>
                <a:srgbClr val="D6ECE9">
                  <a:lumMod val="25000"/>
                </a:srgbClr>
              </a:solidFill>
              <a:latin typeface="Source Sans Pro"/>
            </a:endParaRPr>
          </a:p>
          <a:p>
            <a:pPr algn="ctr" defTabSz="685800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 sz="1050">
              <a:solidFill>
                <a:srgbClr val="D6ECE9">
                  <a:lumMod val="25000"/>
                </a:srgbClr>
              </a:solidFill>
              <a:latin typeface="Source Sans Pro"/>
            </a:endParaRPr>
          </a:p>
          <a:p>
            <a:pPr algn="ctr" defTabSz="685800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 sz="1050">
              <a:solidFill>
                <a:srgbClr val="D6ECE9">
                  <a:lumMod val="25000"/>
                </a:srgbClr>
              </a:solidFill>
              <a:latin typeface="Source Sans Pro"/>
            </a:endParaRPr>
          </a:p>
          <a:p>
            <a:pPr algn="ctr"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fr-FR" sz="825">
              <a:solidFill>
                <a:srgbClr val="D6ECE9">
                  <a:lumMod val="25000"/>
                </a:srgbClr>
              </a:solidFill>
              <a:latin typeface="Source Sans Pro"/>
            </a:endParaRPr>
          </a:p>
          <a:p>
            <a:pPr marL="406400" lvl="1" indent="-47625" defTabSz="358775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825">
                <a:solidFill>
                  <a:srgbClr val="D6ECE9">
                    <a:lumMod val="25000"/>
                  </a:srgbClr>
                </a:solidFill>
                <a:latin typeface="Source Sans Pro"/>
              </a:rPr>
              <a:t>Pour test Web</a:t>
            </a:r>
          </a:p>
          <a:p>
            <a:pPr lvl="1" algn="ctr"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fr-FR" sz="825">
              <a:solidFill>
                <a:srgbClr val="D6ECE9">
                  <a:lumMod val="25000"/>
                </a:srgbClr>
              </a:solidFill>
              <a:latin typeface="Source Sans Pro"/>
            </a:endParaRPr>
          </a:p>
          <a:p>
            <a:pPr marL="537420" lvl="2" indent="-128588" defTabSz="685800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fr-FR" sz="825">
                <a:solidFill>
                  <a:srgbClr val="D6ECE9">
                    <a:lumMod val="25000"/>
                  </a:srgbClr>
                </a:solidFill>
                <a:latin typeface="Source Sans Pro"/>
              </a:rPr>
              <a:t>Gestion du Driver/de licence LFT</a:t>
            </a:r>
          </a:p>
          <a:p>
            <a:pPr marL="537420" lvl="2" indent="-128588" defTabSz="685800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fr-FR" sz="825">
                <a:solidFill>
                  <a:srgbClr val="D6ECE9">
                    <a:lumMod val="25000"/>
                  </a:srgbClr>
                </a:solidFill>
                <a:latin typeface="Source Sans Pro"/>
              </a:rPr>
              <a:t>Objets présents dans le JDD</a:t>
            </a:r>
          </a:p>
        </p:txBody>
      </p:sp>
      <p:sp>
        <p:nvSpPr>
          <p:cNvPr id="2" name="Rectangle: Rounded Corners 48">
            <a:extLst>
              <a:ext uri="{FF2B5EF4-FFF2-40B4-BE49-F238E27FC236}">
                <a16:creationId xmlns:a16="http://schemas.microsoft.com/office/drawing/2014/main" id="{039BC078-81C8-0381-9405-BACC9356E340}"/>
              </a:ext>
            </a:extLst>
          </p:cNvPr>
          <p:cNvSpPr/>
          <p:nvPr/>
        </p:nvSpPr>
        <p:spPr>
          <a:xfrm>
            <a:off x="1133301" y="1524201"/>
            <a:ext cx="392158" cy="346529"/>
          </a:xfrm>
          <a:prstGeom prst="roundRect">
            <a:avLst>
              <a:gd name="adj" fmla="val 0"/>
            </a:avLst>
          </a:prstGeom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rIns="0" rtlCol="0" anchor="ctr"/>
          <a:lstStyle/>
          <a:p>
            <a:pPr algn="ctr" defTabSz="1087714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fr-FR" sz="700">
                <a:solidFill>
                  <a:srgbClr val="02718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rive</a:t>
            </a:r>
          </a:p>
          <a:p>
            <a:pPr algn="ctr" defTabSz="1087714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fr-FR" sz="700">
                <a:solidFill>
                  <a:srgbClr val="02718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By</a:t>
            </a: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1E265F50-E8E2-9C71-0C00-195A8619F4C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11528" y="1721598"/>
            <a:ext cx="267891" cy="2490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35106721"/>
      </p:ext>
    </p:extLst>
  </p:cSld>
  <p:clrMapOvr>
    <a:masterClrMapping/>
  </p:clrMapOvr>
</p:sld>
</file>

<file path=ppt/slides/slide3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>
            <a:extLst>
              <a:ext uri="{FF2B5EF4-FFF2-40B4-BE49-F238E27FC236}">
                <a16:creationId xmlns:a16="http://schemas.microsoft.com/office/drawing/2014/main" id="{3BC69B21-9673-4402-A996-9C79CE40E058}"/>
              </a:ext>
            </a:extLst>
          </p:cNvPr>
          <p:cNvSpPr/>
          <p:nvPr/>
        </p:nvSpPr>
        <p:spPr>
          <a:xfrm>
            <a:off x="2703654" y="1287066"/>
            <a:ext cx="2246713" cy="1939782"/>
          </a:xfrm>
          <a:prstGeom prst="rect">
            <a:avLst/>
          </a:prstGeom>
          <a:solidFill>
            <a:schemeClr val="bg1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050" err="1">
                <a:solidFill>
                  <a:srgbClr val="D6ECE9">
                    <a:lumMod val="25000"/>
                  </a:srgbClr>
                </a:solidFill>
                <a:latin typeface="Source Sans Pro"/>
              </a:rPr>
              <a:t>WebEngine</a:t>
            </a:r>
            <a:r>
              <a:rPr lang="fr-FR" sz="1050">
                <a:solidFill>
                  <a:srgbClr val="D6ECE9">
                    <a:lumMod val="25000"/>
                  </a:srgbClr>
                </a:solidFill>
                <a:latin typeface="Source Sans Pro"/>
              </a:rPr>
              <a:t> Web</a:t>
            </a:r>
          </a:p>
          <a:p>
            <a:pPr algn="ctr"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fr-FR" sz="1050">
              <a:solidFill>
                <a:srgbClr val="D6ECE9">
                  <a:lumMod val="25000"/>
                </a:srgbClr>
              </a:solidFill>
              <a:latin typeface="Source Sans Pro"/>
            </a:endParaRPr>
          </a:p>
          <a:p>
            <a:pPr algn="ctr"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fr-FR" sz="1050">
              <a:solidFill>
                <a:srgbClr val="D6ECE9">
                  <a:lumMod val="25000"/>
                </a:srgbClr>
              </a:solidFill>
              <a:latin typeface="Source Sans Pro"/>
            </a:endParaRPr>
          </a:p>
          <a:p>
            <a:pPr algn="ctr"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fr-FR" sz="825">
              <a:solidFill>
                <a:srgbClr val="D6ECE9">
                  <a:lumMod val="25000"/>
                </a:srgbClr>
              </a:solidFill>
              <a:latin typeface="Source Sans Pro"/>
            </a:endParaRPr>
          </a:p>
          <a:p>
            <a:pPr marL="406400" lvl="1" indent="-47625"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825">
                <a:solidFill>
                  <a:srgbClr val="D6ECE9">
                    <a:lumMod val="25000"/>
                  </a:srgbClr>
                </a:solidFill>
                <a:latin typeface="Source Sans Pro"/>
              </a:rPr>
              <a:t>Pour test Web et </a:t>
            </a:r>
            <a:r>
              <a:rPr lang="fr-FR" sz="825" err="1">
                <a:solidFill>
                  <a:srgbClr val="D6ECE9">
                    <a:lumMod val="25000"/>
                  </a:srgbClr>
                </a:solidFill>
                <a:latin typeface="Source Sans Pro"/>
              </a:rPr>
              <a:t>WebMobile</a:t>
            </a:r>
            <a:endParaRPr lang="fr-FR" sz="825">
              <a:solidFill>
                <a:srgbClr val="D6ECE9">
                  <a:lumMod val="25000"/>
                </a:srgbClr>
              </a:solidFill>
              <a:latin typeface="Source Sans Pro"/>
            </a:endParaRPr>
          </a:p>
          <a:p>
            <a:pPr lvl="1"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fr-FR" sz="825">
              <a:solidFill>
                <a:srgbClr val="D6ECE9">
                  <a:lumMod val="25000"/>
                </a:srgbClr>
              </a:solidFill>
              <a:latin typeface="Source Sans Pro"/>
            </a:endParaRPr>
          </a:p>
          <a:p>
            <a:pPr marL="537420" lvl="2" indent="-128588" defTabSz="685800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fr-FR" sz="788">
                <a:solidFill>
                  <a:srgbClr val="D6ECE9">
                    <a:lumMod val="25000"/>
                  </a:srgbClr>
                </a:solidFill>
                <a:latin typeface="Source Sans Pro"/>
              </a:rPr>
              <a:t>Gestion du Driver</a:t>
            </a:r>
          </a:p>
          <a:p>
            <a:pPr marL="537420" lvl="2" indent="-128588" defTabSz="685800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fr-FR" sz="788">
                <a:solidFill>
                  <a:srgbClr val="D6ECE9">
                    <a:lumMod val="25000"/>
                  </a:srgbClr>
                </a:solidFill>
                <a:latin typeface="Source Sans Pro"/>
              </a:rPr>
              <a:t>Web Model</a:t>
            </a:r>
          </a:p>
          <a:p>
            <a:pPr marL="537420" lvl="2" indent="-128588" defTabSz="685800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fr-FR" sz="788" err="1">
                <a:solidFill>
                  <a:srgbClr val="D6ECE9">
                    <a:lumMod val="25000"/>
                  </a:srgbClr>
                </a:solidFill>
                <a:latin typeface="Source Sans Pro"/>
              </a:rPr>
              <a:t>Synchonisation</a:t>
            </a:r>
            <a:r>
              <a:rPr lang="fr-FR" sz="788">
                <a:solidFill>
                  <a:srgbClr val="D6ECE9">
                    <a:lumMod val="25000"/>
                  </a:srgbClr>
                </a:solidFill>
                <a:latin typeface="Source Sans Pro"/>
              </a:rPr>
              <a:t> des objets</a:t>
            </a:r>
          </a:p>
          <a:p>
            <a:pPr marL="537420" lvl="2" indent="-128588" defTabSz="685800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fr-FR" sz="788">
                <a:solidFill>
                  <a:srgbClr val="D6ECE9">
                    <a:lumMod val="25000"/>
                  </a:srgbClr>
                </a:solidFill>
                <a:latin typeface="Source Sans Pro"/>
              </a:rPr>
              <a:t>Orienté</a:t>
            </a:r>
            <a:r>
              <a:rPr lang="en-US" sz="788">
                <a:solidFill>
                  <a:srgbClr val="D6ECE9">
                    <a:lumMod val="25000"/>
                  </a:srgbClr>
                </a:solidFill>
                <a:latin typeface="Source Sans Pro"/>
              </a:rPr>
              <a:t> </a:t>
            </a:r>
            <a:r>
              <a:rPr lang="en-US" sz="788" err="1">
                <a:solidFill>
                  <a:srgbClr val="D6ECE9">
                    <a:lumMod val="25000"/>
                  </a:srgbClr>
                </a:solidFill>
                <a:latin typeface="Source Sans Pro"/>
              </a:rPr>
              <a:t>objet</a:t>
            </a:r>
            <a:endParaRPr lang="en-US" sz="788">
              <a:solidFill>
                <a:srgbClr val="D6ECE9">
                  <a:lumMod val="25000"/>
                </a:srgbClr>
              </a:solidFill>
              <a:latin typeface="Source Sans Pro"/>
            </a:endParaRPr>
          </a:p>
          <a:p>
            <a:pPr marL="537420" lvl="2" indent="-128588" defTabSz="685800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sz="788" err="1">
                <a:solidFill>
                  <a:srgbClr val="D6ECE9">
                    <a:lumMod val="25000"/>
                  </a:srgbClr>
                </a:solidFill>
                <a:latin typeface="Source Sans Pro"/>
              </a:rPr>
              <a:t>Connexion</a:t>
            </a:r>
            <a:r>
              <a:rPr lang="en-US" sz="788">
                <a:solidFill>
                  <a:srgbClr val="D6ECE9">
                    <a:lumMod val="25000"/>
                  </a:srgbClr>
                </a:solidFill>
                <a:latin typeface="Source Sans Pro"/>
              </a:rPr>
              <a:t> Grid + Device</a:t>
            </a:r>
            <a:endParaRPr lang="fr-FR" sz="788">
              <a:solidFill>
                <a:srgbClr val="D6ECE9">
                  <a:lumMod val="25000"/>
                </a:srgbClr>
              </a:solidFill>
              <a:latin typeface="Source Sans Pro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FE216A78-E7D2-46C7-8033-E087F306E12D}"/>
              </a:ext>
            </a:extLst>
          </p:cNvPr>
          <p:cNvSpPr/>
          <p:nvPr/>
        </p:nvSpPr>
        <p:spPr>
          <a:xfrm>
            <a:off x="5094200" y="1287066"/>
            <a:ext cx="2267282" cy="1939782"/>
          </a:xfrm>
          <a:prstGeom prst="rect">
            <a:avLst/>
          </a:prstGeom>
          <a:solidFill>
            <a:schemeClr val="bg1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050" err="1">
                <a:solidFill>
                  <a:srgbClr val="D6ECE9">
                    <a:lumMod val="25000"/>
                  </a:srgbClr>
                </a:solidFill>
                <a:latin typeface="Source Sans Pro"/>
              </a:rPr>
              <a:t>WebEngine</a:t>
            </a:r>
            <a:r>
              <a:rPr lang="fr-FR" sz="1050">
                <a:solidFill>
                  <a:srgbClr val="D6ECE9">
                    <a:lumMod val="25000"/>
                  </a:srgbClr>
                </a:solidFill>
                <a:latin typeface="Source Sans Pro"/>
              </a:rPr>
              <a:t> </a:t>
            </a:r>
            <a:r>
              <a:rPr lang="fr-FR" sz="1050" err="1">
                <a:solidFill>
                  <a:srgbClr val="D6ECE9">
                    <a:lumMod val="25000"/>
                  </a:srgbClr>
                </a:solidFill>
                <a:latin typeface="Source Sans Pro"/>
              </a:rPr>
              <a:t>AppMobile</a:t>
            </a:r>
            <a:endParaRPr lang="fr-FR" sz="1050">
              <a:solidFill>
                <a:srgbClr val="D6ECE9">
                  <a:lumMod val="25000"/>
                </a:srgbClr>
              </a:solidFill>
              <a:latin typeface="Source Sans Pro"/>
            </a:endParaRPr>
          </a:p>
          <a:p>
            <a:pPr algn="ctr"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fr-FR" sz="1050">
              <a:solidFill>
                <a:srgbClr val="D6ECE9">
                  <a:lumMod val="25000"/>
                </a:srgbClr>
              </a:solidFill>
              <a:latin typeface="Source Sans Pro"/>
            </a:endParaRPr>
          </a:p>
          <a:p>
            <a:pPr algn="ctr"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fr-FR" sz="1050">
              <a:solidFill>
                <a:srgbClr val="D6ECE9">
                  <a:lumMod val="25000"/>
                </a:srgbClr>
              </a:solidFill>
              <a:latin typeface="Source Sans Pro"/>
            </a:endParaRPr>
          </a:p>
          <a:p>
            <a:pPr algn="ctr"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fr-FR" sz="1050">
              <a:solidFill>
                <a:srgbClr val="D6ECE9">
                  <a:lumMod val="25000"/>
                </a:srgbClr>
              </a:solidFill>
              <a:latin typeface="Source Sans Pro"/>
            </a:endParaRPr>
          </a:p>
          <a:p>
            <a:pPr marL="406400" lvl="1" indent="-47625"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825">
                <a:solidFill>
                  <a:srgbClr val="D6ECE9">
                    <a:lumMod val="25000"/>
                  </a:srgbClr>
                </a:solidFill>
                <a:latin typeface="Source Sans Pro"/>
              </a:rPr>
              <a:t>Pour test App Mobile</a:t>
            </a:r>
          </a:p>
          <a:p>
            <a:pPr marL="880320" lvl="2" indent="-128588" defTabSz="685800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endParaRPr lang="fr-FR" sz="788">
              <a:solidFill>
                <a:srgbClr val="D6ECE9">
                  <a:lumMod val="25000"/>
                </a:srgbClr>
              </a:solidFill>
              <a:latin typeface="Source Sans Pro"/>
            </a:endParaRPr>
          </a:p>
          <a:p>
            <a:pPr marL="537420" lvl="2" indent="-128588" defTabSz="685800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fr-FR" sz="788">
                <a:solidFill>
                  <a:srgbClr val="D6ECE9">
                    <a:lumMod val="25000"/>
                  </a:srgbClr>
                </a:solidFill>
                <a:latin typeface="Source Sans Pro"/>
              </a:rPr>
              <a:t>App Model</a:t>
            </a:r>
          </a:p>
          <a:p>
            <a:pPr marL="537420" lvl="2" indent="-128588" defTabSz="685800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fr-FR" sz="788" err="1">
                <a:solidFill>
                  <a:srgbClr val="D6ECE9">
                    <a:lumMod val="25000"/>
                  </a:srgbClr>
                </a:solidFill>
                <a:latin typeface="Source Sans Pro"/>
              </a:rPr>
              <a:t>Synchonisation</a:t>
            </a:r>
            <a:r>
              <a:rPr lang="fr-FR" sz="788">
                <a:solidFill>
                  <a:srgbClr val="D6ECE9">
                    <a:lumMod val="25000"/>
                  </a:srgbClr>
                </a:solidFill>
                <a:latin typeface="Source Sans Pro"/>
              </a:rPr>
              <a:t> des objets</a:t>
            </a:r>
          </a:p>
          <a:p>
            <a:pPr marL="537420" lvl="2" indent="-128588" defTabSz="685800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fr-FR" sz="788">
                <a:solidFill>
                  <a:srgbClr val="D6ECE9">
                    <a:lumMod val="25000"/>
                  </a:srgbClr>
                </a:solidFill>
                <a:latin typeface="Source Sans Pro"/>
              </a:rPr>
              <a:t>Gestion de Contexte</a:t>
            </a:r>
          </a:p>
          <a:p>
            <a:pPr marL="537420" lvl="2" indent="-128588" defTabSz="685800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fr-FR" sz="788">
                <a:solidFill>
                  <a:srgbClr val="D6ECE9">
                    <a:lumMod val="25000"/>
                  </a:srgbClr>
                </a:solidFill>
                <a:latin typeface="Source Sans Pro"/>
              </a:rPr>
              <a:t>Orienté</a:t>
            </a:r>
            <a:r>
              <a:rPr lang="en-US" sz="788">
                <a:solidFill>
                  <a:srgbClr val="D6ECE9">
                    <a:lumMod val="25000"/>
                  </a:srgbClr>
                </a:solidFill>
                <a:latin typeface="Source Sans Pro"/>
              </a:rPr>
              <a:t> </a:t>
            </a:r>
            <a:r>
              <a:rPr lang="en-US" sz="788" err="1">
                <a:solidFill>
                  <a:srgbClr val="D6ECE9">
                    <a:lumMod val="25000"/>
                  </a:srgbClr>
                </a:solidFill>
                <a:latin typeface="Source Sans Pro"/>
              </a:rPr>
              <a:t>objet</a:t>
            </a:r>
            <a:endParaRPr lang="en-US" sz="788">
              <a:solidFill>
                <a:srgbClr val="D6ECE9">
                  <a:lumMod val="25000"/>
                </a:srgbClr>
              </a:solidFill>
              <a:latin typeface="Source Sans Pro"/>
            </a:endParaRPr>
          </a:p>
          <a:p>
            <a:pPr marL="537420" lvl="2" indent="-128588" defTabSz="685800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sz="788" err="1">
                <a:solidFill>
                  <a:srgbClr val="D6ECE9">
                    <a:lumMod val="25000"/>
                  </a:srgbClr>
                </a:solidFill>
                <a:latin typeface="Source Sans Pro"/>
              </a:rPr>
              <a:t>Connexion</a:t>
            </a:r>
            <a:r>
              <a:rPr lang="en-US" sz="788">
                <a:solidFill>
                  <a:srgbClr val="D6ECE9">
                    <a:lumMod val="25000"/>
                  </a:srgbClr>
                </a:solidFill>
                <a:latin typeface="Source Sans Pro"/>
              </a:rPr>
              <a:t> Grid + Device</a:t>
            </a:r>
            <a:endParaRPr lang="fr-FR" sz="788">
              <a:solidFill>
                <a:srgbClr val="D6ECE9">
                  <a:lumMod val="25000"/>
                </a:srgbClr>
              </a:solidFill>
              <a:latin typeface="Source Sans Pro"/>
            </a:endParaRPr>
          </a:p>
          <a:p>
            <a:pPr algn="ctr"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fr-FR" sz="1050">
              <a:solidFill>
                <a:srgbClr val="D6ECE9">
                  <a:lumMod val="25000"/>
                </a:srgbClr>
              </a:solidFill>
              <a:latin typeface="Source Sans Pro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22878E13-E2D8-4802-AC6A-E2AA1240EAD1}"/>
              </a:ext>
            </a:extLst>
          </p:cNvPr>
          <p:cNvSpPr/>
          <p:nvPr/>
        </p:nvSpPr>
        <p:spPr>
          <a:xfrm>
            <a:off x="2693231" y="3373054"/>
            <a:ext cx="2246713" cy="718504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050">
                <a:solidFill>
                  <a:srgbClr val="FFFFFF"/>
                </a:solidFill>
                <a:latin typeface="Source Sans Pro"/>
              </a:rPr>
              <a:t>Projets de Test Web</a:t>
            </a:r>
          </a:p>
          <a:p>
            <a:pPr algn="ctr"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050">
                <a:solidFill>
                  <a:srgbClr val="FFFFFF"/>
                </a:solidFill>
                <a:latin typeface="Source Sans Pro"/>
              </a:rPr>
              <a:t>(Desktop + Mobile)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57B9D499-DF3B-4690-9961-33AF1FC91FDD}"/>
              </a:ext>
            </a:extLst>
          </p:cNvPr>
          <p:cNvSpPr/>
          <p:nvPr/>
        </p:nvSpPr>
        <p:spPr>
          <a:xfrm>
            <a:off x="5084243" y="3379390"/>
            <a:ext cx="2277240" cy="712167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050">
                <a:solidFill>
                  <a:srgbClr val="FFFFFF"/>
                </a:solidFill>
                <a:latin typeface="Source Sans Pro"/>
              </a:rPr>
              <a:t>Projets de Test App Mobile</a:t>
            </a:r>
          </a:p>
        </p:txBody>
      </p:sp>
      <p:pic>
        <p:nvPicPr>
          <p:cNvPr id="33" name="Picture 4" descr="Afficher l’image source">
            <a:extLst>
              <a:ext uri="{FF2B5EF4-FFF2-40B4-BE49-F238E27FC236}">
                <a16:creationId xmlns:a16="http://schemas.microsoft.com/office/drawing/2014/main" id="{56E2CF98-5C55-4389-8C53-DCD679229A9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89873" y="1578951"/>
            <a:ext cx="274274" cy="285294"/>
          </a:xfrm>
          <a:prstGeom prst="rect">
            <a:avLst/>
          </a:prstGeom>
          <a:noFill/>
          <a:ln>
            <a:solidFill>
              <a:schemeClr val="bg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4" name="Picture 4" descr="Afficher l’image source">
            <a:extLst>
              <a:ext uri="{FF2B5EF4-FFF2-40B4-BE49-F238E27FC236}">
                <a16:creationId xmlns:a16="http://schemas.microsoft.com/office/drawing/2014/main" id="{BBE4CD57-A2F8-413B-A40E-34717B9A361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44181" y="1578951"/>
            <a:ext cx="274274" cy="285294"/>
          </a:xfrm>
          <a:prstGeom prst="rect">
            <a:avLst/>
          </a:prstGeom>
          <a:noFill/>
          <a:ln>
            <a:solidFill>
              <a:schemeClr val="bg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5" name="Picture 2" descr="Afficher l’image source">
            <a:extLst>
              <a:ext uri="{FF2B5EF4-FFF2-40B4-BE49-F238E27FC236}">
                <a16:creationId xmlns:a16="http://schemas.microsoft.com/office/drawing/2014/main" id="{E85FE648-ED07-48BD-8766-A8A13A51E6D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46115" y="1597539"/>
            <a:ext cx="273359" cy="2731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Rectangle 21">
            <a:extLst>
              <a:ext uri="{FF2B5EF4-FFF2-40B4-BE49-F238E27FC236}">
                <a16:creationId xmlns:a16="http://schemas.microsoft.com/office/drawing/2014/main" id="{BC88CEC1-A6FE-4804-B20E-0F4CEC704419}"/>
              </a:ext>
            </a:extLst>
          </p:cNvPr>
          <p:cNvSpPr/>
          <p:nvPr/>
        </p:nvSpPr>
        <p:spPr>
          <a:xfrm>
            <a:off x="277317" y="1"/>
            <a:ext cx="7084166" cy="1180648"/>
          </a:xfrm>
          <a:prstGeom prst="rect">
            <a:avLst/>
          </a:prstGeom>
          <a:solidFill>
            <a:schemeClr val="accent2"/>
          </a:solidFill>
          <a:ln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050" err="1">
                <a:solidFill>
                  <a:srgbClr val="002060"/>
                </a:solidFill>
                <a:latin typeface="Source Sans Pro"/>
              </a:rPr>
              <a:t>WebEngine</a:t>
            </a:r>
            <a:r>
              <a:rPr lang="fr-FR" sz="1050">
                <a:solidFill>
                  <a:srgbClr val="002060"/>
                </a:solidFill>
                <a:latin typeface="Source Sans Pro"/>
              </a:rPr>
              <a:t> de Base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255C7B3D-3955-4691-A5B2-45A4FF78550F}"/>
              </a:ext>
            </a:extLst>
          </p:cNvPr>
          <p:cNvSpPr/>
          <p:nvPr/>
        </p:nvSpPr>
        <p:spPr>
          <a:xfrm>
            <a:off x="277318" y="4197970"/>
            <a:ext cx="7084166" cy="718503"/>
          </a:xfrm>
          <a:prstGeom prst="rect">
            <a:avLst/>
          </a:prstGeom>
          <a:solidFill>
            <a:schemeClr val="accent2"/>
          </a:solidFill>
          <a:ln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050">
                <a:solidFill>
                  <a:srgbClr val="002060"/>
                </a:solidFill>
                <a:latin typeface="Source Sans Pro"/>
              </a:rPr>
              <a:t>L’ordonnanceur de test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045E6862-F740-46CF-9052-28E961D14841}"/>
              </a:ext>
            </a:extLst>
          </p:cNvPr>
          <p:cNvSpPr/>
          <p:nvPr/>
        </p:nvSpPr>
        <p:spPr>
          <a:xfrm>
            <a:off x="277320" y="3379390"/>
            <a:ext cx="2258641" cy="712168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050">
                <a:solidFill>
                  <a:srgbClr val="FFFFFF"/>
                </a:solidFill>
                <a:latin typeface="Source Sans Pro"/>
              </a:rPr>
              <a:t>Projets de Test Web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AEBE766B-34A2-4D68-B8FD-F164648F6038}"/>
              </a:ext>
            </a:extLst>
          </p:cNvPr>
          <p:cNvSpPr/>
          <p:nvPr/>
        </p:nvSpPr>
        <p:spPr>
          <a:xfrm>
            <a:off x="7493286" y="0"/>
            <a:ext cx="1215999" cy="4922684"/>
          </a:xfrm>
          <a:prstGeom prst="rect">
            <a:avLst/>
          </a:prstGeom>
          <a:solidFill>
            <a:schemeClr val="accent2"/>
          </a:solidFill>
          <a:ln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050" err="1">
                <a:solidFill>
                  <a:srgbClr val="002060"/>
                </a:solidFill>
                <a:latin typeface="Source Sans Pro"/>
              </a:rPr>
              <a:t>Add-in</a:t>
            </a:r>
            <a:endParaRPr lang="fr-FR" sz="1050">
              <a:solidFill>
                <a:srgbClr val="002060"/>
              </a:solidFill>
              <a:latin typeface="Source Sans Pro"/>
            </a:endParaRPr>
          </a:p>
          <a:p>
            <a:pPr algn="ctr"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fr-FR" sz="1050">
              <a:solidFill>
                <a:srgbClr val="002060"/>
              </a:solidFill>
              <a:latin typeface="Source Sans Pro"/>
            </a:endParaRPr>
          </a:p>
          <a:p>
            <a:pPr algn="ctr"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050">
                <a:solidFill>
                  <a:srgbClr val="002060"/>
                </a:solidFill>
                <a:latin typeface="Source Sans Pro"/>
              </a:rPr>
              <a:t>Excel</a:t>
            </a:r>
          </a:p>
        </p:txBody>
      </p:sp>
      <p:grpSp>
        <p:nvGrpSpPr>
          <p:cNvPr id="17" name="Group 16"/>
          <p:cNvGrpSpPr/>
          <p:nvPr/>
        </p:nvGrpSpPr>
        <p:grpSpPr>
          <a:xfrm>
            <a:off x="3101188" y="243384"/>
            <a:ext cx="703672" cy="818647"/>
            <a:chOff x="1219674" y="1331276"/>
            <a:chExt cx="1523683" cy="1808164"/>
          </a:xfrm>
        </p:grpSpPr>
        <p:sp>
          <p:nvSpPr>
            <p:cNvPr id="9" name="Rectangle 8"/>
            <p:cNvSpPr/>
            <p:nvPr/>
          </p:nvSpPr>
          <p:spPr>
            <a:xfrm>
              <a:off x="1219674" y="1331276"/>
              <a:ext cx="1523683" cy="1808164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b"/>
            <a:lstStyle/>
            <a:p>
              <a:pPr algn="ctr" defTabSz="68580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fr-FR" sz="675">
                  <a:solidFill>
                    <a:srgbClr val="002060"/>
                  </a:solidFill>
                  <a:latin typeface="Segoe UI Light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Données</a:t>
              </a:r>
            </a:p>
          </p:txBody>
        </p:sp>
        <p:pic>
          <p:nvPicPr>
            <p:cNvPr id="2050" name="Picture 2" descr="https://www.thermofisher.com/fr/fr/home/clinical/preclinical-companion-diagnostic-development/oncomine-cancer-research-panel-workflow/_jcr_content/MainParsys/tabworkflowcontainer/container-cce1e3ae-1261-4519-a7eb-59a622ea1986/tab/image_dcb.img.jpg/1429726097745.jpg"/>
            <p:cNvPicPr>
              <a:picLocks noChangeAspect="1" noChangeArrowheads="1"/>
            </p:cNvPicPr>
            <p:nvPr/>
          </p:nvPicPr>
          <p:blipFill>
            <a:blip r:embed="rId5">
              <a:alphaModFix/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ackgroundRemoval t="10000" b="90000" l="10000" r="90000">
                          <a14:foregroundMark x1="29429" y1="25429" x2="29429" y2="25429"/>
                          <a14:foregroundMark x1="69429" y1="56000" x2="69429" y2="56000"/>
                          <a14:foregroundMark x1="76571" y1="52571" x2="76571" y2="52571"/>
                          <a14:foregroundMark x1="74286" y1="54857" x2="74286" y2="54857"/>
                          <a14:foregroundMark x1="71714" y1="60857" x2="71714" y2="65429"/>
                          <a14:foregroundMark x1="72857" y1="74857" x2="72857" y2="74857"/>
                          <a14:foregroundMark x1="72857" y1="83143" x2="72857" y2="83143"/>
                          <a14:foregroundMark x1="69429" y1="82000" x2="69429" y2="82000"/>
                          <a14:foregroundMark x1="69429" y1="82000" x2="69429" y2="82000"/>
                          <a14:foregroundMark x1="67143" y1="80571" x2="67143" y2="68857"/>
                          <a14:foregroundMark x1="67143" y1="64286" x2="66000" y2="58286"/>
                          <a14:foregroundMark x1="66000" y1="58286" x2="66000" y2="58286"/>
                          <a14:foregroundMark x1="70571" y1="50286" x2="70571" y2="50286"/>
                          <a14:foregroundMark x1="74286" y1="50286" x2="74286" y2="50286"/>
                          <a14:foregroundMark x1="74286" y1="47714" x2="74286" y2="47714"/>
                          <a14:foregroundMark x1="75429" y1="47714" x2="76571" y2="47714"/>
                          <a14:foregroundMark x1="76571" y1="47714" x2="76571" y2="47714"/>
                          <a14:foregroundMark x1="71714" y1="68857" x2="70571" y2="73714"/>
                          <a14:foregroundMark x1="70571" y1="77143" x2="70571" y2="77143"/>
                          <a14:foregroundMark x1="70571" y1="79429" x2="70571" y2="79429"/>
                          <a14:foregroundMark x1="70571" y1="80571" x2="70571" y2="80571"/>
                          <a14:foregroundMark x1="69429" y1="80571" x2="69429" y2="80571"/>
                          <a14:foregroundMark x1="69429" y1="84286" x2="69429" y2="84286"/>
                          <a14:foregroundMark x1="69429" y1="84286" x2="69429" y2="84286"/>
                          <a14:foregroundMark x1="64857" y1="84286" x2="64857" y2="84286"/>
                          <a14:foregroundMark x1="62286" y1="84286" x2="62286" y2="84286"/>
                          <a14:foregroundMark x1="57714" y1="84286" x2="57714" y2="84286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442717" y="1502885"/>
              <a:ext cx="1077595" cy="107759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8" name="Group 17"/>
          <p:cNvGrpSpPr/>
          <p:nvPr/>
        </p:nvGrpSpPr>
        <p:grpSpPr>
          <a:xfrm>
            <a:off x="2299178" y="249491"/>
            <a:ext cx="670209" cy="806434"/>
            <a:chOff x="2885440" y="1331276"/>
            <a:chExt cx="1473200" cy="1808164"/>
          </a:xfrm>
        </p:grpSpPr>
        <p:sp>
          <p:nvSpPr>
            <p:cNvPr id="10" name="Rectangle 9"/>
            <p:cNvSpPr/>
            <p:nvPr/>
          </p:nvSpPr>
          <p:spPr>
            <a:xfrm>
              <a:off x="2885440" y="1331276"/>
              <a:ext cx="1473200" cy="1808164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b"/>
            <a:lstStyle/>
            <a:p>
              <a:pPr algn="ctr" defTabSz="68580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fr-FR" sz="675">
                  <a:solidFill>
                    <a:srgbClr val="002060"/>
                  </a:solidFill>
                  <a:latin typeface="Segoe UI Light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Structure</a:t>
              </a:r>
            </a:p>
          </p:txBody>
        </p:sp>
        <p:pic>
          <p:nvPicPr>
            <p:cNvPr id="2052" name="Picture 4" descr="http://www.iconshock.com/img_vista/WINDOWS8/project_management/jpg/work_breakdown_structure_icon.jpg"/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BEBA8EAE-BF5A-486C-A8C5-ECC9F3942E4B}">
                  <a14:imgProps xmlns:a14="http://schemas.microsoft.com/office/drawing/2010/main">
                    <a14:imgLayer r:embed="rId8">
                      <a14:imgEffect>
                        <a14:backgroundRemoval t="9766" b="89844" l="8594" r="89844">
                          <a14:foregroundMark x1="83203" y1="9766" x2="83203" y2="9766"/>
                          <a14:foregroundMark x1="90234" y1="57422" x2="90234" y2="57422"/>
                          <a14:foregroundMark x1="8594" y1="53125" x2="8594" y2="53125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094990" y="1592818"/>
              <a:ext cx="1054100" cy="10541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9" name="Group 18"/>
          <p:cNvGrpSpPr/>
          <p:nvPr/>
        </p:nvGrpSpPr>
        <p:grpSpPr>
          <a:xfrm>
            <a:off x="3936663" y="249491"/>
            <a:ext cx="697941" cy="806434"/>
            <a:chOff x="4511040" y="1331276"/>
            <a:chExt cx="1534160" cy="1808164"/>
          </a:xfrm>
        </p:grpSpPr>
        <p:sp>
          <p:nvSpPr>
            <p:cNvPr id="11" name="Rectangle 10"/>
            <p:cNvSpPr/>
            <p:nvPr/>
          </p:nvSpPr>
          <p:spPr>
            <a:xfrm>
              <a:off x="4511040" y="1331276"/>
              <a:ext cx="1534160" cy="1808164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b"/>
            <a:lstStyle/>
            <a:p>
              <a:pPr algn="ctr" defTabSz="68580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fr-FR" sz="675">
                  <a:solidFill>
                    <a:srgbClr val="002060"/>
                  </a:solidFill>
                  <a:latin typeface="Segoe UI Light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Processus</a:t>
              </a:r>
            </a:p>
          </p:txBody>
        </p:sp>
        <p:pic>
          <p:nvPicPr>
            <p:cNvPr id="2054" name="Picture 6" descr="brain, mind, process, think icon"/>
            <p:cNvPicPr>
              <a:picLocks noChangeAspect="1"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57420" y="1520983"/>
              <a:ext cx="1041400" cy="104140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0" name="Group 19"/>
          <p:cNvGrpSpPr/>
          <p:nvPr/>
        </p:nvGrpSpPr>
        <p:grpSpPr>
          <a:xfrm>
            <a:off x="4766405" y="243384"/>
            <a:ext cx="708510" cy="818647"/>
            <a:chOff x="6197600" y="1330960"/>
            <a:chExt cx="1534160" cy="1808164"/>
          </a:xfrm>
        </p:grpSpPr>
        <p:sp>
          <p:nvSpPr>
            <p:cNvPr id="21" name="Rectangle 20"/>
            <p:cNvSpPr/>
            <p:nvPr/>
          </p:nvSpPr>
          <p:spPr>
            <a:xfrm>
              <a:off x="6197600" y="1330960"/>
              <a:ext cx="1534160" cy="1808164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b"/>
            <a:lstStyle/>
            <a:p>
              <a:pPr algn="ctr" defTabSz="68580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fr-FR" sz="675">
                  <a:solidFill>
                    <a:srgbClr val="002060"/>
                  </a:solidFill>
                  <a:latin typeface="Segoe UI Light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Rapport</a:t>
              </a:r>
            </a:p>
          </p:txBody>
        </p:sp>
        <p:pic>
          <p:nvPicPr>
            <p:cNvPr id="2056" name="Picture 8" descr="chart, graph, infographic, investment, report, stocks icon"/>
            <p:cNvPicPr>
              <a:picLocks noChangeAspect="1" noChangeArrowheads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453108" y="1539239"/>
              <a:ext cx="1023144" cy="102314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36" name="Rectangle 35">
            <a:extLst>
              <a:ext uri="{FF2B5EF4-FFF2-40B4-BE49-F238E27FC236}">
                <a16:creationId xmlns:a16="http://schemas.microsoft.com/office/drawing/2014/main" id="{359F12FE-2AA1-4316-8D48-0A55C916285E}"/>
              </a:ext>
            </a:extLst>
          </p:cNvPr>
          <p:cNvSpPr/>
          <p:nvPr/>
        </p:nvSpPr>
        <p:spPr>
          <a:xfrm>
            <a:off x="277318" y="1297089"/>
            <a:ext cx="2246713" cy="1939782"/>
          </a:xfrm>
          <a:prstGeom prst="rect">
            <a:avLst/>
          </a:prstGeom>
          <a:solidFill>
            <a:schemeClr val="bg1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68580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fr-FR" sz="1050" err="1">
                <a:solidFill>
                  <a:srgbClr val="D6ECE9">
                    <a:lumMod val="25000"/>
                  </a:srgbClr>
                </a:solidFill>
                <a:latin typeface="Source Sans Pro"/>
              </a:rPr>
              <a:t>WebEngine</a:t>
            </a:r>
            <a:r>
              <a:rPr lang="fr-FR" sz="1050">
                <a:solidFill>
                  <a:srgbClr val="D6ECE9">
                    <a:lumMod val="25000"/>
                  </a:srgbClr>
                </a:solidFill>
                <a:latin typeface="Source Sans Pro"/>
              </a:rPr>
              <a:t> </a:t>
            </a:r>
            <a:r>
              <a:rPr lang="fr-FR" sz="1050" err="1">
                <a:solidFill>
                  <a:srgbClr val="D6ECE9">
                    <a:lumMod val="25000"/>
                  </a:srgbClr>
                </a:solidFill>
                <a:latin typeface="Source Sans Pro"/>
              </a:rPr>
              <a:t>DriveByExcel</a:t>
            </a:r>
            <a:endParaRPr lang="fr-FR" sz="1050">
              <a:solidFill>
                <a:srgbClr val="D6ECE9">
                  <a:lumMod val="25000"/>
                </a:srgbClr>
              </a:solidFill>
              <a:latin typeface="Source Sans Pro"/>
            </a:endParaRPr>
          </a:p>
          <a:p>
            <a:pPr algn="ctr" defTabSz="685800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 sz="1050">
              <a:solidFill>
                <a:srgbClr val="D6ECE9">
                  <a:lumMod val="25000"/>
                </a:srgbClr>
              </a:solidFill>
              <a:latin typeface="Source Sans Pro"/>
            </a:endParaRPr>
          </a:p>
          <a:p>
            <a:pPr algn="ctr" defTabSz="685800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 sz="1050">
              <a:solidFill>
                <a:srgbClr val="D6ECE9">
                  <a:lumMod val="25000"/>
                </a:srgbClr>
              </a:solidFill>
              <a:latin typeface="Source Sans Pro"/>
            </a:endParaRPr>
          </a:p>
          <a:p>
            <a:pPr algn="ctr"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fr-FR" sz="825">
              <a:solidFill>
                <a:srgbClr val="D6ECE9">
                  <a:lumMod val="25000"/>
                </a:srgbClr>
              </a:solidFill>
              <a:latin typeface="Source Sans Pro"/>
            </a:endParaRPr>
          </a:p>
          <a:p>
            <a:pPr marL="406400" lvl="1" indent="-47625" defTabSz="358775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825">
                <a:solidFill>
                  <a:srgbClr val="D6ECE9">
                    <a:lumMod val="25000"/>
                  </a:srgbClr>
                </a:solidFill>
                <a:latin typeface="Source Sans Pro"/>
              </a:rPr>
              <a:t>Pour test Web</a:t>
            </a:r>
          </a:p>
          <a:p>
            <a:pPr lvl="1" algn="ctr"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fr-FR" sz="825">
              <a:solidFill>
                <a:srgbClr val="D6ECE9">
                  <a:lumMod val="25000"/>
                </a:srgbClr>
              </a:solidFill>
              <a:latin typeface="Source Sans Pro"/>
            </a:endParaRPr>
          </a:p>
          <a:p>
            <a:pPr marL="537420" lvl="2" indent="-128588" defTabSz="685800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fr-FR" sz="825">
                <a:solidFill>
                  <a:srgbClr val="D6ECE9">
                    <a:lumMod val="25000"/>
                  </a:srgbClr>
                </a:solidFill>
                <a:latin typeface="Source Sans Pro"/>
              </a:rPr>
              <a:t>Gestion du Driver/de licence LFT</a:t>
            </a:r>
          </a:p>
          <a:p>
            <a:pPr marL="537420" lvl="2" indent="-128588" defTabSz="685800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fr-FR" sz="825">
                <a:solidFill>
                  <a:srgbClr val="D6ECE9">
                    <a:lumMod val="25000"/>
                  </a:srgbClr>
                </a:solidFill>
                <a:latin typeface="Source Sans Pro"/>
              </a:rPr>
              <a:t>Objets présents dans le JDD</a:t>
            </a:r>
          </a:p>
        </p:txBody>
      </p:sp>
      <p:sp>
        <p:nvSpPr>
          <p:cNvPr id="2" name="Rectangle: Rounded Corners 48">
            <a:extLst>
              <a:ext uri="{FF2B5EF4-FFF2-40B4-BE49-F238E27FC236}">
                <a16:creationId xmlns:a16="http://schemas.microsoft.com/office/drawing/2014/main" id="{039BC078-81C8-0381-9405-BACC9356E340}"/>
              </a:ext>
            </a:extLst>
          </p:cNvPr>
          <p:cNvSpPr/>
          <p:nvPr/>
        </p:nvSpPr>
        <p:spPr>
          <a:xfrm>
            <a:off x="1133301" y="1524201"/>
            <a:ext cx="392158" cy="346529"/>
          </a:xfrm>
          <a:prstGeom prst="roundRect">
            <a:avLst>
              <a:gd name="adj" fmla="val 0"/>
            </a:avLst>
          </a:prstGeom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rIns="0" rtlCol="0" anchor="ctr"/>
          <a:lstStyle/>
          <a:p>
            <a:pPr algn="ctr" defTabSz="1087714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fr-FR" sz="700">
                <a:solidFill>
                  <a:srgbClr val="02718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rive</a:t>
            </a:r>
          </a:p>
          <a:p>
            <a:pPr algn="ctr" defTabSz="1087714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fr-FR" sz="700">
                <a:solidFill>
                  <a:srgbClr val="02718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By</a:t>
            </a: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1E265F50-E8E2-9C71-0C00-195A8619F4C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11528" y="1721598"/>
            <a:ext cx="267891" cy="2490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3510672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71C7FDE6-A91C-4242-957C-1FB981EA909D}"/>
              </a:ext>
            </a:extLst>
          </p:cNvPr>
          <p:cNvSpPr/>
          <p:nvPr/>
        </p:nvSpPr>
        <p:spPr>
          <a:xfrm>
            <a:off x="2081464" y="60158"/>
            <a:ext cx="4654410" cy="336884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4290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fr-FR" sz="1200">
                <a:solidFill>
                  <a:sysClr val="windowText" lastClr="000000"/>
                </a:solidFill>
                <a:latin typeface="Calibri" panose="020F0502020204030204"/>
              </a:rPr>
              <a:t>Gestion de Projet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CADEDE69-5A54-4320-94B2-5490313B4AC1}"/>
              </a:ext>
            </a:extLst>
          </p:cNvPr>
          <p:cNvSpPr/>
          <p:nvPr/>
        </p:nvSpPr>
        <p:spPr>
          <a:xfrm>
            <a:off x="2803357" y="520363"/>
            <a:ext cx="3206417" cy="3997496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34290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fr-FR" sz="1200">
                <a:solidFill>
                  <a:sysClr val="windowText" lastClr="000000"/>
                </a:solidFill>
                <a:latin typeface="Calibri" panose="020F0502020204030204"/>
              </a:rPr>
              <a:t>Automatisation de Test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8F07202B-8817-4C67-9476-8CE0C5B74FF5}"/>
              </a:ext>
            </a:extLst>
          </p:cNvPr>
          <p:cNvSpPr/>
          <p:nvPr/>
        </p:nvSpPr>
        <p:spPr>
          <a:xfrm>
            <a:off x="3083092" y="3523750"/>
            <a:ext cx="2672970" cy="915903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rgbClr val="0070C0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34290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fr-FR" sz="900">
                <a:solidFill>
                  <a:srgbClr val="0070C0"/>
                </a:solidFill>
                <a:latin typeface="Calibri" panose="020F0502020204030204"/>
              </a:rPr>
              <a:t>Couche d’adaptation des Tests</a:t>
            </a: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AFC03DA8-9FC6-4614-A744-DAF471F5DE5D}"/>
              </a:ext>
            </a:extLst>
          </p:cNvPr>
          <p:cNvGrpSpPr/>
          <p:nvPr/>
        </p:nvGrpSpPr>
        <p:grpSpPr>
          <a:xfrm>
            <a:off x="3092116" y="902369"/>
            <a:ext cx="2672970" cy="466589"/>
            <a:chOff x="4122820" y="1203159"/>
            <a:chExt cx="3737811" cy="709860"/>
          </a:xfrm>
          <a:solidFill>
            <a:schemeClr val="accent5">
              <a:lumMod val="20000"/>
              <a:lumOff val="80000"/>
            </a:schemeClr>
          </a:solidFill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0FE89E5D-3F2A-4442-A399-5C03D9ED217A}"/>
                </a:ext>
              </a:extLst>
            </p:cNvPr>
            <p:cNvSpPr/>
            <p:nvPr/>
          </p:nvSpPr>
          <p:spPr>
            <a:xfrm>
              <a:off x="4122820" y="1203159"/>
              <a:ext cx="3737811" cy="709860"/>
            </a:xfrm>
            <a:prstGeom prst="rect">
              <a:avLst/>
            </a:prstGeom>
            <a:grpFill/>
            <a:ln>
              <a:solidFill>
                <a:srgbClr val="0070C0"/>
              </a:solidFill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 defTabSz="342900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fr-FR" sz="900">
                  <a:solidFill>
                    <a:srgbClr val="0070C0"/>
                  </a:solidFill>
                  <a:latin typeface="Calibri" panose="020F0502020204030204"/>
                </a:rPr>
                <a:t>Couche de Genération des Tests</a:t>
              </a: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ACDDD7EE-6C4E-4DEB-9B4D-C7583E78CBCB}"/>
                </a:ext>
              </a:extLst>
            </p:cNvPr>
            <p:cNvSpPr/>
            <p:nvPr/>
          </p:nvSpPr>
          <p:spPr>
            <a:xfrm>
              <a:off x="4291263" y="1526007"/>
              <a:ext cx="1511969" cy="296777"/>
            </a:xfrm>
            <a:prstGeom prst="rect">
              <a:avLst/>
            </a:prstGeom>
            <a:grpFill/>
            <a:ln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342900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fr-FR" sz="800">
                  <a:solidFill>
                    <a:sysClr val="windowText" lastClr="000000"/>
                  </a:solidFill>
                  <a:latin typeface="Calibri" panose="020F0502020204030204"/>
                </a:rPr>
                <a:t>Conception Manuelle</a:t>
              </a: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7A7C1F49-A5E9-43E5-BC68-F03956900127}"/>
                </a:ext>
              </a:extLst>
            </p:cNvPr>
            <p:cNvSpPr/>
            <p:nvPr/>
          </p:nvSpPr>
          <p:spPr>
            <a:xfrm>
              <a:off x="6096000" y="1526007"/>
              <a:ext cx="1584159" cy="296777"/>
            </a:xfrm>
            <a:prstGeom prst="rect">
              <a:avLst/>
            </a:prstGeom>
            <a:grpFill/>
            <a:ln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342900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fr-FR" sz="800">
                  <a:solidFill>
                    <a:sysClr val="windowText" lastClr="000000"/>
                  </a:solidFill>
                  <a:latin typeface="Calibri" panose="020F0502020204030204"/>
                </a:rPr>
                <a:t>Modeles de test</a:t>
              </a:r>
            </a:p>
          </p:txBody>
        </p:sp>
      </p:grpSp>
      <p:grpSp>
        <p:nvGrpSpPr>
          <p:cNvPr id="36" name="Group 35">
            <a:extLst>
              <a:ext uri="{FF2B5EF4-FFF2-40B4-BE49-F238E27FC236}">
                <a16:creationId xmlns:a16="http://schemas.microsoft.com/office/drawing/2014/main" id="{24278272-40D6-4F0A-BFE0-2C6C5580636D}"/>
              </a:ext>
            </a:extLst>
          </p:cNvPr>
          <p:cNvGrpSpPr/>
          <p:nvPr/>
        </p:nvGrpSpPr>
        <p:grpSpPr>
          <a:xfrm>
            <a:off x="3092116" y="1499436"/>
            <a:ext cx="2672970" cy="1044857"/>
            <a:chOff x="4122821" y="2047374"/>
            <a:chExt cx="3563960" cy="1469858"/>
          </a:xfrm>
          <a:solidFill>
            <a:schemeClr val="accent5">
              <a:lumMod val="20000"/>
              <a:lumOff val="80000"/>
            </a:schemeClr>
          </a:solidFill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5549D10A-BDA7-4007-A8F8-F0B750B8A6AC}"/>
                </a:ext>
              </a:extLst>
            </p:cNvPr>
            <p:cNvSpPr/>
            <p:nvPr/>
          </p:nvSpPr>
          <p:spPr>
            <a:xfrm>
              <a:off x="4122821" y="2047374"/>
              <a:ext cx="3563960" cy="1469858"/>
            </a:xfrm>
            <a:prstGeom prst="rect">
              <a:avLst/>
            </a:prstGeom>
            <a:grpFill/>
            <a:ln>
              <a:solidFill>
                <a:srgbClr val="0070C0"/>
              </a:solidFill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 defTabSz="342900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fr-FR" sz="900">
                  <a:solidFill>
                    <a:srgbClr val="0070C0"/>
                  </a:solidFill>
                  <a:latin typeface="Calibri" panose="020F0502020204030204"/>
                </a:rPr>
                <a:t>Couche de Définition des Tests</a:t>
              </a: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8C25D15E-2076-40F5-B365-9310413F665D}"/>
                </a:ext>
              </a:extLst>
            </p:cNvPr>
            <p:cNvSpPr/>
            <p:nvPr/>
          </p:nvSpPr>
          <p:spPr>
            <a:xfrm>
              <a:off x="4251159" y="2300037"/>
              <a:ext cx="1009534" cy="449179"/>
            </a:xfrm>
            <a:prstGeom prst="rect">
              <a:avLst/>
            </a:prstGeom>
            <a:grpFill/>
            <a:ln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342900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fr-FR" sz="825">
                  <a:solidFill>
                    <a:sysClr val="windowText" lastClr="000000"/>
                  </a:solidFill>
                  <a:latin typeface="Calibri" panose="020F0502020204030204"/>
                </a:rPr>
                <a:t>Condition de test</a:t>
              </a: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99E32582-836D-4E29-8839-C6E310597C70}"/>
                </a:ext>
              </a:extLst>
            </p:cNvPr>
            <p:cNvSpPr/>
            <p:nvPr/>
          </p:nvSpPr>
          <p:spPr>
            <a:xfrm>
              <a:off x="5412511" y="2300037"/>
              <a:ext cx="1009534" cy="449179"/>
            </a:xfrm>
            <a:prstGeom prst="rect">
              <a:avLst/>
            </a:prstGeom>
            <a:grpFill/>
            <a:ln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342900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fr-FR" sz="825">
                  <a:solidFill>
                    <a:sysClr val="windowText" lastClr="000000"/>
                  </a:solidFill>
                  <a:latin typeface="Calibri" panose="020F0502020204030204"/>
                </a:rPr>
                <a:t>Cas de test</a:t>
              </a: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63AF8873-DD5E-4C6A-AFD6-A764DB6369C6}"/>
                </a:ext>
              </a:extLst>
            </p:cNvPr>
            <p:cNvSpPr/>
            <p:nvPr/>
          </p:nvSpPr>
          <p:spPr>
            <a:xfrm>
              <a:off x="6573862" y="2300037"/>
              <a:ext cx="1009534" cy="449179"/>
            </a:xfrm>
            <a:prstGeom prst="rect">
              <a:avLst/>
            </a:prstGeom>
            <a:grpFill/>
            <a:ln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342900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fr-FR" sz="825">
                  <a:solidFill>
                    <a:sysClr val="windowText" lastClr="000000"/>
                  </a:solidFill>
                  <a:latin typeface="Calibri" panose="020F0502020204030204"/>
                </a:rPr>
                <a:t>Procedures de test</a:t>
              </a: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A0A60D47-1647-4D98-B5ED-D7DE5E9C3A20}"/>
                </a:ext>
              </a:extLst>
            </p:cNvPr>
            <p:cNvSpPr/>
            <p:nvPr/>
          </p:nvSpPr>
          <p:spPr>
            <a:xfrm>
              <a:off x="4251159" y="2805367"/>
              <a:ext cx="3334520" cy="296777"/>
            </a:xfrm>
            <a:prstGeom prst="rect">
              <a:avLst/>
            </a:prstGeom>
            <a:grpFill/>
            <a:ln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342900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fr-FR" sz="825">
                  <a:solidFill>
                    <a:sysClr val="windowText" lastClr="000000"/>
                  </a:solidFill>
                  <a:latin typeface="Calibri" panose="020F0502020204030204"/>
                </a:rPr>
                <a:t>Données de Test</a:t>
              </a: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6EBEFF16-F1B0-44FB-8869-55F713D85015}"/>
                </a:ext>
              </a:extLst>
            </p:cNvPr>
            <p:cNvSpPr/>
            <p:nvPr/>
          </p:nvSpPr>
          <p:spPr>
            <a:xfrm>
              <a:off x="4251159" y="3158292"/>
              <a:ext cx="3334520" cy="296777"/>
            </a:xfrm>
            <a:prstGeom prst="rect">
              <a:avLst/>
            </a:prstGeom>
            <a:grpFill/>
            <a:ln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342900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fr-FR" sz="825">
                  <a:solidFill>
                    <a:sysClr val="windowText" lastClr="000000"/>
                  </a:solidFill>
                  <a:latin typeface="Calibri" panose="020F0502020204030204"/>
                </a:rPr>
                <a:t>Librairies de test</a:t>
              </a:r>
            </a:p>
          </p:txBody>
        </p:sp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BB763FB9-A37F-4CCA-B030-B414626F36B4}"/>
              </a:ext>
            </a:extLst>
          </p:cNvPr>
          <p:cNvGrpSpPr/>
          <p:nvPr/>
        </p:nvGrpSpPr>
        <p:grpSpPr>
          <a:xfrm>
            <a:off x="3092116" y="2666501"/>
            <a:ext cx="2672970" cy="736376"/>
            <a:chOff x="4122821" y="3555334"/>
            <a:chExt cx="3563960" cy="1056771"/>
          </a:xfrm>
          <a:noFill/>
        </p:grpSpPr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F8ADA7F4-A171-4CD1-9491-904C030E22B2}"/>
                </a:ext>
              </a:extLst>
            </p:cNvPr>
            <p:cNvSpPr/>
            <p:nvPr/>
          </p:nvSpPr>
          <p:spPr>
            <a:xfrm>
              <a:off x="4122821" y="3555334"/>
              <a:ext cx="3563960" cy="1056771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ln>
              <a:solidFill>
                <a:srgbClr val="0070C0"/>
              </a:solidFill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 defTabSz="342900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fr-FR" sz="900">
                  <a:solidFill>
                    <a:srgbClr val="0070C0"/>
                  </a:solidFill>
                  <a:latin typeface="Calibri" panose="020F0502020204030204"/>
                </a:rPr>
                <a:t>Couche d’Execution des Tests</a:t>
              </a: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2B9CD215-1C5D-447A-B040-C1BFE44C7511}"/>
                </a:ext>
              </a:extLst>
            </p:cNvPr>
            <p:cNvSpPr/>
            <p:nvPr/>
          </p:nvSpPr>
          <p:spPr>
            <a:xfrm>
              <a:off x="4243136" y="3819027"/>
              <a:ext cx="3334520" cy="296777"/>
            </a:xfrm>
            <a:prstGeom prst="rect">
              <a:avLst/>
            </a:prstGeom>
            <a:grpFill/>
            <a:ln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342900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fr-FR" sz="825">
                  <a:solidFill>
                    <a:sysClr val="windowText" lastClr="000000"/>
                  </a:solidFill>
                  <a:latin typeface="Calibri" panose="020F0502020204030204"/>
                </a:rPr>
                <a:t>Exécution des Tests</a:t>
              </a: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8DA81228-6C01-4EB9-BAEA-AFCC591A7619}"/>
                </a:ext>
              </a:extLst>
            </p:cNvPr>
            <p:cNvSpPr/>
            <p:nvPr/>
          </p:nvSpPr>
          <p:spPr>
            <a:xfrm>
              <a:off x="4243136" y="4180973"/>
              <a:ext cx="1558558" cy="296777"/>
            </a:xfrm>
            <a:prstGeom prst="rect">
              <a:avLst/>
            </a:prstGeom>
            <a:grpFill/>
            <a:ln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342900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fr-FR" sz="825">
                  <a:solidFill>
                    <a:sysClr val="windowText" lastClr="000000"/>
                  </a:solidFill>
                  <a:latin typeface="Calibri" panose="020F0502020204030204"/>
                </a:rPr>
                <a:t>Enregistrement</a:t>
              </a: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5CBEF31E-8983-4A7A-AA49-3A371E1EB953}"/>
                </a:ext>
              </a:extLst>
            </p:cNvPr>
            <p:cNvSpPr/>
            <p:nvPr/>
          </p:nvSpPr>
          <p:spPr>
            <a:xfrm>
              <a:off x="6012857" y="4180973"/>
              <a:ext cx="1558558" cy="296777"/>
            </a:xfrm>
            <a:prstGeom prst="rect">
              <a:avLst/>
            </a:prstGeom>
            <a:grpFill/>
            <a:ln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342900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fr-FR" sz="825" err="1">
                  <a:solidFill>
                    <a:sysClr val="windowText" lastClr="000000"/>
                  </a:solidFill>
                  <a:latin typeface="Calibri" panose="020F0502020204030204"/>
                </a:rPr>
                <a:t>Reporting</a:t>
              </a:r>
              <a:endParaRPr lang="fr-FR" sz="825">
                <a:solidFill>
                  <a:sysClr val="windowText" lastClr="000000"/>
                </a:solidFill>
                <a:latin typeface="Calibri" panose="020F0502020204030204"/>
              </a:endParaRPr>
            </a:p>
          </p:txBody>
        </p:sp>
      </p:grpSp>
      <p:sp>
        <p:nvSpPr>
          <p:cNvPr id="22" name="Rectangle 21">
            <a:extLst>
              <a:ext uri="{FF2B5EF4-FFF2-40B4-BE49-F238E27FC236}">
                <a16:creationId xmlns:a16="http://schemas.microsoft.com/office/drawing/2014/main" id="{D8D43531-A346-4753-B9DC-572790B6CD9E}"/>
              </a:ext>
            </a:extLst>
          </p:cNvPr>
          <p:cNvSpPr/>
          <p:nvPr/>
        </p:nvSpPr>
        <p:spPr>
          <a:xfrm rot="16200000">
            <a:off x="3040112" y="3967120"/>
            <a:ext cx="620383" cy="232935"/>
          </a:xfrm>
          <a:prstGeom prst="rect">
            <a:avLst/>
          </a:prstGeom>
          <a:noFill/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4290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fr-FR" sz="788">
                <a:solidFill>
                  <a:sysClr val="windowText" lastClr="000000"/>
                </a:solidFill>
                <a:latin typeface="Calibri" panose="020F0502020204030204"/>
              </a:rPr>
              <a:t>IHM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4576594A-5C58-4B11-BCC7-482F9DD78E4E}"/>
              </a:ext>
            </a:extLst>
          </p:cNvPr>
          <p:cNvSpPr/>
          <p:nvPr/>
        </p:nvSpPr>
        <p:spPr>
          <a:xfrm rot="16200000">
            <a:off x="3318339" y="3967120"/>
            <a:ext cx="620383" cy="232935"/>
          </a:xfrm>
          <a:prstGeom prst="rect">
            <a:avLst/>
          </a:prstGeom>
          <a:noFill/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4290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fr-FR" sz="788">
                <a:solidFill>
                  <a:sysClr val="windowText" lastClr="000000"/>
                </a:solidFill>
                <a:latin typeface="Calibri" panose="020F0502020204030204"/>
              </a:rPr>
              <a:t>API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1B8E9A58-6D4D-4258-96E8-3BA46522980B}"/>
              </a:ext>
            </a:extLst>
          </p:cNvPr>
          <p:cNvSpPr/>
          <p:nvPr/>
        </p:nvSpPr>
        <p:spPr>
          <a:xfrm rot="16200000">
            <a:off x="3598073" y="3967120"/>
            <a:ext cx="620383" cy="232935"/>
          </a:xfrm>
          <a:prstGeom prst="rect">
            <a:avLst/>
          </a:prstGeom>
          <a:noFill/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4290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fr-FR" sz="788">
                <a:solidFill>
                  <a:sysClr val="windowText" lastClr="000000"/>
                </a:solidFill>
                <a:latin typeface="Calibri" panose="020F0502020204030204"/>
              </a:rPr>
              <a:t>Services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A87168C9-44D0-46E5-BB54-9637A14C2B18}"/>
              </a:ext>
            </a:extLst>
          </p:cNvPr>
          <p:cNvSpPr/>
          <p:nvPr/>
        </p:nvSpPr>
        <p:spPr>
          <a:xfrm rot="16200000">
            <a:off x="3890598" y="3967120"/>
            <a:ext cx="620383" cy="232935"/>
          </a:xfrm>
          <a:prstGeom prst="rect">
            <a:avLst/>
          </a:prstGeom>
          <a:noFill/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4290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fr-FR" sz="788">
                <a:solidFill>
                  <a:sysClr val="windowText" lastClr="000000"/>
                </a:solidFill>
                <a:latin typeface="Calibri" panose="020F0502020204030204"/>
              </a:rPr>
              <a:t>Protocoles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9C2AB1A3-1D6B-4924-8590-309E3CFB471E}"/>
              </a:ext>
            </a:extLst>
          </p:cNvPr>
          <p:cNvSpPr/>
          <p:nvPr/>
        </p:nvSpPr>
        <p:spPr>
          <a:xfrm rot="16200000">
            <a:off x="4173340" y="3967120"/>
            <a:ext cx="620383" cy="232935"/>
          </a:xfrm>
          <a:prstGeom prst="rect">
            <a:avLst/>
          </a:prstGeom>
          <a:noFill/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4290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fr-FR" sz="788">
                <a:solidFill>
                  <a:sysClr val="windowText" lastClr="000000"/>
                </a:solidFill>
                <a:latin typeface="Calibri" panose="020F0502020204030204"/>
              </a:rPr>
              <a:t>Base de Données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20CAED74-B66F-492A-8694-2C794DAC2A8E}"/>
              </a:ext>
            </a:extLst>
          </p:cNvPr>
          <p:cNvSpPr/>
          <p:nvPr/>
        </p:nvSpPr>
        <p:spPr>
          <a:xfrm rot="16200000">
            <a:off x="4926277" y="3957347"/>
            <a:ext cx="620383" cy="232935"/>
          </a:xfrm>
          <a:prstGeom prst="rect">
            <a:avLst/>
          </a:prstGeom>
          <a:noFill/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4290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fr-FR" sz="788">
                <a:solidFill>
                  <a:sysClr val="windowText" lastClr="000000"/>
                </a:solidFill>
                <a:latin typeface="Calibri" panose="020F0502020204030204"/>
              </a:rPr>
              <a:t>Simulateurs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A40A4E44-287F-4AF1-9237-9AE02956D058}"/>
              </a:ext>
            </a:extLst>
          </p:cNvPr>
          <p:cNvSpPr/>
          <p:nvPr/>
        </p:nvSpPr>
        <p:spPr>
          <a:xfrm rot="16200000">
            <a:off x="5203776" y="3957346"/>
            <a:ext cx="620383" cy="232935"/>
          </a:xfrm>
          <a:prstGeom prst="rect">
            <a:avLst/>
          </a:prstGeom>
          <a:noFill/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4290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fr-FR" sz="788">
                <a:solidFill>
                  <a:sysClr val="windowText" lastClr="000000"/>
                </a:solidFill>
                <a:latin typeface="Calibri" panose="020F0502020204030204"/>
              </a:rPr>
              <a:t>Emulateurs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820ACEFF-865B-4C25-94E4-1115CF02F509}"/>
              </a:ext>
            </a:extLst>
          </p:cNvPr>
          <p:cNvSpPr txBox="1"/>
          <p:nvPr/>
        </p:nvSpPr>
        <p:spPr>
          <a:xfrm>
            <a:off x="4768091" y="3865762"/>
            <a:ext cx="232935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defTabSz="34290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fr-FR" sz="1200">
                <a:solidFill>
                  <a:sysClr val="windowText" lastClr="000000"/>
                </a:solidFill>
                <a:latin typeface="Calibri" panose="020F0502020204030204"/>
                <a:cs typeface="+mn-cs"/>
              </a:rPr>
              <a:t>…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CAA9BF94-4CAB-4C80-B60D-99AE94D29D6D}"/>
              </a:ext>
            </a:extLst>
          </p:cNvPr>
          <p:cNvSpPr/>
          <p:nvPr/>
        </p:nvSpPr>
        <p:spPr>
          <a:xfrm rot="16200000">
            <a:off x="18785" y="2585285"/>
            <a:ext cx="4466725" cy="336884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4290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fr-FR" sz="1200">
                <a:solidFill>
                  <a:sysClr val="windowText" lastClr="000000"/>
                </a:solidFill>
                <a:latin typeface="Calibri" panose="020F0502020204030204"/>
              </a:rPr>
              <a:t>Gestion de configuration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BF03598C-2D1B-4FF9-AA92-C859623402E6}"/>
              </a:ext>
            </a:extLst>
          </p:cNvPr>
          <p:cNvSpPr/>
          <p:nvPr/>
        </p:nvSpPr>
        <p:spPr>
          <a:xfrm rot="16200000">
            <a:off x="4334068" y="2585284"/>
            <a:ext cx="4466726" cy="336884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4290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fr-FR" sz="1200">
                <a:solidFill>
                  <a:sysClr val="windowText" lastClr="000000"/>
                </a:solidFill>
                <a:latin typeface="Calibri" panose="020F0502020204030204"/>
              </a:rPr>
              <a:t>Gestion des Tests</a:t>
            </a:r>
          </a:p>
        </p:txBody>
      </p:sp>
      <p:sp>
        <p:nvSpPr>
          <p:cNvPr id="34" name="L-Shape 33">
            <a:extLst>
              <a:ext uri="{FF2B5EF4-FFF2-40B4-BE49-F238E27FC236}">
                <a16:creationId xmlns:a16="http://schemas.microsoft.com/office/drawing/2014/main" id="{A1245ED3-6784-40DD-9431-EF7A08522D79}"/>
              </a:ext>
            </a:extLst>
          </p:cNvPr>
          <p:cNvSpPr/>
          <p:nvPr/>
        </p:nvSpPr>
        <p:spPr>
          <a:xfrm>
            <a:off x="2506321" y="1535530"/>
            <a:ext cx="3799191" cy="3451559"/>
          </a:xfrm>
          <a:prstGeom prst="corner">
            <a:avLst>
              <a:gd name="adj1" fmla="val 9813"/>
              <a:gd name="adj2" fmla="val 5543"/>
            </a:avLst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4290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fr-FR" sz="1350">
                <a:solidFill>
                  <a:sysClr val="windowText" lastClr="000000"/>
                </a:solidFill>
                <a:latin typeface="Calibri" panose="020F0502020204030204"/>
              </a:rPr>
              <a:t>Test Automation Framework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46AC1E2C-FB3B-4069-8836-A2BC6DD17689}"/>
              </a:ext>
            </a:extLst>
          </p:cNvPr>
          <p:cNvSpPr/>
          <p:nvPr/>
        </p:nvSpPr>
        <p:spPr>
          <a:xfrm>
            <a:off x="6105493" y="1535531"/>
            <a:ext cx="200018" cy="3120691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42900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 sz="1350">
              <a:solidFill>
                <a:prstClr val="white"/>
              </a:solidFill>
              <a:latin typeface="Calibri" panose="020F0502020204030204"/>
            </a:endParaRPr>
          </a:p>
        </p:txBody>
      </p: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C1CE3AA6-5956-4529-B0F8-FA93F7AE8571}"/>
              </a:ext>
            </a:extLst>
          </p:cNvPr>
          <p:cNvCxnSpPr/>
          <p:nvPr/>
        </p:nvCxnSpPr>
        <p:spPr>
          <a:xfrm flipH="1">
            <a:off x="2420590" y="1144505"/>
            <a:ext cx="662502" cy="0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Arrow Connector 32">
            <a:extLst>
              <a:ext uri="{FF2B5EF4-FFF2-40B4-BE49-F238E27FC236}">
                <a16:creationId xmlns:a16="http://schemas.microsoft.com/office/drawing/2014/main" id="{0B725F76-B16E-4F61-A3D8-757CB090886A}"/>
              </a:ext>
            </a:extLst>
          </p:cNvPr>
          <p:cNvCxnSpPr/>
          <p:nvPr/>
        </p:nvCxnSpPr>
        <p:spPr>
          <a:xfrm flipH="1">
            <a:off x="2420590" y="2025818"/>
            <a:ext cx="662502" cy="0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Straight Arrow Connector 66">
            <a:extLst>
              <a:ext uri="{FF2B5EF4-FFF2-40B4-BE49-F238E27FC236}">
                <a16:creationId xmlns:a16="http://schemas.microsoft.com/office/drawing/2014/main" id="{BFC70B66-C46B-4701-85D7-6B38CE5CC374}"/>
              </a:ext>
            </a:extLst>
          </p:cNvPr>
          <p:cNvCxnSpPr/>
          <p:nvPr/>
        </p:nvCxnSpPr>
        <p:spPr>
          <a:xfrm flipH="1">
            <a:off x="2420590" y="3086853"/>
            <a:ext cx="662502" cy="0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Straight Arrow Connector 68">
            <a:extLst>
              <a:ext uri="{FF2B5EF4-FFF2-40B4-BE49-F238E27FC236}">
                <a16:creationId xmlns:a16="http://schemas.microsoft.com/office/drawing/2014/main" id="{38EB6444-FB6B-45F8-BEF5-411104826236}"/>
              </a:ext>
            </a:extLst>
          </p:cNvPr>
          <p:cNvCxnSpPr/>
          <p:nvPr/>
        </p:nvCxnSpPr>
        <p:spPr>
          <a:xfrm flipH="1">
            <a:off x="2420590" y="3960845"/>
            <a:ext cx="662502" cy="0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Straight Arrow Connector 70">
            <a:extLst>
              <a:ext uri="{FF2B5EF4-FFF2-40B4-BE49-F238E27FC236}">
                <a16:creationId xmlns:a16="http://schemas.microsoft.com/office/drawing/2014/main" id="{D3112880-304B-41CB-ABAA-26978E617ED3}"/>
              </a:ext>
            </a:extLst>
          </p:cNvPr>
          <p:cNvCxnSpPr/>
          <p:nvPr/>
        </p:nvCxnSpPr>
        <p:spPr>
          <a:xfrm>
            <a:off x="5765086" y="1144505"/>
            <a:ext cx="633903" cy="0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Straight Arrow Connector 75">
            <a:extLst>
              <a:ext uri="{FF2B5EF4-FFF2-40B4-BE49-F238E27FC236}">
                <a16:creationId xmlns:a16="http://schemas.microsoft.com/office/drawing/2014/main" id="{D59AFBC3-089D-4F73-8071-89641A42354C}"/>
              </a:ext>
            </a:extLst>
          </p:cNvPr>
          <p:cNvCxnSpPr>
            <a:cxnSpLocks/>
          </p:cNvCxnSpPr>
          <p:nvPr/>
        </p:nvCxnSpPr>
        <p:spPr>
          <a:xfrm>
            <a:off x="5765086" y="2025818"/>
            <a:ext cx="633903" cy="0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Straight Arrow Connector 81">
            <a:extLst>
              <a:ext uri="{FF2B5EF4-FFF2-40B4-BE49-F238E27FC236}">
                <a16:creationId xmlns:a16="http://schemas.microsoft.com/office/drawing/2014/main" id="{3788A937-D2B5-49C5-AAC9-34D7AF975F52}"/>
              </a:ext>
            </a:extLst>
          </p:cNvPr>
          <p:cNvCxnSpPr>
            <a:cxnSpLocks/>
          </p:cNvCxnSpPr>
          <p:nvPr/>
        </p:nvCxnSpPr>
        <p:spPr>
          <a:xfrm>
            <a:off x="5768395" y="3086853"/>
            <a:ext cx="633903" cy="0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Straight Arrow Connector 82">
            <a:extLst>
              <a:ext uri="{FF2B5EF4-FFF2-40B4-BE49-F238E27FC236}">
                <a16:creationId xmlns:a16="http://schemas.microsoft.com/office/drawing/2014/main" id="{9222919E-647D-49BC-8376-51971F2A3D1D}"/>
              </a:ext>
            </a:extLst>
          </p:cNvPr>
          <p:cNvCxnSpPr>
            <a:cxnSpLocks/>
          </p:cNvCxnSpPr>
          <p:nvPr/>
        </p:nvCxnSpPr>
        <p:spPr>
          <a:xfrm>
            <a:off x="5765086" y="3960845"/>
            <a:ext cx="633903" cy="0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Straight Arrow Connector 86">
            <a:extLst>
              <a:ext uri="{FF2B5EF4-FFF2-40B4-BE49-F238E27FC236}">
                <a16:creationId xmlns:a16="http://schemas.microsoft.com/office/drawing/2014/main" id="{83D12687-43C2-457A-917D-25702E900528}"/>
              </a:ext>
            </a:extLst>
          </p:cNvPr>
          <p:cNvCxnSpPr/>
          <p:nvPr/>
        </p:nvCxnSpPr>
        <p:spPr>
          <a:xfrm flipV="1">
            <a:off x="2263140" y="359742"/>
            <a:ext cx="0" cy="160621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Straight Arrow Connector 87">
            <a:extLst>
              <a:ext uri="{FF2B5EF4-FFF2-40B4-BE49-F238E27FC236}">
                <a16:creationId xmlns:a16="http://schemas.microsoft.com/office/drawing/2014/main" id="{A42EDEE2-5E02-41DC-ABB1-5A6227B8EAD0}"/>
              </a:ext>
            </a:extLst>
          </p:cNvPr>
          <p:cNvCxnSpPr/>
          <p:nvPr/>
        </p:nvCxnSpPr>
        <p:spPr>
          <a:xfrm flipV="1">
            <a:off x="6560820" y="359742"/>
            <a:ext cx="0" cy="160621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Straight Arrow Connector 88">
            <a:extLst>
              <a:ext uri="{FF2B5EF4-FFF2-40B4-BE49-F238E27FC236}">
                <a16:creationId xmlns:a16="http://schemas.microsoft.com/office/drawing/2014/main" id="{CE4733B4-18DA-48C0-9288-5691DDD066DF}"/>
              </a:ext>
            </a:extLst>
          </p:cNvPr>
          <p:cNvCxnSpPr/>
          <p:nvPr/>
        </p:nvCxnSpPr>
        <p:spPr>
          <a:xfrm flipV="1">
            <a:off x="4378493" y="359742"/>
            <a:ext cx="0" cy="160621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" name="Straight Arrow Connector 89">
            <a:extLst>
              <a:ext uri="{FF2B5EF4-FFF2-40B4-BE49-F238E27FC236}">
                <a16:creationId xmlns:a16="http://schemas.microsoft.com/office/drawing/2014/main" id="{9824BCF0-7B09-451D-9E3A-47A1381D81DC}"/>
              </a:ext>
            </a:extLst>
          </p:cNvPr>
          <p:cNvCxnSpPr>
            <a:cxnSpLocks/>
            <a:stCxn id="7" idx="0"/>
          </p:cNvCxnSpPr>
          <p:nvPr/>
        </p:nvCxnSpPr>
        <p:spPr>
          <a:xfrm flipV="1">
            <a:off x="4428601" y="1368958"/>
            <a:ext cx="1328" cy="130478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Straight Arrow Connector 92">
            <a:extLst>
              <a:ext uri="{FF2B5EF4-FFF2-40B4-BE49-F238E27FC236}">
                <a16:creationId xmlns:a16="http://schemas.microsoft.com/office/drawing/2014/main" id="{98CC0D0F-B950-4867-A99B-B462C7C27C9A}"/>
              </a:ext>
            </a:extLst>
          </p:cNvPr>
          <p:cNvCxnSpPr>
            <a:cxnSpLocks/>
          </p:cNvCxnSpPr>
          <p:nvPr/>
        </p:nvCxnSpPr>
        <p:spPr>
          <a:xfrm flipV="1">
            <a:off x="4424677" y="2534689"/>
            <a:ext cx="1328" cy="130478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Straight Arrow Connector 93">
            <a:extLst>
              <a:ext uri="{FF2B5EF4-FFF2-40B4-BE49-F238E27FC236}">
                <a16:creationId xmlns:a16="http://schemas.microsoft.com/office/drawing/2014/main" id="{3A72278C-2289-4B29-9AF5-7B2624EF60D3}"/>
              </a:ext>
            </a:extLst>
          </p:cNvPr>
          <p:cNvCxnSpPr>
            <a:cxnSpLocks/>
          </p:cNvCxnSpPr>
          <p:nvPr/>
        </p:nvCxnSpPr>
        <p:spPr>
          <a:xfrm flipV="1">
            <a:off x="4429928" y="3393272"/>
            <a:ext cx="1328" cy="130478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3518842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916A355-C0B9-40DE-8181-511D69D2D1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Stratégie Globale d’automatisation de test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BCB81558-3691-48B0-9D78-F390E4CE11CC}"/>
              </a:ext>
            </a:extLst>
          </p:cNvPr>
          <p:cNvSpPr/>
          <p:nvPr/>
        </p:nvSpPr>
        <p:spPr>
          <a:xfrm>
            <a:off x="1321523" y="749165"/>
            <a:ext cx="844062" cy="169157"/>
          </a:xfrm>
          <a:prstGeom prst="rect">
            <a:avLst/>
          </a:prstGeom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700"/>
              <a:t>Niveaux de Test</a:t>
            </a: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7E9BF203-35DA-4F5F-9793-4B72EBBF789A}"/>
              </a:ext>
            </a:extLst>
          </p:cNvPr>
          <p:cNvSpPr/>
          <p:nvPr/>
        </p:nvSpPr>
        <p:spPr>
          <a:xfrm>
            <a:off x="1329517" y="1032345"/>
            <a:ext cx="828074" cy="436618"/>
          </a:xfrm>
          <a:prstGeom prst="roundRect">
            <a:avLst/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fr-FR" sz="800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est Système</a:t>
            </a: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F3F5CBCB-3F55-4DA8-8DC4-F0371DBEA1D7}"/>
              </a:ext>
            </a:extLst>
          </p:cNvPr>
          <p:cNvSpPr/>
          <p:nvPr/>
        </p:nvSpPr>
        <p:spPr>
          <a:xfrm>
            <a:off x="1329517" y="1560180"/>
            <a:ext cx="828074" cy="436618"/>
          </a:xfrm>
          <a:prstGeom prst="roundRect">
            <a:avLst/>
          </a:prstGeom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fr-FR" sz="800">
                <a:solidFill>
                  <a:schemeClr val="accent5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est Intégration</a:t>
            </a: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0E6BF0D3-65B0-43E7-AD16-0F3E424C4AFD}"/>
              </a:ext>
            </a:extLst>
          </p:cNvPr>
          <p:cNvSpPr/>
          <p:nvPr/>
        </p:nvSpPr>
        <p:spPr>
          <a:xfrm>
            <a:off x="1329517" y="2095635"/>
            <a:ext cx="828074" cy="447429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fr-FR" sz="800">
                <a:solidFill>
                  <a:schemeClr val="accent3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est Composant</a:t>
            </a: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51C40A80-0E30-4DDF-9D0A-620B6E99BCF6}"/>
              </a:ext>
            </a:extLst>
          </p:cNvPr>
          <p:cNvSpPr/>
          <p:nvPr/>
        </p:nvSpPr>
        <p:spPr>
          <a:xfrm>
            <a:off x="273896" y="1032345"/>
            <a:ext cx="920563" cy="436618"/>
          </a:xfrm>
          <a:prstGeom prst="roundRect">
            <a:avLst/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fr-FR" sz="800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MF</a:t>
            </a:r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6ADD7F34-05C6-43D7-B85C-C1D5B924E3A7}"/>
              </a:ext>
            </a:extLst>
          </p:cNvPr>
          <p:cNvSpPr/>
          <p:nvPr/>
        </p:nvSpPr>
        <p:spPr>
          <a:xfrm>
            <a:off x="273896" y="1560180"/>
            <a:ext cx="920563" cy="436618"/>
          </a:xfrm>
          <a:prstGeom prst="roundRect">
            <a:avLst/>
          </a:prstGeom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fr-FR" sz="800">
                <a:solidFill>
                  <a:schemeClr val="accent5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User Story</a:t>
            </a:r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413F1D1C-CE80-40E2-B29A-2F5E144E06BB}"/>
              </a:ext>
            </a:extLst>
          </p:cNvPr>
          <p:cNvSpPr/>
          <p:nvPr/>
        </p:nvSpPr>
        <p:spPr>
          <a:xfrm>
            <a:off x="273896" y="2095635"/>
            <a:ext cx="920563" cy="447429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fr-FR" sz="800">
                <a:solidFill>
                  <a:schemeClr val="accent3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âche Composant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90C6872B-2C9B-4A09-A387-ADCA3E15A714}"/>
              </a:ext>
            </a:extLst>
          </p:cNvPr>
          <p:cNvSpPr/>
          <p:nvPr/>
        </p:nvSpPr>
        <p:spPr>
          <a:xfrm>
            <a:off x="2291384" y="749165"/>
            <a:ext cx="2234076" cy="169157"/>
          </a:xfrm>
          <a:prstGeom prst="rect">
            <a:avLst/>
          </a:prstGeom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800"/>
              <a:t>Activités de Test</a:t>
            </a:r>
          </a:p>
        </p:txBody>
      </p:sp>
      <p:sp>
        <p:nvSpPr>
          <p:cNvPr id="24" name="Rectangle: Rounded Corners 23">
            <a:extLst>
              <a:ext uri="{FF2B5EF4-FFF2-40B4-BE49-F238E27FC236}">
                <a16:creationId xmlns:a16="http://schemas.microsoft.com/office/drawing/2014/main" id="{B2D6FD7F-B213-42F9-BADA-5EE492CAB41D}"/>
              </a:ext>
            </a:extLst>
          </p:cNvPr>
          <p:cNvSpPr/>
          <p:nvPr/>
        </p:nvSpPr>
        <p:spPr>
          <a:xfrm>
            <a:off x="2291384" y="2095635"/>
            <a:ext cx="2234076" cy="447429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fr-FR" sz="700">
                <a:solidFill>
                  <a:schemeClr val="accent3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utomatisation des Test Web Service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8F57AB87-CA49-4E7D-AB7A-0E5AC1D7590C}"/>
              </a:ext>
            </a:extLst>
          </p:cNvPr>
          <p:cNvSpPr/>
          <p:nvPr/>
        </p:nvSpPr>
        <p:spPr>
          <a:xfrm>
            <a:off x="4664958" y="749165"/>
            <a:ext cx="1366753" cy="169157"/>
          </a:xfrm>
          <a:prstGeom prst="rect">
            <a:avLst/>
          </a:prstGeom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800"/>
              <a:t>Outils d’Automatisation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F55F9654-0DB5-46B3-868C-AF9B66204FFF}"/>
              </a:ext>
            </a:extLst>
          </p:cNvPr>
          <p:cNvGrpSpPr/>
          <p:nvPr/>
        </p:nvGrpSpPr>
        <p:grpSpPr>
          <a:xfrm>
            <a:off x="4664958" y="1032345"/>
            <a:ext cx="1366753" cy="436618"/>
            <a:chOff x="4638700" y="1184745"/>
            <a:chExt cx="1366753" cy="436618"/>
          </a:xfrm>
        </p:grpSpPr>
        <p:sp>
          <p:nvSpPr>
            <p:cNvPr id="39" name="Rectangle: Rounded Corners 38">
              <a:extLst>
                <a:ext uri="{FF2B5EF4-FFF2-40B4-BE49-F238E27FC236}">
                  <a16:creationId xmlns:a16="http://schemas.microsoft.com/office/drawing/2014/main" id="{98D8AD3D-0177-404F-8063-E51C440FB1FF}"/>
                </a:ext>
              </a:extLst>
            </p:cNvPr>
            <p:cNvSpPr/>
            <p:nvPr/>
          </p:nvSpPr>
          <p:spPr>
            <a:xfrm>
              <a:off x="4638700" y="1184745"/>
              <a:ext cx="1366753" cy="436618"/>
            </a:xfrm>
            <a:prstGeom prst="roundRect">
              <a:avLst/>
            </a:prstGeom>
            <a:ln/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lIns="0" rIns="0" rtlCol="0" anchor="b"/>
            <a:lstStyle/>
            <a:p>
              <a:pPr algn="ctr"/>
              <a:r>
                <a:rPr lang="fr-FR" sz="600" err="1">
                  <a:solidFill>
                    <a:schemeClr val="accent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Selenium</a:t>
              </a:r>
              <a:r>
                <a:rPr lang="fr-FR" sz="600">
                  <a:solidFill>
                    <a:schemeClr val="accent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   </a:t>
              </a:r>
              <a:r>
                <a:rPr lang="fr-FR" sz="600" err="1">
                  <a:solidFill>
                    <a:schemeClr val="accent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Appium</a:t>
              </a:r>
              <a:r>
                <a:rPr lang="fr-FR" sz="600">
                  <a:solidFill>
                    <a:schemeClr val="accent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   UFT Dev   EXCEL</a:t>
              </a:r>
            </a:p>
          </p:txBody>
        </p:sp>
        <p:pic>
          <p:nvPicPr>
            <p:cNvPr id="26" name="Picture 4" descr="Afficher l’image source">
              <a:extLst>
                <a:ext uri="{FF2B5EF4-FFF2-40B4-BE49-F238E27FC236}">
                  <a16:creationId xmlns:a16="http://schemas.microsoft.com/office/drawing/2014/main" id="{E748CAEC-206F-44ED-BB43-C5B852B3476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54571" y="1227624"/>
              <a:ext cx="201345" cy="21026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7" name="Picture 2" descr="Afficher l’image source">
              <a:extLst>
                <a:ext uri="{FF2B5EF4-FFF2-40B4-BE49-F238E27FC236}">
                  <a16:creationId xmlns:a16="http://schemas.microsoft.com/office/drawing/2014/main" id="{7B3A7C97-7C86-42D5-A401-A87D3F3ACFA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95414" y="1228136"/>
              <a:ext cx="217958" cy="21868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8" name="Picture 67" descr="Icon&#10;&#10;Description automatically generated">
              <a:extLst>
                <a:ext uri="{FF2B5EF4-FFF2-40B4-BE49-F238E27FC236}">
                  <a16:creationId xmlns:a16="http://schemas.microsoft.com/office/drawing/2014/main" id="{E1B58598-C96A-40FD-B02C-35CCD4405E2E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432008" y="1224315"/>
              <a:ext cx="222508" cy="222508"/>
            </a:xfrm>
            <a:prstGeom prst="rect">
              <a:avLst/>
            </a:prstGeom>
          </p:spPr>
        </p:pic>
      </p:grpSp>
      <p:grpSp>
        <p:nvGrpSpPr>
          <p:cNvPr id="45" name="Group 44">
            <a:extLst>
              <a:ext uri="{FF2B5EF4-FFF2-40B4-BE49-F238E27FC236}">
                <a16:creationId xmlns:a16="http://schemas.microsoft.com/office/drawing/2014/main" id="{8E3D4266-271F-4026-A3B5-70BB816C5186}"/>
              </a:ext>
            </a:extLst>
          </p:cNvPr>
          <p:cNvGrpSpPr/>
          <p:nvPr/>
        </p:nvGrpSpPr>
        <p:grpSpPr>
          <a:xfrm>
            <a:off x="4664958" y="2095635"/>
            <a:ext cx="1366753" cy="447429"/>
            <a:chOff x="4645496" y="2229344"/>
            <a:chExt cx="1366753" cy="447429"/>
          </a:xfrm>
        </p:grpSpPr>
        <p:sp>
          <p:nvSpPr>
            <p:cNvPr id="40" name="Rectangle: Rounded Corners 39">
              <a:extLst>
                <a:ext uri="{FF2B5EF4-FFF2-40B4-BE49-F238E27FC236}">
                  <a16:creationId xmlns:a16="http://schemas.microsoft.com/office/drawing/2014/main" id="{6C2D85C5-E0E5-4350-8334-DA9075A7C434}"/>
                </a:ext>
              </a:extLst>
            </p:cNvPr>
            <p:cNvSpPr/>
            <p:nvPr/>
          </p:nvSpPr>
          <p:spPr>
            <a:xfrm>
              <a:off x="4645496" y="2229344"/>
              <a:ext cx="1366753" cy="447429"/>
            </a:xfrm>
            <a:prstGeom prst="roundRect">
              <a:avLst/>
            </a:prstGeom>
            <a:ln>
              <a:headEnd type="none" w="med" len="med"/>
              <a:tailEnd type="none" w="med" len="med"/>
            </a:ln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 rtlCol="0" anchor="b"/>
            <a:lstStyle/>
            <a:p>
              <a:pPr algn="ctr"/>
              <a:r>
                <a:rPr lang="fr-FR" sz="600" err="1">
                  <a:solidFill>
                    <a:schemeClr val="accent3">
                      <a:lumMod val="50000"/>
                    </a:schemeClr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SoapUI</a:t>
              </a:r>
              <a:r>
                <a:rPr lang="fr-FR" sz="600">
                  <a:solidFill>
                    <a:schemeClr val="accent3">
                      <a:lumMod val="50000"/>
                    </a:schemeClr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 / ReadyAPI</a:t>
              </a:r>
            </a:p>
          </p:txBody>
        </p:sp>
        <p:pic>
          <p:nvPicPr>
            <p:cNvPr id="32" name="Picture 69" descr="A picture containing text, yellow, clipart, picture frame&#10;&#10;Description automatically generated">
              <a:extLst>
                <a:ext uri="{FF2B5EF4-FFF2-40B4-BE49-F238E27FC236}">
                  <a16:creationId xmlns:a16="http://schemas.microsoft.com/office/drawing/2014/main" id="{200BB10E-D175-4F77-93B6-66A691138D18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213673" y="2261316"/>
              <a:ext cx="225131" cy="225131"/>
            </a:xfrm>
            <a:prstGeom prst="rect">
              <a:avLst/>
            </a:prstGeom>
          </p:spPr>
        </p:pic>
      </p:grpSp>
      <p:sp>
        <p:nvSpPr>
          <p:cNvPr id="38" name="Rectangle 37">
            <a:extLst>
              <a:ext uri="{FF2B5EF4-FFF2-40B4-BE49-F238E27FC236}">
                <a16:creationId xmlns:a16="http://schemas.microsoft.com/office/drawing/2014/main" id="{B00542A6-EBB7-4871-840F-042F0951A6B8}"/>
              </a:ext>
            </a:extLst>
          </p:cNvPr>
          <p:cNvSpPr/>
          <p:nvPr/>
        </p:nvSpPr>
        <p:spPr>
          <a:xfrm>
            <a:off x="273896" y="749165"/>
            <a:ext cx="925925" cy="169157"/>
          </a:xfrm>
          <a:prstGeom prst="rect">
            <a:avLst/>
          </a:prstGeom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800"/>
              <a:t>Besoin</a:t>
            </a:r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1A5C249E-1EA7-4D3F-A6D6-FC2E618BDD38}"/>
              </a:ext>
            </a:extLst>
          </p:cNvPr>
          <p:cNvGrpSpPr/>
          <p:nvPr/>
        </p:nvGrpSpPr>
        <p:grpSpPr>
          <a:xfrm>
            <a:off x="3344591" y="1560180"/>
            <a:ext cx="1180869" cy="436618"/>
            <a:chOff x="3329351" y="1704960"/>
            <a:chExt cx="1180869" cy="436618"/>
          </a:xfrm>
        </p:grpSpPr>
        <p:sp>
          <p:nvSpPr>
            <p:cNvPr id="23" name="Rectangle: Rounded Corners 22">
              <a:extLst>
                <a:ext uri="{FF2B5EF4-FFF2-40B4-BE49-F238E27FC236}">
                  <a16:creationId xmlns:a16="http://schemas.microsoft.com/office/drawing/2014/main" id="{9FB01AE0-1C6F-4DE5-A378-91678CABCDCC}"/>
                </a:ext>
              </a:extLst>
            </p:cNvPr>
            <p:cNvSpPr/>
            <p:nvPr/>
          </p:nvSpPr>
          <p:spPr>
            <a:xfrm>
              <a:off x="3329351" y="1704960"/>
              <a:ext cx="1180869" cy="436618"/>
            </a:xfrm>
            <a:prstGeom prst="roundRect">
              <a:avLst/>
            </a:prstGeom>
            <a:ln/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fr-FR" sz="700">
                  <a:solidFill>
                    <a:schemeClr val="accent5">
                      <a:lumMod val="50000"/>
                    </a:schemeClr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Automatisation Scenarios d’Acceptation (BDD)</a:t>
              </a:r>
            </a:p>
          </p:txBody>
        </p:sp>
        <p:sp>
          <p:nvSpPr>
            <p:cNvPr id="41" name="Oval 40">
              <a:extLst>
                <a:ext uri="{FF2B5EF4-FFF2-40B4-BE49-F238E27FC236}">
                  <a16:creationId xmlns:a16="http://schemas.microsoft.com/office/drawing/2014/main" id="{23EDD5FB-53E1-474F-9C71-62F307713247}"/>
                </a:ext>
              </a:extLst>
            </p:cNvPr>
            <p:cNvSpPr/>
            <p:nvPr/>
          </p:nvSpPr>
          <p:spPr>
            <a:xfrm>
              <a:off x="4336189" y="1963260"/>
              <a:ext cx="165000" cy="165000"/>
            </a:xfrm>
            <a:prstGeom prst="ellipse">
              <a:avLst/>
            </a:prstGeom>
            <a:solidFill>
              <a:srgbClr val="0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/>
            <a:lstStyle/>
            <a:p>
              <a:pPr algn="ctr"/>
              <a:r>
                <a:rPr lang="fr-FR" sz="500">
                  <a:latin typeface="Segoe UI" panose="020B0502040204020203" pitchFamily="34" charset="0"/>
                  <a:cs typeface="Segoe UI" panose="020B0502040204020203" pitchFamily="34" charset="0"/>
                </a:rPr>
                <a:t>DEV</a:t>
              </a:r>
            </a:p>
          </p:txBody>
        </p:sp>
      </p:grpSp>
      <p:sp>
        <p:nvSpPr>
          <p:cNvPr id="43" name="Oval 42">
            <a:extLst>
              <a:ext uri="{FF2B5EF4-FFF2-40B4-BE49-F238E27FC236}">
                <a16:creationId xmlns:a16="http://schemas.microsoft.com/office/drawing/2014/main" id="{255D00A6-FF68-4165-B496-4A0BC0995B66}"/>
              </a:ext>
            </a:extLst>
          </p:cNvPr>
          <p:cNvSpPr/>
          <p:nvPr/>
        </p:nvSpPr>
        <p:spPr>
          <a:xfrm>
            <a:off x="4351429" y="2364992"/>
            <a:ext cx="165000" cy="165000"/>
          </a:xfrm>
          <a:prstGeom prst="ellipse">
            <a:avLst/>
          </a:prstGeom>
          <a:solidFill>
            <a:srgbClr val="33993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fr-FR" sz="500">
                <a:latin typeface="Segoe UI" panose="020B0502040204020203" pitchFamily="34" charset="0"/>
                <a:cs typeface="Segoe UI" panose="020B0502040204020203" pitchFamily="34" charset="0"/>
              </a:rPr>
              <a:t>TEST</a:t>
            </a:r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883E9120-99BE-43AB-A0B3-F8C21CFBA721}"/>
              </a:ext>
            </a:extLst>
          </p:cNvPr>
          <p:cNvGrpSpPr/>
          <p:nvPr/>
        </p:nvGrpSpPr>
        <p:grpSpPr>
          <a:xfrm>
            <a:off x="3351011" y="1032345"/>
            <a:ext cx="1174449" cy="436618"/>
            <a:chOff x="3335771" y="1184745"/>
            <a:chExt cx="1174449" cy="436618"/>
          </a:xfrm>
        </p:grpSpPr>
        <p:sp>
          <p:nvSpPr>
            <p:cNvPr id="20" name="Rectangle: Rounded Corners 19">
              <a:extLst>
                <a:ext uri="{FF2B5EF4-FFF2-40B4-BE49-F238E27FC236}">
                  <a16:creationId xmlns:a16="http://schemas.microsoft.com/office/drawing/2014/main" id="{84B1F3E5-6629-4F6D-A9C9-BAE5C817FC9C}"/>
                </a:ext>
              </a:extLst>
            </p:cNvPr>
            <p:cNvSpPr/>
            <p:nvPr/>
          </p:nvSpPr>
          <p:spPr>
            <a:xfrm>
              <a:off x="3335771" y="1184745"/>
              <a:ext cx="1174449" cy="436618"/>
            </a:xfrm>
            <a:prstGeom prst="roundRect">
              <a:avLst/>
            </a:prstGeom>
            <a:ln/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fr-FR" sz="700">
                  <a:solidFill>
                    <a:schemeClr val="accent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Automatisation Parcours clés</a:t>
              </a:r>
            </a:p>
          </p:txBody>
        </p:sp>
        <p:sp>
          <p:nvSpPr>
            <p:cNvPr id="44" name="Oval 43">
              <a:extLst>
                <a:ext uri="{FF2B5EF4-FFF2-40B4-BE49-F238E27FC236}">
                  <a16:creationId xmlns:a16="http://schemas.microsoft.com/office/drawing/2014/main" id="{898F1EC3-261E-4A90-99CD-5773F836C6E3}"/>
                </a:ext>
              </a:extLst>
            </p:cNvPr>
            <p:cNvSpPr/>
            <p:nvPr/>
          </p:nvSpPr>
          <p:spPr>
            <a:xfrm>
              <a:off x="4329658" y="1440560"/>
              <a:ext cx="165000" cy="165000"/>
            </a:xfrm>
            <a:prstGeom prst="ellipse">
              <a:avLst/>
            </a:prstGeom>
            <a:solidFill>
              <a:srgbClr val="33993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/>
            <a:lstStyle/>
            <a:p>
              <a:pPr algn="ctr"/>
              <a:r>
                <a:rPr lang="fr-FR" sz="500">
                  <a:latin typeface="Segoe UI" panose="020B0502040204020203" pitchFamily="34" charset="0"/>
                  <a:cs typeface="Segoe UI" panose="020B0502040204020203" pitchFamily="34" charset="0"/>
                </a:rPr>
                <a:t>TEST</a:t>
              </a:r>
            </a:p>
          </p:txBody>
        </p:sp>
      </p:grp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CBDF9AE1-34A6-4F09-B3A0-3368FBBC490C}"/>
              </a:ext>
            </a:extLst>
          </p:cNvPr>
          <p:cNvSpPr/>
          <p:nvPr/>
        </p:nvSpPr>
        <p:spPr>
          <a:xfrm>
            <a:off x="2291384" y="2626840"/>
            <a:ext cx="2234076" cy="273253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fr-FR" sz="800">
                <a:solidFill>
                  <a:schemeClr val="accent3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est Unitair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FE5065B5-BFF3-4AA4-9E82-D977BDB53C0B}"/>
              </a:ext>
            </a:extLst>
          </p:cNvPr>
          <p:cNvGrpSpPr/>
          <p:nvPr/>
        </p:nvGrpSpPr>
        <p:grpSpPr>
          <a:xfrm>
            <a:off x="2291384" y="1560180"/>
            <a:ext cx="1002094" cy="436618"/>
            <a:chOff x="2276144" y="1704960"/>
            <a:chExt cx="1002094" cy="436618"/>
          </a:xfrm>
        </p:grpSpPr>
        <p:sp>
          <p:nvSpPr>
            <p:cNvPr id="22" name="Rectangle: Rounded Corners 21">
              <a:extLst>
                <a:ext uri="{FF2B5EF4-FFF2-40B4-BE49-F238E27FC236}">
                  <a16:creationId xmlns:a16="http://schemas.microsoft.com/office/drawing/2014/main" id="{D6E9724D-7E42-462E-AD8D-941550C8F144}"/>
                </a:ext>
              </a:extLst>
            </p:cNvPr>
            <p:cNvSpPr/>
            <p:nvPr/>
          </p:nvSpPr>
          <p:spPr>
            <a:xfrm>
              <a:off x="2276144" y="1704960"/>
              <a:ext cx="1002094" cy="436618"/>
            </a:xfrm>
            <a:prstGeom prst="roundRect">
              <a:avLst/>
            </a:prstGeom>
            <a:ln/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fr-FR" sz="800">
                  <a:solidFill>
                    <a:schemeClr val="accent5">
                      <a:lumMod val="50000"/>
                    </a:schemeClr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Pair-Test</a:t>
              </a:r>
            </a:p>
          </p:txBody>
        </p:sp>
        <p:sp>
          <p:nvSpPr>
            <p:cNvPr id="86" name="Oval 85">
              <a:extLst>
                <a:ext uri="{FF2B5EF4-FFF2-40B4-BE49-F238E27FC236}">
                  <a16:creationId xmlns:a16="http://schemas.microsoft.com/office/drawing/2014/main" id="{032C0152-8F19-4352-BCA6-9F2B9D7C97BF}"/>
                </a:ext>
              </a:extLst>
            </p:cNvPr>
            <p:cNvSpPr/>
            <p:nvPr/>
          </p:nvSpPr>
          <p:spPr>
            <a:xfrm>
              <a:off x="3084502" y="1969523"/>
              <a:ext cx="165000" cy="165000"/>
            </a:xfrm>
            <a:prstGeom prst="ellipse">
              <a:avLst/>
            </a:prstGeom>
            <a:solidFill>
              <a:srgbClr val="0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/>
            <a:lstStyle/>
            <a:p>
              <a:pPr algn="ctr"/>
              <a:r>
                <a:rPr lang="fr-FR" sz="500">
                  <a:latin typeface="Segoe UI" panose="020B0502040204020203" pitchFamily="34" charset="0"/>
                  <a:cs typeface="Segoe UI" panose="020B0502040204020203" pitchFamily="34" charset="0"/>
                </a:rPr>
                <a:t>DEV</a:t>
              </a:r>
              <a:endParaRPr lang="fr-FR" sz="60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87" name="Oval 86">
              <a:extLst>
                <a:ext uri="{FF2B5EF4-FFF2-40B4-BE49-F238E27FC236}">
                  <a16:creationId xmlns:a16="http://schemas.microsoft.com/office/drawing/2014/main" id="{B124F027-CD4B-4D6D-98AA-E39F3ACA40E3}"/>
                </a:ext>
              </a:extLst>
            </p:cNvPr>
            <p:cNvSpPr/>
            <p:nvPr/>
          </p:nvSpPr>
          <p:spPr>
            <a:xfrm>
              <a:off x="3002002" y="1970403"/>
              <a:ext cx="165000" cy="165000"/>
            </a:xfrm>
            <a:prstGeom prst="ellipse">
              <a:avLst/>
            </a:prstGeom>
            <a:solidFill>
              <a:srgbClr val="33993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/>
            <a:lstStyle/>
            <a:p>
              <a:pPr algn="ctr"/>
              <a:r>
                <a:rPr lang="fr-FR" sz="500">
                  <a:latin typeface="Segoe UI" panose="020B0502040204020203" pitchFamily="34" charset="0"/>
                  <a:cs typeface="Segoe UI" panose="020B0502040204020203" pitchFamily="34" charset="0"/>
                </a:rPr>
                <a:t>TEST</a:t>
              </a:r>
              <a:endParaRPr lang="fr-FR" sz="60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3F06E982-8B4A-4152-92F3-3100801E2332}"/>
              </a:ext>
            </a:extLst>
          </p:cNvPr>
          <p:cNvGrpSpPr/>
          <p:nvPr/>
        </p:nvGrpSpPr>
        <p:grpSpPr>
          <a:xfrm>
            <a:off x="2291384" y="1032345"/>
            <a:ext cx="1002094" cy="436618"/>
            <a:chOff x="2276144" y="1184745"/>
            <a:chExt cx="1002094" cy="436618"/>
          </a:xfrm>
        </p:grpSpPr>
        <p:sp>
          <p:nvSpPr>
            <p:cNvPr id="19" name="Rectangle: Rounded Corners 18">
              <a:extLst>
                <a:ext uri="{FF2B5EF4-FFF2-40B4-BE49-F238E27FC236}">
                  <a16:creationId xmlns:a16="http://schemas.microsoft.com/office/drawing/2014/main" id="{21080E38-831B-4DAA-9794-8BB377F4F837}"/>
                </a:ext>
              </a:extLst>
            </p:cNvPr>
            <p:cNvSpPr/>
            <p:nvPr/>
          </p:nvSpPr>
          <p:spPr>
            <a:xfrm>
              <a:off x="2276144" y="1184745"/>
              <a:ext cx="1002094" cy="436618"/>
            </a:xfrm>
            <a:prstGeom prst="roundRect">
              <a:avLst/>
            </a:prstGeom>
            <a:ln/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fr-FR" sz="800">
                  <a:solidFill>
                    <a:schemeClr val="accent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Recette</a:t>
              </a:r>
            </a:p>
          </p:txBody>
        </p:sp>
        <p:sp>
          <p:nvSpPr>
            <p:cNvPr id="88" name="Oval 87">
              <a:extLst>
                <a:ext uri="{FF2B5EF4-FFF2-40B4-BE49-F238E27FC236}">
                  <a16:creationId xmlns:a16="http://schemas.microsoft.com/office/drawing/2014/main" id="{D551C193-E4DA-4ED9-8766-164B366E0F60}"/>
                </a:ext>
              </a:extLst>
            </p:cNvPr>
            <p:cNvSpPr/>
            <p:nvPr/>
          </p:nvSpPr>
          <p:spPr>
            <a:xfrm>
              <a:off x="3077971" y="1446823"/>
              <a:ext cx="165000" cy="165000"/>
            </a:xfrm>
            <a:prstGeom prst="ellipse">
              <a:avLst/>
            </a:prstGeom>
            <a:solidFill>
              <a:srgbClr val="33993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/>
            <a:lstStyle/>
            <a:p>
              <a:pPr algn="ctr"/>
              <a:r>
                <a:rPr lang="fr-FR" sz="500">
                  <a:latin typeface="Segoe UI" panose="020B0502040204020203" pitchFamily="34" charset="0"/>
                  <a:cs typeface="Segoe UI" panose="020B0502040204020203" pitchFamily="34" charset="0"/>
                </a:rPr>
                <a:t>TEST</a:t>
              </a:r>
              <a:endParaRPr lang="fr-FR" sz="60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</p:grpSp>
      <p:sp>
        <p:nvSpPr>
          <p:cNvPr id="29" name="Rectangle: Rounded Corners 28">
            <a:extLst>
              <a:ext uri="{FF2B5EF4-FFF2-40B4-BE49-F238E27FC236}">
                <a16:creationId xmlns:a16="http://schemas.microsoft.com/office/drawing/2014/main" id="{78742343-206E-4512-8882-C299E3391CEB}"/>
              </a:ext>
            </a:extLst>
          </p:cNvPr>
          <p:cNvSpPr/>
          <p:nvPr/>
        </p:nvSpPr>
        <p:spPr>
          <a:xfrm>
            <a:off x="273896" y="3004497"/>
            <a:ext cx="8473996" cy="1817418"/>
          </a:xfrm>
          <a:prstGeom prst="roundRect">
            <a:avLst>
              <a:gd name="adj" fmla="val 6299"/>
            </a:avLst>
          </a:prstGeom>
          <a:ln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25AB6AEE-23B1-4C91-B8DE-58EAEF122675}"/>
              </a:ext>
            </a:extLst>
          </p:cNvPr>
          <p:cNvGrpSpPr/>
          <p:nvPr/>
        </p:nvGrpSpPr>
        <p:grpSpPr>
          <a:xfrm>
            <a:off x="2112345" y="3095556"/>
            <a:ext cx="3867430" cy="1645321"/>
            <a:chOff x="2930036" y="3379337"/>
            <a:chExt cx="3867430" cy="1645321"/>
          </a:xfrm>
        </p:grpSpPr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CBEF72BA-F678-4EFB-BB63-77CF37C5EB63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2930036" y="3548494"/>
              <a:ext cx="3867430" cy="1476164"/>
            </a:xfrm>
            <a:prstGeom prst="rect">
              <a:avLst/>
            </a:prstGeom>
            <a:ln>
              <a:noFill/>
            </a:ln>
            <a:effectLst>
              <a:outerShdw blurRad="190500" algn="tl" rotWithShape="0">
                <a:srgbClr val="000000">
                  <a:alpha val="70000"/>
                </a:srgbClr>
              </a:outerShdw>
            </a:effectLst>
          </p:spPr>
        </p:pic>
        <p:sp>
          <p:nvSpPr>
            <p:cNvPr id="83" name="Rectangle 82">
              <a:extLst>
                <a:ext uri="{FF2B5EF4-FFF2-40B4-BE49-F238E27FC236}">
                  <a16:creationId xmlns:a16="http://schemas.microsoft.com/office/drawing/2014/main" id="{4B0C5193-1144-4849-B26B-A1D9309E05D0}"/>
                </a:ext>
              </a:extLst>
            </p:cNvPr>
            <p:cNvSpPr/>
            <p:nvPr/>
          </p:nvSpPr>
          <p:spPr>
            <a:xfrm>
              <a:off x="2930036" y="3379337"/>
              <a:ext cx="3829166" cy="169157"/>
            </a:xfrm>
            <a:prstGeom prst="rect">
              <a:avLst/>
            </a:prstGeom>
          </p:spPr>
          <p:style>
            <a:lnRef idx="1">
              <a:schemeClr val="dk1"/>
            </a:lnRef>
            <a:fillRef idx="3">
              <a:schemeClr val="dk1"/>
            </a:fillRef>
            <a:effectRef idx="2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800">
                  <a:latin typeface="Segoe UI" panose="020B0502040204020203" pitchFamily="34" charset="0"/>
                  <a:cs typeface="Segoe UI" panose="020B0502040204020203" pitchFamily="34" charset="0"/>
                </a:rPr>
                <a:t>Intégration DevOps</a:t>
              </a:r>
            </a:p>
          </p:txBody>
        </p:sp>
      </p:grpSp>
      <p:sp>
        <p:nvSpPr>
          <p:cNvPr id="48" name="Rectangle 47">
            <a:extLst>
              <a:ext uri="{FF2B5EF4-FFF2-40B4-BE49-F238E27FC236}">
                <a16:creationId xmlns:a16="http://schemas.microsoft.com/office/drawing/2014/main" id="{18439A58-F3AA-48A6-9104-B74BA197CC12}"/>
              </a:ext>
            </a:extLst>
          </p:cNvPr>
          <p:cNvSpPr/>
          <p:nvPr/>
        </p:nvSpPr>
        <p:spPr>
          <a:xfrm>
            <a:off x="6179454" y="749165"/>
            <a:ext cx="677960" cy="169157"/>
          </a:xfrm>
          <a:prstGeom prst="rect">
            <a:avLst/>
          </a:prstGeom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800"/>
              <a:t>Framework</a:t>
            </a:r>
          </a:p>
        </p:txBody>
      </p:sp>
      <p:grpSp>
        <p:nvGrpSpPr>
          <p:cNvPr id="47" name="Group 46">
            <a:extLst>
              <a:ext uri="{FF2B5EF4-FFF2-40B4-BE49-F238E27FC236}">
                <a16:creationId xmlns:a16="http://schemas.microsoft.com/office/drawing/2014/main" id="{107300C8-0E4E-45A5-A42A-705890308E8A}"/>
              </a:ext>
            </a:extLst>
          </p:cNvPr>
          <p:cNvGrpSpPr/>
          <p:nvPr/>
        </p:nvGrpSpPr>
        <p:grpSpPr>
          <a:xfrm>
            <a:off x="6183893" y="1039763"/>
            <a:ext cx="677960" cy="950658"/>
            <a:chOff x="6104113" y="1184746"/>
            <a:chExt cx="787518" cy="950658"/>
          </a:xfrm>
        </p:grpSpPr>
        <p:sp>
          <p:nvSpPr>
            <p:cNvPr id="49" name="Rectangle: Rounded Corners 48">
              <a:extLst>
                <a:ext uri="{FF2B5EF4-FFF2-40B4-BE49-F238E27FC236}">
                  <a16:creationId xmlns:a16="http://schemas.microsoft.com/office/drawing/2014/main" id="{F77E57F5-DAE7-4AE6-884B-58724A68B261}"/>
                </a:ext>
              </a:extLst>
            </p:cNvPr>
            <p:cNvSpPr/>
            <p:nvPr/>
          </p:nvSpPr>
          <p:spPr>
            <a:xfrm>
              <a:off x="6104113" y="1184746"/>
              <a:ext cx="787518" cy="950658"/>
            </a:xfrm>
            <a:prstGeom prst="roundRect">
              <a:avLst>
                <a:gd name="adj" fmla="val 10015"/>
              </a:avLst>
            </a:prstGeom>
            <a:ln/>
          </p:spPr>
          <p:style>
            <a:lnRef idx="1">
              <a:schemeClr val="accent4"/>
            </a:lnRef>
            <a:fillRef idx="2">
              <a:schemeClr val="accent4"/>
            </a:fillRef>
            <a:effectRef idx="1">
              <a:schemeClr val="accent4"/>
            </a:effectRef>
            <a:fontRef idx="minor">
              <a:schemeClr val="dk1"/>
            </a:fontRef>
          </p:style>
          <p:txBody>
            <a:bodyPr rtlCol="0" anchor="b"/>
            <a:lstStyle/>
            <a:p>
              <a:pPr algn="ctr"/>
              <a:r>
                <a:rPr lang="fr-FR" sz="600">
                  <a:solidFill>
                    <a:schemeClr val="accent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WebEngine</a:t>
              </a:r>
            </a:p>
            <a:p>
              <a:pPr algn="ctr"/>
              <a:r>
                <a:rPr lang="fr-FR" sz="600">
                  <a:solidFill>
                    <a:schemeClr val="accent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(.NET/Java)</a:t>
              </a:r>
            </a:p>
          </p:txBody>
        </p:sp>
        <p:pic>
          <p:nvPicPr>
            <p:cNvPr id="30" name="Picture 29" descr="Circle&#10;&#10;Description automatically generated">
              <a:extLst>
                <a:ext uri="{FF2B5EF4-FFF2-40B4-BE49-F238E27FC236}">
                  <a16:creationId xmlns:a16="http://schemas.microsoft.com/office/drawing/2014/main" id="{86E48765-9B7A-45D6-A046-17E5D2BE413A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285231" y="1402924"/>
              <a:ext cx="425282" cy="364354"/>
            </a:xfrm>
            <a:prstGeom prst="rect">
              <a:avLst/>
            </a:prstGeom>
          </p:spPr>
        </p:pic>
      </p:grpSp>
      <p:grpSp>
        <p:nvGrpSpPr>
          <p:cNvPr id="53" name="Group 52">
            <a:extLst>
              <a:ext uri="{FF2B5EF4-FFF2-40B4-BE49-F238E27FC236}">
                <a16:creationId xmlns:a16="http://schemas.microsoft.com/office/drawing/2014/main" id="{724AD8D1-AD44-4621-ADA6-A159F7CF203F}"/>
              </a:ext>
            </a:extLst>
          </p:cNvPr>
          <p:cNvGrpSpPr/>
          <p:nvPr/>
        </p:nvGrpSpPr>
        <p:grpSpPr>
          <a:xfrm>
            <a:off x="419693" y="3918967"/>
            <a:ext cx="1528391" cy="781202"/>
            <a:chOff x="7196024" y="1786109"/>
            <a:chExt cx="1528391" cy="781202"/>
          </a:xfrm>
        </p:grpSpPr>
        <p:sp>
          <p:nvSpPr>
            <p:cNvPr id="72" name="Rectangle: Rounded Corners 71">
              <a:extLst>
                <a:ext uri="{FF2B5EF4-FFF2-40B4-BE49-F238E27FC236}">
                  <a16:creationId xmlns:a16="http://schemas.microsoft.com/office/drawing/2014/main" id="{1C323071-A61D-4BC3-B649-DFEBB0EEA6E2}"/>
                </a:ext>
              </a:extLst>
            </p:cNvPr>
            <p:cNvSpPr/>
            <p:nvPr/>
          </p:nvSpPr>
          <p:spPr>
            <a:xfrm>
              <a:off x="7196024" y="1955504"/>
              <a:ext cx="1528391" cy="611456"/>
            </a:xfrm>
            <a:prstGeom prst="roundRect">
              <a:avLst>
                <a:gd name="adj" fmla="val 0"/>
              </a:avLst>
            </a:prstGeom>
            <a:ln/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fr-FR" sz="800">
                <a:solidFill>
                  <a:schemeClr val="accent5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70" name="TextBox 153">
              <a:extLst>
                <a:ext uri="{FF2B5EF4-FFF2-40B4-BE49-F238E27FC236}">
                  <a16:creationId xmlns:a16="http://schemas.microsoft.com/office/drawing/2014/main" id="{610E99C0-6ED9-4D75-A654-E8F8AC706A90}"/>
                </a:ext>
              </a:extLst>
            </p:cNvPr>
            <p:cNvSpPr txBox="1"/>
            <p:nvPr/>
          </p:nvSpPr>
          <p:spPr>
            <a:xfrm>
              <a:off x="7196024" y="1936369"/>
              <a:ext cx="1528391" cy="63094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fr-FR" sz="700">
                  <a:solidFill>
                    <a:srgbClr val="002060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Couverture par branche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fr-FR" sz="700">
                  <a:solidFill>
                    <a:srgbClr val="002060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Couverture par chemin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fr-FR" sz="700">
                  <a:solidFill>
                    <a:srgbClr val="002060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Couverture des conditions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fr-FR" sz="700">
                  <a:solidFill>
                    <a:srgbClr val="002060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MC/DC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fr-FR" sz="700" err="1">
                  <a:solidFill>
                    <a:srgbClr val="002060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Pair-wise</a:t>
              </a:r>
              <a:endParaRPr lang="fr-FR" sz="700">
                <a:solidFill>
                  <a:srgbClr val="002060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71" name="Rectangle 70">
              <a:extLst>
                <a:ext uri="{FF2B5EF4-FFF2-40B4-BE49-F238E27FC236}">
                  <a16:creationId xmlns:a16="http://schemas.microsoft.com/office/drawing/2014/main" id="{9F6C9A1A-B3C7-4965-9BEB-B1A6F51542E1}"/>
                </a:ext>
              </a:extLst>
            </p:cNvPr>
            <p:cNvSpPr/>
            <p:nvPr/>
          </p:nvSpPr>
          <p:spPr>
            <a:xfrm>
              <a:off x="7196024" y="1786109"/>
              <a:ext cx="1528391" cy="169157"/>
            </a:xfrm>
            <a:prstGeom prst="rect">
              <a:avLst/>
            </a:prstGeom>
          </p:spPr>
          <p:style>
            <a:lnRef idx="1">
              <a:schemeClr val="dk1"/>
            </a:lnRef>
            <a:fillRef idx="3">
              <a:schemeClr val="dk1"/>
            </a:fillRef>
            <a:effectRef idx="2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800">
                  <a:latin typeface="Segoe UI" panose="020B0502040204020203" pitchFamily="34" charset="0"/>
                  <a:cs typeface="Segoe UI" panose="020B0502040204020203" pitchFamily="34" charset="0"/>
                </a:rPr>
                <a:t>Couvertures de tests</a:t>
              </a:r>
            </a:p>
          </p:txBody>
        </p:sp>
      </p:grpSp>
      <p:grpSp>
        <p:nvGrpSpPr>
          <p:cNvPr id="54" name="Group 53">
            <a:extLst>
              <a:ext uri="{FF2B5EF4-FFF2-40B4-BE49-F238E27FC236}">
                <a16:creationId xmlns:a16="http://schemas.microsoft.com/office/drawing/2014/main" id="{F2CE96F8-DDB3-4BC6-BE4F-68B08D902819}"/>
              </a:ext>
            </a:extLst>
          </p:cNvPr>
          <p:cNvGrpSpPr/>
          <p:nvPr/>
        </p:nvGrpSpPr>
        <p:grpSpPr>
          <a:xfrm>
            <a:off x="419694" y="3124020"/>
            <a:ext cx="1528390" cy="700702"/>
            <a:chOff x="7003065" y="828610"/>
            <a:chExt cx="1528390" cy="700702"/>
          </a:xfrm>
        </p:grpSpPr>
        <p:sp>
          <p:nvSpPr>
            <p:cNvPr id="73" name="Rectangle: Rounded Corners 72">
              <a:extLst>
                <a:ext uri="{FF2B5EF4-FFF2-40B4-BE49-F238E27FC236}">
                  <a16:creationId xmlns:a16="http://schemas.microsoft.com/office/drawing/2014/main" id="{BB8C3C91-48B8-45FE-BDAC-D0255476EDEE}"/>
                </a:ext>
              </a:extLst>
            </p:cNvPr>
            <p:cNvSpPr/>
            <p:nvPr/>
          </p:nvSpPr>
          <p:spPr>
            <a:xfrm>
              <a:off x="7003065" y="993608"/>
              <a:ext cx="1528390" cy="535704"/>
            </a:xfrm>
            <a:prstGeom prst="roundRect">
              <a:avLst>
                <a:gd name="adj" fmla="val 0"/>
              </a:avLst>
            </a:prstGeom>
            <a:ln/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fr-FR" sz="800">
                <a:solidFill>
                  <a:schemeClr val="accent5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74" name="TextBox 153">
              <a:extLst>
                <a:ext uri="{FF2B5EF4-FFF2-40B4-BE49-F238E27FC236}">
                  <a16:creationId xmlns:a16="http://schemas.microsoft.com/office/drawing/2014/main" id="{FF85D024-5526-4BB3-AA2B-C982AC82EBF1}"/>
                </a:ext>
              </a:extLst>
            </p:cNvPr>
            <p:cNvSpPr txBox="1"/>
            <p:nvPr/>
          </p:nvSpPr>
          <p:spPr>
            <a:xfrm>
              <a:off x="7030474" y="999685"/>
              <a:ext cx="1500981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fr-FR" sz="700">
                  <a:solidFill>
                    <a:srgbClr val="002060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Script Linéaire </a:t>
              </a:r>
              <a:r>
                <a:rPr lang="fr-FR" sz="500">
                  <a:solidFill>
                    <a:srgbClr val="002060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(non recommandé)</a:t>
              </a:r>
              <a:endParaRPr lang="fr-FR" sz="700">
                <a:solidFill>
                  <a:srgbClr val="002060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fr-FR" sz="700" err="1">
                  <a:solidFill>
                    <a:srgbClr val="002060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Gherkin</a:t>
              </a:r>
              <a:r>
                <a:rPr lang="fr-FR" sz="700">
                  <a:solidFill>
                    <a:srgbClr val="002060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 (BDD)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fr-FR" sz="700">
                  <a:solidFill>
                    <a:srgbClr val="002060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Piloté par </a:t>
              </a:r>
              <a:r>
                <a:rPr lang="fr-FR" sz="700" err="1">
                  <a:solidFill>
                    <a:srgbClr val="002060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Mot-clés</a:t>
              </a:r>
              <a:endParaRPr lang="fr-FR" sz="700">
                <a:solidFill>
                  <a:srgbClr val="002060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fr-FR" sz="700">
                  <a:solidFill>
                    <a:srgbClr val="002060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Piloté par Action</a:t>
              </a:r>
            </a:p>
          </p:txBody>
        </p:sp>
        <p:sp>
          <p:nvSpPr>
            <p:cNvPr id="75" name="Rectangle 74">
              <a:extLst>
                <a:ext uri="{FF2B5EF4-FFF2-40B4-BE49-F238E27FC236}">
                  <a16:creationId xmlns:a16="http://schemas.microsoft.com/office/drawing/2014/main" id="{48E32190-CD19-484C-9F1A-3C51318C61F1}"/>
                </a:ext>
              </a:extLst>
            </p:cNvPr>
            <p:cNvSpPr/>
            <p:nvPr/>
          </p:nvSpPr>
          <p:spPr>
            <a:xfrm>
              <a:off x="7003065" y="828610"/>
              <a:ext cx="1528390" cy="163194"/>
            </a:xfrm>
            <a:prstGeom prst="rect">
              <a:avLst/>
            </a:prstGeom>
          </p:spPr>
          <p:style>
            <a:lnRef idx="1">
              <a:schemeClr val="dk1"/>
            </a:lnRef>
            <a:fillRef idx="3">
              <a:schemeClr val="dk1"/>
            </a:fillRef>
            <a:effectRef idx="2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800">
                  <a:latin typeface="Segoe UI" panose="020B0502040204020203" pitchFamily="34" charset="0"/>
                  <a:cs typeface="Segoe UI" panose="020B0502040204020203" pitchFamily="34" charset="0"/>
                </a:rPr>
                <a:t>Méthodologies</a:t>
              </a:r>
            </a:p>
          </p:txBody>
        </p:sp>
      </p:grpSp>
      <p:sp>
        <p:nvSpPr>
          <p:cNvPr id="80" name="Rectangle 79">
            <a:extLst>
              <a:ext uri="{FF2B5EF4-FFF2-40B4-BE49-F238E27FC236}">
                <a16:creationId xmlns:a16="http://schemas.microsoft.com/office/drawing/2014/main" id="{F379A6CC-3F6F-4A6A-8944-4A4DDB63075F}"/>
              </a:ext>
            </a:extLst>
          </p:cNvPr>
          <p:cNvSpPr/>
          <p:nvPr/>
        </p:nvSpPr>
        <p:spPr>
          <a:xfrm>
            <a:off x="7012777" y="749165"/>
            <a:ext cx="1742735" cy="169157"/>
          </a:xfrm>
          <a:prstGeom prst="rect">
            <a:avLst/>
          </a:prstGeom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800"/>
              <a:t>Outils Auxiliaires</a:t>
            </a:r>
          </a:p>
        </p:txBody>
      </p:sp>
      <p:grpSp>
        <p:nvGrpSpPr>
          <p:cNvPr id="91" name="Group 90">
            <a:extLst>
              <a:ext uri="{FF2B5EF4-FFF2-40B4-BE49-F238E27FC236}">
                <a16:creationId xmlns:a16="http://schemas.microsoft.com/office/drawing/2014/main" id="{62D40C36-5579-44DE-877B-FEFAD092AAA8}"/>
              </a:ext>
            </a:extLst>
          </p:cNvPr>
          <p:cNvGrpSpPr/>
          <p:nvPr/>
        </p:nvGrpSpPr>
        <p:grpSpPr>
          <a:xfrm>
            <a:off x="7012777" y="1032345"/>
            <a:ext cx="1742735" cy="1496294"/>
            <a:chOff x="7005157" y="1039151"/>
            <a:chExt cx="1742735" cy="1496294"/>
          </a:xfrm>
        </p:grpSpPr>
        <p:sp>
          <p:nvSpPr>
            <p:cNvPr id="92" name="Rectangle: Rounded Corners 91">
              <a:extLst>
                <a:ext uri="{FF2B5EF4-FFF2-40B4-BE49-F238E27FC236}">
                  <a16:creationId xmlns:a16="http://schemas.microsoft.com/office/drawing/2014/main" id="{41199D81-9425-4EF2-9729-636D42F11960}"/>
                </a:ext>
              </a:extLst>
            </p:cNvPr>
            <p:cNvSpPr/>
            <p:nvPr/>
          </p:nvSpPr>
          <p:spPr>
            <a:xfrm>
              <a:off x="7005157" y="1039151"/>
              <a:ext cx="1742735" cy="1496294"/>
            </a:xfrm>
            <a:prstGeom prst="roundRect">
              <a:avLst>
                <a:gd name="adj" fmla="val 4168"/>
              </a:avLst>
            </a:prstGeom>
            <a:ln/>
          </p:spPr>
          <p:style>
            <a:lnRef idx="1">
              <a:schemeClr val="accent4"/>
            </a:lnRef>
            <a:fillRef idx="2">
              <a:schemeClr val="accent4"/>
            </a:fillRef>
            <a:effectRef idx="1">
              <a:schemeClr val="accent4"/>
            </a:effectRef>
            <a:fontRef idx="minor">
              <a:schemeClr val="dk1"/>
            </a:fontRef>
          </p:style>
          <p:txBody>
            <a:bodyPr rtlCol="0" anchor="t"/>
            <a:lstStyle/>
            <a:p>
              <a:pPr marL="360000"/>
              <a:r>
                <a:rPr lang="fr-FR" sz="1050"/>
                <a:t>Telerivet</a:t>
              </a:r>
            </a:p>
            <a:p>
              <a:pPr marL="360000"/>
              <a:r>
                <a:rPr lang="fr-FR" sz="600"/>
                <a:t>Automatiser la réception d’SMS</a:t>
              </a:r>
            </a:p>
            <a:p>
              <a:pPr marL="360000"/>
              <a:endParaRPr lang="fr-FR" sz="600"/>
            </a:p>
            <a:p>
              <a:pPr marL="360000"/>
              <a:r>
                <a:rPr lang="fr-FR" sz="1050"/>
                <a:t>Mes </a:t>
              </a:r>
              <a:r>
                <a:rPr lang="fr-FR" sz="1050" err="1"/>
                <a:t>Personas</a:t>
              </a:r>
              <a:endParaRPr lang="fr-FR" sz="1050"/>
            </a:p>
            <a:p>
              <a:pPr marL="360000"/>
              <a:r>
                <a:rPr lang="fr-FR" sz="600"/>
                <a:t>Gestion des </a:t>
              </a:r>
              <a:r>
                <a:rPr lang="fr-FR" sz="600" err="1"/>
                <a:t>personas</a:t>
              </a:r>
              <a:r>
                <a:rPr lang="fr-FR" sz="600"/>
                <a:t> et fiches clients</a:t>
              </a:r>
            </a:p>
            <a:p>
              <a:pPr marL="360000"/>
              <a:endParaRPr lang="fr-FR" sz="600"/>
            </a:p>
            <a:p>
              <a:pPr marL="360000"/>
              <a:r>
                <a:rPr lang="fr-FR" sz="1050"/>
                <a:t>Delta Compare</a:t>
              </a:r>
            </a:p>
            <a:p>
              <a:pPr marL="360000"/>
              <a:r>
                <a:rPr lang="fr-FR" sz="600"/>
                <a:t>Comparaison fichiers PDF</a:t>
              </a:r>
            </a:p>
            <a:p>
              <a:pPr marL="360000"/>
              <a:endParaRPr lang="fr-FR" sz="600"/>
            </a:p>
            <a:p>
              <a:pPr marL="360000"/>
              <a:r>
                <a:rPr lang="fr-FR" sz="1050"/>
                <a:t>Outils DevOps</a:t>
              </a:r>
            </a:p>
            <a:p>
              <a:pPr marL="360000"/>
              <a:r>
                <a:rPr lang="fr-FR" sz="600"/>
                <a:t>Import </a:t>
              </a:r>
              <a:r>
                <a:rPr lang="fr-FR" sz="600" err="1"/>
                <a:t>Xray</a:t>
              </a:r>
              <a:r>
                <a:rPr lang="fr-FR" sz="600"/>
                <a:t> , Import SharePoint</a:t>
              </a:r>
            </a:p>
          </p:txBody>
        </p:sp>
        <p:pic>
          <p:nvPicPr>
            <p:cNvPr id="77" name="Picture 76" descr="Icon&#10;&#10;Description automatically generated">
              <a:extLst>
                <a:ext uri="{FF2B5EF4-FFF2-40B4-BE49-F238E27FC236}">
                  <a16:creationId xmlns:a16="http://schemas.microsoft.com/office/drawing/2014/main" id="{36FE2542-23C1-49FB-B5BD-A3133BDE3E86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168297" y="1111083"/>
              <a:ext cx="227577" cy="227577"/>
            </a:xfrm>
            <a:prstGeom prst="rect">
              <a:avLst/>
            </a:prstGeom>
          </p:spPr>
        </p:pic>
        <p:pic>
          <p:nvPicPr>
            <p:cNvPr id="1030" name="Picture 6">
              <a:extLst>
                <a:ext uri="{FF2B5EF4-FFF2-40B4-BE49-F238E27FC236}">
                  <a16:creationId xmlns:a16="http://schemas.microsoft.com/office/drawing/2014/main" id="{EE270A3A-1045-4CDF-86B6-64E864CF9BF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177779" y="1907786"/>
              <a:ext cx="202412" cy="20241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82" name="Picture 81" descr="Icon&#10;&#10;Description automatically generated">
              <a:extLst>
                <a:ext uri="{FF2B5EF4-FFF2-40B4-BE49-F238E27FC236}">
                  <a16:creationId xmlns:a16="http://schemas.microsoft.com/office/drawing/2014/main" id="{D942E0FF-4EBF-42D2-B1E6-1952E0E76D1F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BEBA8EAE-BF5A-486C-A8C5-ECC9F3942E4B}">
                  <a14:imgProps xmlns:a14="http://schemas.microsoft.com/office/drawing/2010/main">
                    <a14:imgLayer r:embed="rId11">
                      <a14:imgEffect>
                        <a14:backgroundRemoval t="5926" b="95926" l="3321" r="95203">
                          <a14:foregroundMark x1="13653" y1="29259" x2="78967" y2="58519"/>
                          <a14:foregroundMark x1="14391" y1="32222" x2="14391" y2="32222"/>
                          <a14:foregroundMark x1="20664" y1="21111" x2="12546" y2="46296"/>
                          <a14:foregroundMark x1="17712" y1="29259" x2="9594" y2="60370"/>
                          <a14:foregroundMark x1="8487" y1="44444" x2="7380" y2="46296"/>
                          <a14:foregroundMark x1="6642" y1="35185" x2="6642" y2="35185"/>
                          <a14:foregroundMark x1="22509" y1="20000" x2="22509" y2="20000"/>
                          <a14:foregroundMark x1="27675" y1="14074" x2="27675" y2="14074"/>
                          <a14:foregroundMark x1="33579" y1="12222" x2="33579" y2="12222"/>
                          <a14:foregroundMark x1="41697" y1="8889" x2="41697" y2="8889"/>
                          <a14:foregroundMark x1="43911" y1="8148" x2="43911" y2="8148"/>
                          <a14:foregroundMark x1="45756" y1="5926" x2="45756" y2="5926"/>
                          <a14:foregroundMark x1="48708" y1="5926" x2="48708" y2="5926"/>
                          <a14:foregroundMark x1="50923" y1="5926" x2="50923" y2="5926"/>
                          <a14:foregroundMark x1="53875" y1="5926" x2="53875" y2="5926"/>
                          <a14:foregroundMark x1="55720" y1="5926" x2="55720" y2="5926"/>
                          <a14:foregroundMark x1="59779" y1="8148" x2="59779" y2="8148"/>
                          <a14:foregroundMark x1="63838" y1="10000" x2="63838" y2="10000"/>
                          <a14:foregroundMark x1="65683" y1="12963" x2="65683" y2="12963"/>
                          <a14:foregroundMark x1="69742" y1="16296" x2="69742" y2="16296"/>
                          <a14:foregroundMark x1="69742" y1="16296" x2="69742" y2="16296"/>
                          <a14:foregroundMark x1="73063" y1="18148" x2="76753" y2="23333"/>
                          <a14:foregroundMark x1="83026" y1="29259" x2="84133" y2="36296"/>
                          <a14:foregroundMark x1="87085" y1="41481" x2="87085" y2="47407"/>
                          <a14:foregroundMark x1="87823" y1="53333" x2="87823" y2="60370"/>
                          <a14:foregroundMark x1="91144" y1="50370" x2="91144" y2="50370"/>
                          <a14:foregroundMark x1="84133" y1="49259" x2="84133" y2="49259"/>
                          <a14:foregroundMark x1="84133" y1="44444" x2="84133" y2="41481"/>
                          <a14:foregroundMark x1="84133" y1="38148" x2="84133" y2="38148"/>
                          <a14:foregroundMark x1="84133" y1="37407" x2="84133" y2="37407"/>
                          <a14:foregroundMark x1="83026" y1="33333" x2="83026" y2="33333"/>
                          <a14:foregroundMark x1="80074" y1="28148" x2="71956" y2="17037"/>
                          <a14:foregroundMark x1="69742" y1="16296" x2="65683" y2="14074"/>
                          <a14:foregroundMark x1="54982" y1="10000" x2="50923" y2="10000"/>
                          <a14:foregroundMark x1="43911" y1="10000" x2="43911" y2="10000"/>
                          <a14:foregroundMark x1="37638" y1="11111" x2="37638" y2="11111"/>
                          <a14:foregroundMark x1="76753" y1="35185" x2="87085" y2="45556"/>
                          <a14:foregroundMark x1="84133" y1="40370" x2="87085" y2="40370"/>
                          <a14:foregroundMark x1="87823" y1="41481" x2="87823" y2="41481"/>
                          <a14:foregroundMark x1="88930" y1="41481" x2="88930" y2="41481"/>
                          <a14:foregroundMark x1="88930" y1="39259" x2="88930" y2="39259"/>
                          <a14:foregroundMark x1="88930" y1="35185" x2="88930" y2="35185"/>
                          <a14:foregroundMark x1="87823" y1="32222" x2="87823" y2="32222"/>
                          <a14:foregroundMark x1="85978" y1="30370" x2="85978" y2="30370"/>
                          <a14:foregroundMark x1="91882" y1="43333" x2="91882" y2="43333"/>
                          <a14:foregroundMark x1="91882" y1="48519" x2="91882" y2="48519"/>
                          <a14:foregroundMark x1="92989" y1="50370" x2="92989" y2="50370"/>
                          <a14:foregroundMark x1="46863" y1="90741" x2="46863" y2="90741"/>
                          <a14:foregroundMark x1="49815" y1="95926" x2="49815" y2="95926"/>
                          <a14:foregroundMark x1="14391" y1="73704" x2="14391" y2="73704"/>
                          <a14:foregroundMark x1="15498" y1="74815" x2="15498" y2="74815"/>
                          <a14:foregroundMark x1="87823" y1="68519" x2="87823" y2="68519"/>
                          <a14:foregroundMark x1="84871" y1="73704" x2="84871" y2="73704"/>
                          <a14:foregroundMark x1="84133" y1="76667" x2="84133" y2="76667"/>
                          <a14:foregroundMark x1="95203" y1="48889" x2="95203" y2="48889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168297" y="1451455"/>
              <a:ext cx="228421" cy="227577"/>
            </a:xfrm>
            <a:prstGeom prst="rect">
              <a:avLst/>
            </a:prstGeom>
          </p:spPr>
        </p:pic>
        <p:pic>
          <p:nvPicPr>
            <p:cNvPr id="90" name="Picture 89" descr="A picture containing text&#10;&#10;Description automatically generated">
              <a:extLst>
                <a:ext uri="{FF2B5EF4-FFF2-40B4-BE49-F238E27FC236}">
                  <a16:creationId xmlns:a16="http://schemas.microsoft.com/office/drawing/2014/main" id="{A4FF5838-0B33-42CD-AA2C-41EA907FB64F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180332" y="2254288"/>
              <a:ext cx="199859" cy="199859"/>
            </a:xfrm>
            <a:prstGeom prst="rect">
              <a:avLst/>
            </a:prstGeom>
          </p:spPr>
        </p:pic>
      </p:grpSp>
      <p:sp>
        <p:nvSpPr>
          <p:cNvPr id="94" name="Oval 93">
            <a:extLst>
              <a:ext uri="{FF2B5EF4-FFF2-40B4-BE49-F238E27FC236}">
                <a16:creationId xmlns:a16="http://schemas.microsoft.com/office/drawing/2014/main" id="{52575420-99B5-496F-B273-DBB53A503F62}"/>
              </a:ext>
            </a:extLst>
          </p:cNvPr>
          <p:cNvSpPr/>
          <p:nvPr/>
        </p:nvSpPr>
        <p:spPr>
          <a:xfrm>
            <a:off x="4344898" y="2724586"/>
            <a:ext cx="165000" cy="165000"/>
          </a:xfrm>
          <a:prstGeom prst="ellipse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fr-FR" sz="500">
                <a:latin typeface="Segoe UI" panose="020B0502040204020203" pitchFamily="34" charset="0"/>
                <a:cs typeface="Segoe UI" panose="020B0502040204020203" pitchFamily="34" charset="0"/>
              </a:rPr>
              <a:t>DEV</a:t>
            </a:r>
          </a:p>
        </p:txBody>
      </p:sp>
      <p:sp>
        <p:nvSpPr>
          <p:cNvPr id="65" name="Rectangle: Rounded Corners 64">
            <a:extLst>
              <a:ext uri="{FF2B5EF4-FFF2-40B4-BE49-F238E27FC236}">
                <a16:creationId xmlns:a16="http://schemas.microsoft.com/office/drawing/2014/main" id="{934EF385-EFDC-4802-9810-02C85A865066}"/>
              </a:ext>
            </a:extLst>
          </p:cNvPr>
          <p:cNvSpPr/>
          <p:nvPr/>
        </p:nvSpPr>
        <p:spPr>
          <a:xfrm>
            <a:off x="4669655" y="1565568"/>
            <a:ext cx="1362056" cy="436618"/>
          </a:xfrm>
          <a:prstGeom prst="roundRect">
            <a:avLst/>
          </a:prstGeom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fr-FR" sz="700">
                <a:solidFill>
                  <a:schemeClr val="accent5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hoix de dev</a:t>
            </a:r>
          </a:p>
        </p:txBody>
      </p:sp>
      <p:sp>
        <p:nvSpPr>
          <p:cNvPr id="4" name="Rectangle: Rounded Corners 48">
            <a:extLst>
              <a:ext uri="{FF2B5EF4-FFF2-40B4-BE49-F238E27FC236}">
                <a16:creationId xmlns:a16="http://schemas.microsoft.com/office/drawing/2014/main" id="{41D721B7-7CF3-5762-53BE-B3482F763E11}"/>
              </a:ext>
            </a:extLst>
          </p:cNvPr>
          <p:cNvSpPr/>
          <p:nvPr/>
        </p:nvSpPr>
        <p:spPr>
          <a:xfrm>
            <a:off x="5757267" y="1071841"/>
            <a:ext cx="222508" cy="217030"/>
          </a:xfrm>
          <a:prstGeom prst="roundRect">
            <a:avLst>
              <a:gd name="adj" fmla="val 0"/>
            </a:avLst>
          </a:prstGeom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rIns="0" rtlCol="0" anchor="ctr"/>
          <a:lstStyle/>
          <a:p>
            <a:pPr algn="ctr" defTabSz="1087714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fr-FR" sz="500">
                <a:solidFill>
                  <a:srgbClr val="02718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rive</a:t>
            </a:r>
          </a:p>
          <a:p>
            <a:pPr algn="ctr" defTabSz="1087714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fr-FR" sz="500">
                <a:solidFill>
                  <a:srgbClr val="02718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By</a:t>
            </a:r>
          </a:p>
        </p:txBody>
      </p:sp>
      <p:grpSp>
        <p:nvGrpSpPr>
          <p:cNvPr id="5" name="Groupe 4">
            <a:extLst>
              <a:ext uri="{FF2B5EF4-FFF2-40B4-BE49-F238E27FC236}">
                <a16:creationId xmlns:a16="http://schemas.microsoft.com/office/drawing/2014/main" id="{64EBA73E-CA80-F78B-CAE7-06DAE212B05F}"/>
              </a:ext>
            </a:extLst>
          </p:cNvPr>
          <p:cNvGrpSpPr/>
          <p:nvPr/>
        </p:nvGrpSpPr>
        <p:grpSpPr>
          <a:xfrm>
            <a:off x="6070607" y="3095556"/>
            <a:ext cx="2504766" cy="1580006"/>
            <a:chOff x="2092208" y="3124020"/>
            <a:chExt cx="2504766" cy="1580006"/>
          </a:xfrm>
        </p:grpSpPr>
        <mc:AlternateContent xmlns:mc="http://schemas.openxmlformats.org/markup-compatibility/2006" xmlns:pslz="http://schemas.microsoft.com/office/powerpoint/2016/slidezoom">
          <mc:Choice Requires="pslz">
            <p:graphicFrame>
              <p:nvGraphicFramePr>
                <p:cNvPr id="6" name="Slide Zoom 5">
                  <a:extLst>
                    <a:ext uri="{FF2B5EF4-FFF2-40B4-BE49-F238E27FC236}">
                      <a16:creationId xmlns:a16="http://schemas.microsoft.com/office/drawing/2014/main" id="{79014EF4-DC44-91AB-13CB-3780FC77AFA7}"/>
                    </a:ext>
                  </a:extLst>
                </p:cNvPr>
                <p:cNvGraphicFramePr>
                  <a:graphicFrameLocks noChangeAspect="1"/>
                </p:cNvGraphicFramePr>
                <p:nvPr>
                  <p:extLst>
                    <p:ext uri="{D42A27DB-BD31-4B8C-83A1-F6EECF244321}">
                      <p14:modId xmlns:p14="http://schemas.microsoft.com/office/powerpoint/2010/main" val="2598772900"/>
                    </p:ext>
                  </p:extLst>
                </p:nvPr>
              </p:nvGraphicFramePr>
              <p:xfrm>
                <a:off x="2092208" y="3295095"/>
                <a:ext cx="2504766" cy="1408931"/>
              </p:xfrm>
              <a:graphic>
                <a:graphicData uri="http://schemas.microsoft.com/office/powerpoint/2016/slidezoom">
                  <pslz:sldZm>
                    <pslz:sldZmObj sldId="2147470898" cId="2263875010">
                      <pslz:zmPr id="{7427BEB7-9FA6-4935-AAD6-425FD502D3CE}" returnToParent="0" transitionDur="1000">
                        <p166:blipFill xmlns:p166="http://schemas.microsoft.com/office/powerpoint/2016/6/main">
                          <a:blip r:embed="rId13"/>
                          <a:stretch>
                            <a:fillRect/>
                          </a:stretch>
                        </p166:blipFill>
                        <p166:spPr xmlns:p166="http://schemas.microsoft.com/office/powerpoint/2016/6/main">
                          <a:xfrm>
                            <a:off x="0" y="0"/>
                            <a:ext cx="2504766" cy="1408931"/>
                          </a:xfrm>
                          <a:prstGeom prst="rect">
                            <a:avLst/>
                          </a:prstGeom>
                          <a:ln>
                            <a:noFill/>
                          </a:ln>
                          <a:effectLst>
                            <a:outerShdw blurRad="190500" algn="tl" rotWithShape="0">
                              <a:srgbClr val="000000">
                                <a:alpha val="70000"/>
                              </a:srgbClr>
                            </a:outerShdw>
                          </a:effectLst>
                        </p166:spPr>
                      </pslz:zmPr>
                    </pslz:sldZmObj>
                  </pslz:sldZm>
                </a:graphicData>
              </a:graphic>
            </p:graphicFrame>
          </mc:Choice>
          <mc:Fallback xmlns="">
            <p:pic>
              <p:nvPicPr>
                <p:cNvPr id="6" name="Slide Zoom 5">
                  <a:hlinkClick r:id="rId14" action="ppaction://hlinksldjump"/>
                  <a:extLst>
                    <a:ext uri="{FF2B5EF4-FFF2-40B4-BE49-F238E27FC236}">
                      <a16:creationId xmlns:a16="http://schemas.microsoft.com/office/drawing/2014/main" id="{79014EF4-DC44-91AB-13CB-3780FC77AFA7}"/>
                    </a:ext>
                  </a:extLst>
                </p:cNvPr>
                <p:cNvPicPr>
                  <a:picLocks noGrp="1" noRot="1" noChangeAspect="1" noMove="1" noResize="1" noEditPoints="1" noAdjustHandles="1" noChangeArrowheads="1" noChangeShapeType="1"/>
                </p:cNvPicPr>
                <p:nvPr/>
              </p:nvPicPr>
              <p:blipFill>
                <a:blip r:embed="rId15"/>
                <a:stretch>
                  <a:fillRect/>
                </a:stretch>
              </p:blipFill>
              <p:spPr>
                <a:xfrm>
                  <a:off x="6070607" y="3266631"/>
                  <a:ext cx="2504766" cy="1408931"/>
                </a:xfrm>
                <a:prstGeom prst="rect">
                  <a:avLst/>
                </a:prstGeom>
                <a:ln>
                  <a:noFill/>
                </a:ln>
                <a:effectLst>
                  <a:outerShdw blurRad="190500" algn="tl" rotWithShape="0">
                    <a:srgbClr val="000000">
                      <a:alpha val="70000"/>
                    </a:srgbClr>
                  </a:outerShdw>
                </a:effectLst>
              </p:spPr>
            </p:pic>
          </mc:Fallback>
        </mc:AlternateContent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id="{4EE30973-6F78-4A65-9E30-1DEF365F7504}"/>
                </a:ext>
              </a:extLst>
            </p:cNvPr>
            <p:cNvSpPr/>
            <p:nvPr/>
          </p:nvSpPr>
          <p:spPr>
            <a:xfrm>
              <a:off x="2092208" y="3124020"/>
              <a:ext cx="2504766" cy="169157"/>
            </a:xfrm>
            <a:prstGeom prst="rect">
              <a:avLst/>
            </a:prstGeom>
          </p:spPr>
          <p:style>
            <a:lnRef idx="1">
              <a:schemeClr val="dk1"/>
            </a:lnRef>
            <a:fillRef idx="3">
              <a:schemeClr val="dk1"/>
            </a:fillRef>
            <a:effectRef idx="2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800"/>
                <a:t>Infrastructure d’Automatisation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96316492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4C633D1-265D-4E5F-B4D1-FCBC3D6007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3896" y="149200"/>
            <a:ext cx="8596209" cy="337232"/>
          </a:xfrm>
        </p:spPr>
        <p:txBody>
          <a:bodyPr/>
          <a:lstStyle/>
          <a:p>
            <a:r>
              <a:rPr lang="fr-FR"/>
              <a:t>Moyen de Test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C2A96EF-620B-44BE-8CC7-65F448AA726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73895" y="502078"/>
            <a:ext cx="8596106" cy="252924"/>
          </a:xfrm>
        </p:spPr>
        <p:txBody>
          <a:bodyPr/>
          <a:lstStyle/>
          <a:p>
            <a:r>
              <a:rPr lang="fr-FR"/>
              <a:t>Framework – </a:t>
            </a:r>
            <a:r>
              <a:rPr lang="fr-FR" err="1"/>
              <a:t>WebEngine</a:t>
            </a:r>
            <a:r>
              <a:rPr lang="fr-FR"/>
              <a:t> (JAVA/C#)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3EAD7FAE-813A-4E33-AE06-A5D3D8E3548B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184771" y="864417"/>
            <a:ext cx="4271374" cy="4197988"/>
          </a:xfrm>
        </p:spPr>
        <p:txBody>
          <a:bodyPr lIns="80280" tIns="40140" rIns="80280" bIns="40140" anchor="t">
            <a:noAutofit/>
          </a:bodyPr>
          <a:lstStyle/>
          <a:p>
            <a:pPr marL="304324" indent="-304324"/>
            <a:r>
              <a:rPr lang="fr-FR" sz="1000"/>
              <a:t>Pourquoi un Framework :</a:t>
            </a:r>
          </a:p>
          <a:p>
            <a:pPr marL="661114" lvl="1" indent="-304324"/>
            <a:r>
              <a:rPr lang="fr-FR" sz="1000"/>
              <a:t>Centralisation des fonctionnalités communes </a:t>
            </a:r>
          </a:p>
          <a:p>
            <a:pPr marL="661114" lvl="1" indent="-304324"/>
            <a:r>
              <a:rPr lang="fr-FR" sz="1000"/>
              <a:t>Gestion des JDD, Rapport, Intégration DevOps, …</a:t>
            </a:r>
          </a:p>
          <a:p>
            <a:pPr marL="661114" lvl="1" indent="-304324"/>
            <a:r>
              <a:rPr lang="fr-FR" sz="1000"/>
              <a:t>Uniformisation de la structure des projets</a:t>
            </a:r>
          </a:p>
          <a:p>
            <a:pPr marL="661114" lvl="1" indent="-304324"/>
            <a:r>
              <a:rPr lang="fr-FR" sz="1000"/>
              <a:t>Meilleure synergie entre les projets</a:t>
            </a:r>
          </a:p>
          <a:p>
            <a:pPr marL="661114" lvl="1" indent="-304324"/>
            <a:r>
              <a:rPr lang="fr-FR" sz="1000"/>
              <a:t>Exécution en local facilitée sans IDE (Orienté testeur)</a:t>
            </a:r>
          </a:p>
          <a:p>
            <a:pPr marL="661114" lvl="1" indent="-304324"/>
            <a:r>
              <a:rPr lang="fr-FR" sz="1000"/>
              <a:t>Intégration simplifiée dans un environnement DevOps</a:t>
            </a:r>
          </a:p>
          <a:p>
            <a:pPr marL="661114" lvl="1" indent="-304324"/>
            <a:r>
              <a:rPr lang="fr-FR" sz="1000"/>
              <a:t>Maintenance plus aisée des projets d’automatisation</a:t>
            </a:r>
          </a:p>
          <a:p>
            <a:pPr marL="304324" indent="-304324"/>
            <a:endParaRPr lang="fr-FR" sz="1000"/>
          </a:p>
          <a:p>
            <a:pPr marL="304324" indent="-304324"/>
            <a:r>
              <a:rPr lang="fr-FR" sz="1000"/>
              <a:t>Enjeux du WebEngine :</a:t>
            </a:r>
          </a:p>
          <a:p>
            <a:pPr marL="661114" lvl="1" indent="-304324"/>
            <a:r>
              <a:rPr lang="fr-FR" sz="1000" b="1"/>
              <a:t>Couvrir les besoins de test Web, Web Mobile et App Mobile </a:t>
            </a:r>
          </a:p>
          <a:p>
            <a:pPr marL="661114" lvl="1" indent="-304324"/>
            <a:r>
              <a:rPr lang="fr-FR" sz="1000"/>
              <a:t>Basé sur des solutions open-source (Sélénium </a:t>
            </a:r>
            <a:r>
              <a:rPr lang="fr-FR" sz="1000" err="1"/>
              <a:t>WebDriver</a:t>
            </a:r>
            <a:r>
              <a:rPr lang="fr-FR" sz="1000"/>
              <a:t>, </a:t>
            </a:r>
            <a:r>
              <a:rPr lang="fr-FR" sz="1000" err="1"/>
              <a:t>Appium</a:t>
            </a:r>
            <a:r>
              <a:rPr lang="fr-FR" sz="1000"/>
              <a:t>)</a:t>
            </a:r>
          </a:p>
          <a:p>
            <a:pPr marL="661114" lvl="1" indent="-304324"/>
            <a:r>
              <a:rPr lang="fr-FR" sz="1000"/>
              <a:t>Faciliter le développement du script</a:t>
            </a:r>
          </a:p>
          <a:p>
            <a:pPr marL="661114" lvl="1" indent="-304324"/>
            <a:r>
              <a:rPr lang="fr-FR" sz="1000"/>
              <a:t>Intégration des bonnes pratiques de développement</a:t>
            </a:r>
          </a:p>
          <a:p>
            <a:pPr marL="661114" lvl="1" indent="-304324"/>
            <a:endParaRPr lang="fr-FR" sz="1000"/>
          </a:p>
          <a:p>
            <a:pPr marL="304324" indent="-304324"/>
            <a:r>
              <a:rPr lang="fr-FR" sz="1000"/>
              <a:t>Enjeux du Drive By Excel :</a:t>
            </a:r>
          </a:p>
          <a:p>
            <a:pPr marL="661114" lvl="1" indent="-304324"/>
            <a:r>
              <a:rPr lang="fr-FR" sz="1000" b="1"/>
              <a:t>Ecriture du scenario sans code directement dans le fichier EXCEL</a:t>
            </a:r>
          </a:p>
          <a:p>
            <a:pPr marL="661114" lvl="1" indent="-304324"/>
            <a:r>
              <a:rPr lang="fr-FR" sz="1000" err="1"/>
              <a:t>Squads</a:t>
            </a:r>
            <a:r>
              <a:rPr lang="fr-FR" sz="1000"/>
              <a:t>/Applications Web sans automaticiens dédiés</a:t>
            </a:r>
          </a:p>
          <a:p>
            <a:pPr marL="661114" lvl="1" indent="-304324"/>
            <a:r>
              <a:rPr lang="fr-FR" sz="1000"/>
              <a:t>Peu de compétences techniques</a:t>
            </a:r>
          </a:p>
          <a:p>
            <a:pPr marL="661114" lvl="1" indent="-304324"/>
            <a:endParaRPr lang="fr-FR" sz="100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3BBC34D-2290-40D8-90DF-D46A5C391E1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273150" y="4632799"/>
            <a:ext cx="252710" cy="169157"/>
          </a:xfrm>
        </p:spPr>
        <p:txBody>
          <a:bodyPr/>
          <a:lstStyle/>
          <a:p>
            <a:fld id="{438FEFB8-6B6E-4DC1-A5E4-A1258711B442}" type="slidenum">
              <a:rPr lang="fr-FR" smtClean="0"/>
              <a:pPr/>
              <a:t>6</a:t>
            </a:fld>
            <a:endParaRPr lang="fr-FR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738B823F-00C4-44AF-B5C4-5D32A75021D3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6490648" y="4679736"/>
            <a:ext cx="2133166" cy="273254"/>
          </a:xfrm>
        </p:spPr>
        <p:txBody>
          <a:bodyPr/>
          <a:lstStyle/>
          <a:p>
            <a:fld id="{33E2A876-6808-42D7-B9E9-0E9017F3C491}" type="datetime1">
              <a:rPr lang="fr-FR" smtClean="0"/>
              <a:t>20/03/2023</a:t>
            </a:fld>
            <a:endParaRPr lang="fr-FR"/>
          </a:p>
        </p:txBody>
      </p:sp>
      <mc:AlternateContent xmlns:mc="http://schemas.openxmlformats.org/markup-compatibility/2006" xmlns:pslz="http://schemas.microsoft.com/office/powerpoint/2016/slidezoom">
        <mc:Choice Requires="pslz">
          <p:graphicFrame>
            <p:nvGraphicFramePr>
              <p:cNvPr id="38" name="Zoom de diapositive 37">
                <a:extLst>
                  <a:ext uri="{FF2B5EF4-FFF2-40B4-BE49-F238E27FC236}">
                    <a16:creationId xmlns:a16="http://schemas.microsoft.com/office/drawing/2014/main" id="{0F5A36C0-2395-7B6B-7374-799729AC702C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484743557"/>
                  </p:ext>
                </p:extLst>
              </p:nvPr>
            </p:nvGraphicFramePr>
            <p:xfrm>
              <a:off x="4282832" y="1206457"/>
              <a:ext cx="4861168" cy="2734407"/>
            </p:xfrm>
            <a:graphic>
              <a:graphicData uri="http://schemas.microsoft.com/office/powerpoint/2016/slidezoom">
                <pslz:sldZm>
                  <pslz:sldZmObj sldId="887" cId="1835106721">
                    <pslz:zmPr id="{2CB25981-F214-4420-AAE0-133EF06FAA92}" transitionDur="1000">
                      <p166:blipFill xmlns:p166="http://schemas.microsoft.com/office/powerpoint/2016/6/main">
                        <a:blip r:embed="rId3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4861168" cy="2734407"/>
                        </a:xfrm>
                        <a:prstGeom prst="rect">
                          <a:avLst/>
                        </a:prstGeom>
                        <a:ln w="3175">
                          <a:solidFill>
                            <a:prstClr val="ltGray"/>
                          </a:solidFill>
                        </a:ln>
                      </p166:spPr>
                    </pslz:zmPr>
                  </pslz:sldZmObj>
                </pslz:sldZm>
              </a:graphicData>
            </a:graphic>
          </p:graphicFrame>
        </mc:Choice>
        <mc:Fallback xmlns="">
          <p:pic>
            <p:nvPicPr>
              <p:cNvPr id="38" name="Zoom de diapositive 37">
                <a:hlinkClick r:id="rId4" action="ppaction://hlinksldjump"/>
                <a:extLst>
                  <a:ext uri="{FF2B5EF4-FFF2-40B4-BE49-F238E27FC236}">
                    <a16:creationId xmlns:a16="http://schemas.microsoft.com/office/drawing/2014/main" id="{0F5A36C0-2395-7B6B-7374-799729AC702C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4282832" y="1206457"/>
                <a:ext cx="4861168" cy="2734407"/>
              </a:xfrm>
              <a:prstGeom prst="rect">
                <a:avLst/>
              </a:prstGeom>
              <a:ln w="3175">
                <a:solidFill>
                  <a:prstClr val="ltGray"/>
                </a:solidFill>
              </a:ln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178246071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Content Placeholder 12">
            <a:extLst>
              <a:ext uri="{FF2B5EF4-FFF2-40B4-BE49-F238E27FC236}">
                <a16:creationId xmlns:a16="http://schemas.microsoft.com/office/drawing/2014/main" id="{C555C755-2037-4351-FF6F-3F121DA259FD}"/>
              </a:ext>
            </a:extLst>
          </p:cNvPr>
          <p:cNvGraphicFramePr>
            <a:graphicFrameLocks noGrp="1"/>
          </p:cNvGraphicFramePr>
          <p:nvPr>
            <p:ph sz="quarter" idx="13"/>
            <p:extLst>
              <p:ext uri="{D42A27DB-BD31-4B8C-83A1-F6EECF244321}">
                <p14:modId xmlns:p14="http://schemas.microsoft.com/office/powerpoint/2010/main" val="665130485"/>
              </p:ext>
            </p:extLst>
          </p:nvPr>
        </p:nvGraphicFramePr>
        <p:xfrm>
          <a:off x="206685" y="746123"/>
          <a:ext cx="8556625" cy="266270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16DA996-77F4-9DFD-6FC4-C67E4BC8B0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6685" y="101587"/>
            <a:ext cx="8596209" cy="337232"/>
          </a:xfrm>
        </p:spPr>
        <p:txBody>
          <a:bodyPr/>
          <a:lstStyle/>
          <a:p>
            <a:r>
              <a:rPr lang="fr-FR"/>
              <a:t>Activités d’automatisation de Test</a:t>
            </a:r>
          </a:p>
        </p:txBody>
      </p:sp>
      <mc:AlternateContent xmlns:mc="http://schemas.openxmlformats.org/markup-compatibility/2006" xmlns:pslz="http://schemas.microsoft.com/office/powerpoint/2016/slidezoom">
        <mc:Choice Requires="pslz">
          <p:graphicFrame>
            <p:nvGraphicFramePr>
              <p:cNvPr id="10" name="Slide Zoom 9">
                <a:extLst>
                  <a:ext uri="{FF2B5EF4-FFF2-40B4-BE49-F238E27FC236}">
                    <a16:creationId xmlns:a16="http://schemas.microsoft.com/office/drawing/2014/main" id="{07FF5B8E-9392-2339-1AB2-F360FED5E72F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3805194669"/>
                  </p:ext>
                </p:extLst>
              </p:nvPr>
            </p:nvGraphicFramePr>
            <p:xfrm>
              <a:off x="3311791" y="3472170"/>
              <a:ext cx="2286000" cy="1285875"/>
            </p:xfrm>
            <a:graphic>
              <a:graphicData uri="http://schemas.microsoft.com/office/powerpoint/2016/slidezoom">
                <pslz:sldZm>
                  <pslz:sldZmObj sldId="2147470882" cId="675789009">
                    <pslz:zmPr id="{E806EFCB-3F88-4846-9BE3-94BB8D08400F}" transitionDur="1000">
                      <p166:blipFill xmlns:p166="http://schemas.microsoft.com/office/powerpoint/2016/6/main">
                        <a:blip r:embed="rId7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2286000" cy="1285875"/>
                        </a:xfrm>
                        <a:prstGeom prst="rect">
                          <a:avLst/>
                        </a:prstGeom>
                        <a:ln>
                          <a:noFill/>
                        </a:ln>
                        <a:effectLst>
                          <a:outerShdw blurRad="190500" algn="tl" rotWithShape="0">
                            <a:srgbClr val="000000">
                              <a:alpha val="70000"/>
                            </a:srgbClr>
                          </a:outerShdw>
                        </a:effectLst>
                      </p166:spPr>
                    </pslz:zmPr>
                  </pslz:sldZmObj>
                </pslz:sldZm>
              </a:graphicData>
            </a:graphic>
          </p:graphicFrame>
        </mc:Choice>
        <mc:Fallback xmlns="">
          <p:pic>
            <p:nvPicPr>
              <p:cNvPr id="10" name="Slide Zoom 9">
                <a:hlinkClick r:id="rId8" action="ppaction://hlinksldjump"/>
                <a:extLst>
                  <a:ext uri="{FF2B5EF4-FFF2-40B4-BE49-F238E27FC236}">
                    <a16:creationId xmlns:a16="http://schemas.microsoft.com/office/drawing/2014/main" id="{07FF5B8E-9392-2339-1AB2-F360FED5E72F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9"/>
              <a:stretch>
                <a:fillRect/>
              </a:stretch>
            </p:blipFill>
            <p:spPr>
              <a:xfrm>
                <a:off x="3311791" y="3472170"/>
                <a:ext cx="2286000" cy="1285875"/>
              </a:xfrm>
              <a:prstGeom prst="rect">
                <a:avLst/>
              </a:prstGeom>
              <a:ln>
                <a:noFill/>
              </a:ln>
              <a:effectLst>
                <a:outerShdw blurRad="190500" algn="tl" rotWithShape="0">
                  <a:srgbClr val="000000">
                    <a:alpha val="70000"/>
                  </a:srgbClr>
                </a:outerShdw>
              </a:effectLst>
            </p:spPr>
          </p:pic>
        </mc:Fallback>
      </mc:AlternateContent>
      <mc:AlternateContent xmlns:mc="http://schemas.openxmlformats.org/markup-compatibility/2006" xmlns:psez="http://schemas.microsoft.com/office/powerpoint/2016/sectionzoom">
        <mc:Choice Requires="psez">
          <p:graphicFrame>
            <p:nvGraphicFramePr>
              <p:cNvPr id="15" name="Section Zoom 14">
                <a:extLst>
                  <a:ext uri="{FF2B5EF4-FFF2-40B4-BE49-F238E27FC236}">
                    <a16:creationId xmlns:a16="http://schemas.microsoft.com/office/drawing/2014/main" id="{2D1D95B9-50A4-26E8-EFE2-4BF3834FA288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3007176277"/>
                  </p:ext>
                </p:extLst>
              </p:nvPr>
            </p:nvGraphicFramePr>
            <p:xfrm>
              <a:off x="380690" y="3472169"/>
              <a:ext cx="2286000" cy="1285875"/>
            </p:xfrm>
            <a:graphic>
              <a:graphicData uri="http://schemas.microsoft.com/office/powerpoint/2016/sectionzoom">
                <psez:sectionZm>
                  <psez:sectionZmObj sectionId="{5EC662EE-0F00-441C-AD16-F6CACC63C767}">
                    <psez:zmPr id="{F8129182-0B02-412A-96C9-1B3BA5FDD27F}" transitionDur="1000">
                      <p166:blipFill xmlns:p166="http://schemas.microsoft.com/office/powerpoint/2016/6/main">
                        <a:blip r:embed="rId10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2286000" cy="1285875"/>
                        </a:xfrm>
                        <a:prstGeom prst="rect">
                          <a:avLst/>
                        </a:prstGeom>
                        <a:ln>
                          <a:noFill/>
                        </a:ln>
                        <a:effectLst>
                          <a:outerShdw blurRad="190500" algn="tl" rotWithShape="0">
                            <a:srgbClr val="000000">
                              <a:alpha val="70000"/>
                            </a:srgbClr>
                          </a:outerShdw>
                        </a:effectLst>
                      </p166:spPr>
                    </psez:zmPr>
                  </psez:sectionZmObj>
                </psez:sectionZm>
              </a:graphicData>
            </a:graphic>
          </p:graphicFrame>
        </mc:Choice>
        <mc:Fallback xmlns="">
          <p:pic>
            <p:nvPicPr>
              <p:cNvPr id="15" name="Section Zoom 14">
                <a:hlinkClick r:id="rId11" action="ppaction://hlinksldjump"/>
                <a:extLst>
                  <a:ext uri="{FF2B5EF4-FFF2-40B4-BE49-F238E27FC236}">
                    <a16:creationId xmlns:a16="http://schemas.microsoft.com/office/drawing/2014/main" id="{2D1D95B9-50A4-26E8-EFE2-4BF3834FA288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12"/>
              <a:stretch>
                <a:fillRect/>
              </a:stretch>
            </p:blipFill>
            <p:spPr>
              <a:xfrm>
                <a:off x="380690" y="3472169"/>
                <a:ext cx="2286000" cy="1285875"/>
              </a:xfrm>
              <a:prstGeom prst="rect">
                <a:avLst/>
              </a:prstGeom>
              <a:ln>
                <a:noFill/>
              </a:ln>
              <a:effectLst>
                <a:outerShdw blurRad="190500" algn="tl" rotWithShape="0">
                  <a:srgbClr val="000000">
                    <a:alpha val="70000"/>
                  </a:srgbClr>
                </a:outerShdw>
              </a:effectLst>
            </p:spPr>
          </p:pic>
        </mc:Fallback>
      </mc:AlternateContent>
      <mc:AlternateContent xmlns:mc="http://schemas.openxmlformats.org/markup-compatibility/2006" xmlns:psez="http://schemas.microsoft.com/office/powerpoint/2016/sectionzoom">
        <mc:Choice Requires="psez">
          <p:graphicFrame>
            <p:nvGraphicFramePr>
              <p:cNvPr id="17" name="Section Zoom 16">
                <a:extLst>
                  <a:ext uri="{FF2B5EF4-FFF2-40B4-BE49-F238E27FC236}">
                    <a16:creationId xmlns:a16="http://schemas.microsoft.com/office/drawing/2014/main" id="{C1C62E2B-92D0-ACAE-DACB-3D43F9B4B500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3898353906"/>
                  </p:ext>
                </p:extLst>
              </p:nvPr>
            </p:nvGraphicFramePr>
            <p:xfrm>
              <a:off x="6298498" y="3472169"/>
              <a:ext cx="2286000" cy="1285875"/>
            </p:xfrm>
            <a:graphic>
              <a:graphicData uri="http://schemas.microsoft.com/office/powerpoint/2016/sectionzoom">
                <psez:sectionZm>
                  <psez:sectionZmObj sectionId="{54FBC9B9-05B9-4493-BF1A-C8DE1008F4AD}">
                    <psez:zmPr id="{06C89E5F-BED5-45D3-84D8-D8CD0248F723}" transitionDur="1000">
                      <p166:blipFill xmlns:p166="http://schemas.microsoft.com/office/powerpoint/2016/6/main">
                        <a:blip r:embed="rId13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2286000" cy="1285875"/>
                        </a:xfrm>
                        <a:prstGeom prst="rect">
                          <a:avLst/>
                        </a:prstGeom>
                        <a:ln>
                          <a:noFill/>
                        </a:ln>
                        <a:effectLst>
                          <a:outerShdw blurRad="190500" algn="tl" rotWithShape="0">
                            <a:srgbClr val="000000">
                              <a:alpha val="70000"/>
                            </a:srgbClr>
                          </a:outerShdw>
                        </a:effectLst>
                      </p166:spPr>
                    </psez:zmPr>
                  </psez:sectionZmObj>
                </psez:sectionZm>
              </a:graphicData>
            </a:graphic>
          </p:graphicFrame>
        </mc:Choice>
        <mc:Fallback xmlns="">
          <p:pic>
            <p:nvPicPr>
              <p:cNvPr id="17" name="Section Zoom 16">
                <a:hlinkClick r:id="rId14" action="ppaction://hlinksldjump"/>
                <a:extLst>
                  <a:ext uri="{FF2B5EF4-FFF2-40B4-BE49-F238E27FC236}">
                    <a16:creationId xmlns:a16="http://schemas.microsoft.com/office/drawing/2014/main" id="{C1C62E2B-92D0-ACAE-DACB-3D43F9B4B500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15"/>
              <a:stretch>
                <a:fillRect/>
              </a:stretch>
            </p:blipFill>
            <p:spPr>
              <a:xfrm>
                <a:off x="6298498" y="3472169"/>
                <a:ext cx="2286000" cy="1285875"/>
              </a:xfrm>
              <a:prstGeom prst="rect">
                <a:avLst/>
              </a:prstGeom>
              <a:ln>
                <a:noFill/>
              </a:ln>
              <a:effectLst>
                <a:outerShdw blurRad="190500" algn="tl" rotWithShape="0">
                  <a:srgbClr val="000000">
                    <a:alpha val="70000"/>
                  </a:srgbClr>
                </a:outerShdw>
              </a:effectLst>
            </p:spPr>
          </p:pic>
        </mc:Fallback>
      </mc:AlternateContent>
      <p:sp>
        <p:nvSpPr>
          <p:cNvPr id="3" name="Oval 2">
            <a:extLst>
              <a:ext uri="{FF2B5EF4-FFF2-40B4-BE49-F238E27FC236}">
                <a16:creationId xmlns:a16="http://schemas.microsoft.com/office/drawing/2014/main" id="{F87B039F-347E-144A-6378-CC7075E5C01A}"/>
              </a:ext>
            </a:extLst>
          </p:cNvPr>
          <p:cNvSpPr/>
          <p:nvPr/>
        </p:nvSpPr>
        <p:spPr>
          <a:xfrm>
            <a:off x="2460678" y="897426"/>
            <a:ext cx="277405" cy="277405"/>
          </a:xfrm>
          <a:prstGeom prst="ellipse">
            <a:avLst/>
          </a:prstGeom>
          <a:solidFill>
            <a:srgbClr val="339933"/>
          </a:solid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fr-FR" sz="700">
                <a:latin typeface="Segoe UI" panose="020B0502040204020203" pitchFamily="34" charset="0"/>
                <a:cs typeface="Segoe UI" panose="020B0502040204020203" pitchFamily="34" charset="0"/>
              </a:rPr>
              <a:t>TEST</a:t>
            </a: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1215E1D7-4EF8-96BB-E521-85A1B0FB524D}"/>
              </a:ext>
            </a:extLst>
          </p:cNvPr>
          <p:cNvSpPr/>
          <p:nvPr/>
        </p:nvSpPr>
        <p:spPr>
          <a:xfrm>
            <a:off x="8397351" y="904510"/>
            <a:ext cx="277405" cy="277405"/>
          </a:xfrm>
          <a:prstGeom prst="ellipse">
            <a:avLst/>
          </a:prstGeom>
          <a:solidFill>
            <a:srgbClr val="339933"/>
          </a:solid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fr-FR" sz="700">
                <a:latin typeface="Segoe UI" panose="020B0502040204020203" pitchFamily="34" charset="0"/>
                <a:cs typeface="Segoe UI" panose="020B0502040204020203" pitchFamily="34" charset="0"/>
              </a:rPr>
              <a:t>TEST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1AA63C6E-5D7F-3DFF-944C-18422A5CCE41}"/>
              </a:ext>
            </a:extLst>
          </p:cNvPr>
          <p:cNvSpPr/>
          <p:nvPr/>
        </p:nvSpPr>
        <p:spPr>
          <a:xfrm>
            <a:off x="5429014" y="904509"/>
            <a:ext cx="277405" cy="277405"/>
          </a:xfrm>
          <a:prstGeom prst="ellipse">
            <a:avLst/>
          </a:prstGeom>
          <a:solidFill>
            <a:schemeClr val="tx1"/>
          </a:solid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fr-FR" sz="700">
                <a:latin typeface="Segoe UI" panose="020B0502040204020203" pitchFamily="34" charset="0"/>
                <a:cs typeface="Segoe UI" panose="020B0502040204020203" pitchFamily="34" charset="0"/>
              </a:rPr>
              <a:t>DEV</a:t>
            </a:r>
          </a:p>
        </p:txBody>
      </p:sp>
    </p:spTree>
    <p:extLst>
      <p:ext uri="{BB962C8B-B14F-4D97-AF65-F5344CB8AC3E}">
        <p14:creationId xmlns:p14="http://schemas.microsoft.com/office/powerpoint/2010/main" val="261953264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E7136351-2C0B-46DC-BF93-6365ABA5BD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yen de Test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25B5029-BFB3-458F-ACA2-566BAFC77FD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fr-FR"/>
              <a:t>Infrastructure de test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854E875F-39DE-43CE-A74E-8DF76D63A928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259176" y="1164392"/>
            <a:ext cx="8556096" cy="3412889"/>
          </a:xfrm>
        </p:spPr>
        <p:txBody>
          <a:bodyPr/>
          <a:lstStyle/>
          <a:p>
            <a:endParaRPr lang="fr-FR"/>
          </a:p>
        </p:txBody>
      </p:sp>
      <p:grpSp>
        <p:nvGrpSpPr>
          <p:cNvPr id="151" name="Groupe 150">
            <a:extLst>
              <a:ext uri="{FF2B5EF4-FFF2-40B4-BE49-F238E27FC236}">
                <a16:creationId xmlns:a16="http://schemas.microsoft.com/office/drawing/2014/main" id="{953BC613-5B9E-45AF-B342-4FF7C1DBB6A0}"/>
              </a:ext>
            </a:extLst>
          </p:cNvPr>
          <p:cNvGrpSpPr/>
          <p:nvPr/>
        </p:nvGrpSpPr>
        <p:grpSpPr>
          <a:xfrm>
            <a:off x="200173" y="928744"/>
            <a:ext cx="8595485" cy="4027274"/>
            <a:chOff x="226256" y="1197684"/>
            <a:chExt cx="11460647" cy="5369699"/>
          </a:xfrm>
        </p:grpSpPr>
        <p:sp>
          <p:nvSpPr>
            <p:cNvPr id="150" name="Rectangle 149">
              <a:extLst>
                <a:ext uri="{FF2B5EF4-FFF2-40B4-BE49-F238E27FC236}">
                  <a16:creationId xmlns:a16="http://schemas.microsoft.com/office/drawing/2014/main" id="{C0F6948C-57B4-4BB6-BD9E-00D06EFFFECB}"/>
                </a:ext>
              </a:extLst>
            </p:cNvPr>
            <p:cNvSpPr/>
            <p:nvPr/>
          </p:nvSpPr>
          <p:spPr>
            <a:xfrm>
              <a:off x="226256" y="1197684"/>
              <a:ext cx="11460647" cy="536969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200"/>
            </a:p>
          </p:txBody>
        </p:sp>
        <p:grpSp>
          <p:nvGrpSpPr>
            <p:cNvPr id="149" name="Groupe 148">
              <a:extLst>
                <a:ext uri="{FF2B5EF4-FFF2-40B4-BE49-F238E27FC236}">
                  <a16:creationId xmlns:a16="http://schemas.microsoft.com/office/drawing/2014/main" id="{292D407F-C9AB-4AB5-A365-C565372D5E34}"/>
                </a:ext>
              </a:extLst>
            </p:cNvPr>
            <p:cNvGrpSpPr/>
            <p:nvPr/>
          </p:nvGrpSpPr>
          <p:grpSpPr>
            <a:xfrm>
              <a:off x="226256" y="1197684"/>
              <a:ext cx="11395545" cy="5304463"/>
              <a:chOff x="226256" y="1197684"/>
              <a:chExt cx="11395545" cy="5304463"/>
            </a:xfrm>
          </p:grpSpPr>
          <p:sp>
            <p:nvSpPr>
              <p:cNvPr id="5" name="Rectangle 4">
                <a:extLst>
                  <a:ext uri="{FF2B5EF4-FFF2-40B4-BE49-F238E27FC236}">
                    <a16:creationId xmlns:a16="http://schemas.microsoft.com/office/drawing/2014/main" id="{8B4306EE-B13F-4FA0-B917-D305A0950FEE}"/>
                  </a:ext>
                </a:extLst>
              </p:cNvPr>
              <p:cNvSpPr/>
              <p:nvPr/>
            </p:nvSpPr>
            <p:spPr>
              <a:xfrm>
                <a:off x="3186002" y="1197685"/>
                <a:ext cx="6709697" cy="5304462"/>
              </a:xfrm>
              <a:prstGeom prst="rect">
                <a:avLst/>
              </a:prstGeom>
              <a:solidFill>
                <a:schemeClr val="bg2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 sz="1200"/>
              </a:p>
            </p:txBody>
          </p:sp>
          <p:sp>
            <p:nvSpPr>
              <p:cNvPr id="7" name="Rectangle 6">
                <a:extLst>
                  <a:ext uri="{FF2B5EF4-FFF2-40B4-BE49-F238E27FC236}">
                    <a16:creationId xmlns:a16="http://schemas.microsoft.com/office/drawing/2014/main" id="{A1C9DE21-EB50-4A8D-A8FC-6188500EE0BD}"/>
                  </a:ext>
                </a:extLst>
              </p:cNvPr>
              <p:cNvSpPr/>
              <p:nvPr/>
            </p:nvSpPr>
            <p:spPr>
              <a:xfrm>
                <a:off x="226256" y="1197684"/>
                <a:ext cx="2735308" cy="1658438"/>
              </a:xfrm>
              <a:prstGeom prst="rect">
                <a:avLst/>
              </a:prstGeom>
              <a:noFill/>
              <a:ln>
                <a:solidFill>
                  <a:srgbClr val="007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r>
                  <a:rPr lang="fr-FR" sz="1050">
                    <a:solidFill>
                      <a:srgbClr val="002060"/>
                    </a:solidFill>
                  </a:rPr>
                  <a:t>Poste de travail</a:t>
                </a:r>
              </a:p>
            </p:txBody>
          </p:sp>
          <p:pic>
            <p:nvPicPr>
              <p:cNvPr id="8" name="Picture 67" descr="Icon&#10;&#10;Description automatically generated">
                <a:extLst>
                  <a:ext uri="{FF2B5EF4-FFF2-40B4-BE49-F238E27FC236}">
                    <a16:creationId xmlns:a16="http://schemas.microsoft.com/office/drawing/2014/main" id="{48214F5F-9403-4165-8C30-E742B21A824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661976" y="1640733"/>
                <a:ext cx="320767" cy="320767"/>
              </a:xfrm>
              <a:prstGeom prst="rect">
                <a:avLst/>
              </a:prstGeom>
            </p:spPr>
          </p:pic>
          <p:pic>
            <p:nvPicPr>
              <p:cNvPr id="9" name="Picture 69" descr="A picture containing text, yellow, clipart, picture frame&#10;&#10;Description automatically generated">
                <a:extLst>
                  <a:ext uri="{FF2B5EF4-FFF2-40B4-BE49-F238E27FC236}">
                    <a16:creationId xmlns:a16="http://schemas.microsoft.com/office/drawing/2014/main" id="{3B7EF109-6834-4C9B-AF9E-B2BA9DE20C3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92566" y="1671468"/>
                <a:ext cx="298765" cy="298765"/>
              </a:xfrm>
              <a:prstGeom prst="rect">
                <a:avLst/>
              </a:prstGeom>
            </p:spPr>
          </p:pic>
          <p:pic>
            <p:nvPicPr>
              <p:cNvPr id="10" name="Picture 2">
                <a:extLst>
                  <a:ext uri="{FF2B5EF4-FFF2-40B4-BE49-F238E27FC236}">
                    <a16:creationId xmlns:a16="http://schemas.microsoft.com/office/drawing/2014/main" id="{5FE8B37E-1B7A-4687-A0CE-C0589BA20041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651824" y="2451131"/>
                <a:ext cx="298765" cy="298765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1" name="Picture 4" descr="Afficher l’image source">
                <a:extLst>
                  <a:ext uri="{FF2B5EF4-FFF2-40B4-BE49-F238E27FC236}">
                    <a16:creationId xmlns:a16="http://schemas.microsoft.com/office/drawing/2014/main" id="{DF789326-145A-4587-85D1-CBE82A26B27A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82416" y="2455367"/>
                <a:ext cx="298765" cy="298765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12" name="TextBox 70">
                <a:extLst>
                  <a:ext uri="{FF2B5EF4-FFF2-40B4-BE49-F238E27FC236}">
                    <a16:creationId xmlns:a16="http://schemas.microsoft.com/office/drawing/2014/main" id="{16D8AE48-7495-4383-BCC0-3B159C173A3F}"/>
                  </a:ext>
                </a:extLst>
              </p:cNvPr>
              <p:cNvSpPr txBox="1"/>
              <p:nvPr/>
            </p:nvSpPr>
            <p:spPr>
              <a:xfrm>
                <a:off x="1910245" y="2466017"/>
                <a:ext cx="987877" cy="29238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fr-FR" sz="825">
                    <a:solidFill>
                      <a:srgbClr val="002060"/>
                    </a:solidFill>
                  </a:rPr>
                  <a:t>Visual Studio</a:t>
                </a:r>
              </a:p>
            </p:txBody>
          </p:sp>
          <p:sp>
            <p:nvSpPr>
              <p:cNvPr id="13" name="TextBox 73">
                <a:extLst>
                  <a:ext uri="{FF2B5EF4-FFF2-40B4-BE49-F238E27FC236}">
                    <a16:creationId xmlns:a16="http://schemas.microsoft.com/office/drawing/2014/main" id="{5FE1CF7B-5D73-4FDE-8AA9-A21C63217028}"/>
                  </a:ext>
                </a:extLst>
              </p:cNvPr>
              <p:cNvSpPr txBox="1"/>
              <p:nvPr/>
            </p:nvSpPr>
            <p:spPr>
              <a:xfrm>
                <a:off x="648060" y="2488285"/>
                <a:ext cx="921620" cy="29238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fr-FR" sz="825" err="1">
                    <a:solidFill>
                      <a:srgbClr val="002060"/>
                    </a:solidFill>
                  </a:rPr>
                  <a:t>IntelliJ</a:t>
                </a:r>
                <a:r>
                  <a:rPr lang="fr-FR" sz="825">
                    <a:solidFill>
                      <a:srgbClr val="002060"/>
                    </a:solidFill>
                  </a:rPr>
                  <a:t> IDEA</a:t>
                </a:r>
              </a:p>
            </p:txBody>
          </p:sp>
          <p:sp>
            <p:nvSpPr>
              <p:cNvPr id="14" name="TextBox 74">
                <a:extLst>
                  <a:ext uri="{FF2B5EF4-FFF2-40B4-BE49-F238E27FC236}">
                    <a16:creationId xmlns:a16="http://schemas.microsoft.com/office/drawing/2014/main" id="{DD91090C-F419-46C5-B7CC-ADC380E134D7}"/>
                  </a:ext>
                </a:extLst>
              </p:cNvPr>
              <p:cNvSpPr txBox="1"/>
              <p:nvPr/>
            </p:nvSpPr>
            <p:spPr>
              <a:xfrm>
                <a:off x="1917203" y="1694763"/>
                <a:ext cx="1094745" cy="29238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fr-FR" sz="825">
                    <a:solidFill>
                      <a:srgbClr val="002060"/>
                    </a:solidFill>
                  </a:rPr>
                  <a:t>UFT </a:t>
                </a:r>
                <a:r>
                  <a:rPr lang="fr-FR" sz="825" err="1">
                    <a:solidFill>
                      <a:srgbClr val="002060"/>
                    </a:solidFill>
                  </a:rPr>
                  <a:t>Developer</a:t>
                </a:r>
                <a:endParaRPr lang="fr-FR" sz="825">
                  <a:solidFill>
                    <a:srgbClr val="002060"/>
                  </a:solidFill>
                </a:endParaRPr>
              </a:p>
            </p:txBody>
          </p:sp>
          <p:sp>
            <p:nvSpPr>
              <p:cNvPr id="15" name="TextBox 75">
                <a:extLst>
                  <a:ext uri="{FF2B5EF4-FFF2-40B4-BE49-F238E27FC236}">
                    <a16:creationId xmlns:a16="http://schemas.microsoft.com/office/drawing/2014/main" id="{335F8E7C-C8D7-4CC1-A051-7D6A3D5D6393}"/>
                  </a:ext>
                </a:extLst>
              </p:cNvPr>
              <p:cNvSpPr txBox="1"/>
              <p:nvPr/>
            </p:nvSpPr>
            <p:spPr>
              <a:xfrm>
                <a:off x="655117" y="1693645"/>
                <a:ext cx="791243" cy="29238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fr-FR" sz="825">
                    <a:solidFill>
                      <a:srgbClr val="002060"/>
                    </a:solidFill>
                  </a:rPr>
                  <a:t>ReadyAPI</a:t>
                </a:r>
              </a:p>
            </p:txBody>
          </p:sp>
          <p:grpSp>
            <p:nvGrpSpPr>
              <p:cNvPr id="16" name="Groupe 15">
                <a:extLst>
                  <a:ext uri="{FF2B5EF4-FFF2-40B4-BE49-F238E27FC236}">
                    <a16:creationId xmlns:a16="http://schemas.microsoft.com/office/drawing/2014/main" id="{EFC770E7-C0EB-4AF2-8D38-33F71EC46D76}"/>
                  </a:ext>
                </a:extLst>
              </p:cNvPr>
              <p:cNvGrpSpPr/>
              <p:nvPr/>
            </p:nvGrpSpPr>
            <p:grpSpPr>
              <a:xfrm>
                <a:off x="10043757" y="1197684"/>
                <a:ext cx="1574107" cy="2800676"/>
                <a:chOff x="10247305" y="3669059"/>
                <a:chExt cx="1574107" cy="2800676"/>
              </a:xfrm>
            </p:grpSpPr>
            <p:pic>
              <p:nvPicPr>
                <p:cNvPr id="17" name="Picture 6" descr="Afficher l’image source">
                  <a:extLst>
                    <a:ext uri="{FF2B5EF4-FFF2-40B4-BE49-F238E27FC236}">
                      <a16:creationId xmlns:a16="http://schemas.microsoft.com/office/drawing/2014/main" id="{D02A59EA-0CBE-43C5-8E40-6F5506F85BBB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 rotWithShape="1">
                <a:blip r:embed="rId6">
                  <a:extLst>
                    <a:ext uri="{BEBA8EAE-BF5A-486C-A8C5-ECC9F3942E4B}">
                      <a14:imgProps xmlns:a14="http://schemas.microsoft.com/office/drawing/2010/main">
                        <a14:imgLayer r:embed="rId7">
                          <a14:imgEffect>
                            <a14:brightnessContrast contrast="-40000"/>
                          </a14:imgEffect>
                        </a14:imgLayer>
                      </a14:imgProps>
                    </a:ex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l="28440" t="13612" r="4552" b="7819"/>
                <a:stretch/>
              </p:blipFill>
              <p:spPr bwMode="auto">
                <a:xfrm>
                  <a:off x="10254242" y="4283143"/>
                  <a:ext cx="1550323" cy="1590619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sp>
              <p:nvSpPr>
                <p:cNvPr id="18" name="Rectangle 17">
                  <a:extLst>
                    <a:ext uri="{FF2B5EF4-FFF2-40B4-BE49-F238E27FC236}">
                      <a16:creationId xmlns:a16="http://schemas.microsoft.com/office/drawing/2014/main" id="{3AEBCACE-9CD6-4223-B5BD-886288150B1E}"/>
                    </a:ext>
                  </a:extLst>
                </p:cNvPr>
                <p:cNvSpPr/>
                <p:nvPr/>
              </p:nvSpPr>
              <p:spPr>
                <a:xfrm>
                  <a:off x="10247305" y="3669059"/>
                  <a:ext cx="1574107" cy="2800676"/>
                </a:xfrm>
                <a:prstGeom prst="rect">
                  <a:avLst/>
                </a:prstGeom>
                <a:noFill/>
                <a:ln>
                  <a:solidFill>
                    <a:srgbClr val="00206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t"/>
                <a:lstStyle/>
                <a:p>
                  <a:r>
                    <a:rPr lang="fr-FR" sz="1050" err="1">
                      <a:solidFill>
                        <a:srgbClr val="002060"/>
                      </a:solidFill>
                    </a:rPr>
                    <a:t>Sysème</a:t>
                  </a:r>
                  <a:r>
                    <a:rPr lang="fr-FR" sz="1050">
                      <a:solidFill>
                        <a:srgbClr val="002060"/>
                      </a:solidFill>
                    </a:rPr>
                    <a:t> sous test</a:t>
                  </a:r>
                </a:p>
              </p:txBody>
            </p:sp>
          </p:grpSp>
          <p:grpSp>
            <p:nvGrpSpPr>
              <p:cNvPr id="19" name="Groupe 18">
                <a:extLst>
                  <a:ext uri="{FF2B5EF4-FFF2-40B4-BE49-F238E27FC236}">
                    <a16:creationId xmlns:a16="http://schemas.microsoft.com/office/drawing/2014/main" id="{E4308B0D-70BE-4CFB-8FB0-D590F02FFECF}"/>
                  </a:ext>
                </a:extLst>
              </p:cNvPr>
              <p:cNvGrpSpPr/>
              <p:nvPr/>
            </p:nvGrpSpPr>
            <p:grpSpPr>
              <a:xfrm>
                <a:off x="10054631" y="4048500"/>
                <a:ext cx="1567170" cy="2453645"/>
                <a:chOff x="10254242" y="1372507"/>
                <a:chExt cx="1567170" cy="2056494"/>
              </a:xfrm>
            </p:grpSpPr>
            <p:sp>
              <p:nvSpPr>
                <p:cNvPr id="20" name="Rectangle 19">
                  <a:extLst>
                    <a:ext uri="{FF2B5EF4-FFF2-40B4-BE49-F238E27FC236}">
                      <a16:creationId xmlns:a16="http://schemas.microsoft.com/office/drawing/2014/main" id="{7933D722-377B-4B45-8C8C-B17F59AABA83}"/>
                    </a:ext>
                  </a:extLst>
                </p:cNvPr>
                <p:cNvSpPr/>
                <p:nvPr/>
              </p:nvSpPr>
              <p:spPr>
                <a:xfrm>
                  <a:off x="10254242" y="1372507"/>
                  <a:ext cx="1567170" cy="2056494"/>
                </a:xfrm>
                <a:prstGeom prst="rect">
                  <a:avLst/>
                </a:prstGeom>
                <a:noFill/>
                <a:ln>
                  <a:solidFill>
                    <a:srgbClr val="00B05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t"/>
                <a:lstStyle/>
                <a:p>
                  <a:r>
                    <a:rPr lang="fr-FR" sz="1050">
                      <a:solidFill>
                        <a:srgbClr val="00B050"/>
                      </a:solidFill>
                    </a:rPr>
                    <a:t>Gestionnaire de Test</a:t>
                  </a:r>
                </a:p>
              </p:txBody>
            </p:sp>
            <p:pic>
              <p:nvPicPr>
                <p:cNvPr id="21" name="Picture 72" descr="Shape, logo, company name, arrow&#10;&#10;Description automatically generated">
                  <a:extLst>
                    <a:ext uri="{FF2B5EF4-FFF2-40B4-BE49-F238E27FC236}">
                      <a16:creationId xmlns:a16="http://schemas.microsoft.com/office/drawing/2014/main" id="{BB9F067C-D98A-4280-AF0A-BC9EE4D696FD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8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0731397" y="2014652"/>
                  <a:ext cx="592125" cy="592125"/>
                </a:xfrm>
                <a:prstGeom prst="rect">
                  <a:avLst/>
                </a:prstGeom>
              </p:spPr>
            </p:pic>
            <p:sp>
              <p:nvSpPr>
                <p:cNvPr id="22" name="TextBox 77">
                  <a:extLst>
                    <a:ext uri="{FF2B5EF4-FFF2-40B4-BE49-F238E27FC236}">
                      <a16:creationId xmlns:a16="http://schemas.microsoft.com/office/drawing/2014/main" id="{EE3AAD9A-B24E-4B84-B936-E96D6D837197}"/>
                    </a:ext>
                  </a:extLst>
                </p:cNvPr>
                <p:cNvSpPr txBox="1"/>
                <p:nvPr/>
              </p:nvSpPr>
              <p:spPr>
                <a:xfrm>
                  <a:off x="10388503" y="2606777"/>
                  <a:ext cx="1190839" cy="309551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fr-FR" sz="1200"/>
                    <a:t>JIRA / XRAY</a:t>
                  </a:r>
                </a:p>
              </p:txBody>
            </p:sp>
          </p:grpSp>
          <p:grpSp>
            <p:nvGrpSpPr>
              <p:cNvPr id="23" name="Groupe 22">
                <a:extLst>
                  <a:ext uri="{FF2B5EF4-FFF2-40B4-BE49-F238E27FC236}">
                    <a16:creationId xmlns:a16="http://schemas.microsoft.com/office/drawing/2014/main" id="{EE395A36-601F-4C53-A2B8-EF5E9CF4E244}"/>
                  </a:ext>
                </a:extLst>
              </p:cNvPr>
              <p:cNvGrpSpPr/>
              <p:nvPr/>
            </p:nvGrpSpPr>
            <p:grpSpPr>
              <a:xfrm>
                <a:off x="226256" y="2852801"/>
                <a:ext cx="2735308" cy="3649345"/>
                <a:chOff x="478740" y="3029169"/>
                <a:chExt cx="2735308" cy="3440566"/>
              </a:xfrm>
            </p:grpSpPr>
            <p:grpSp>
              <p:nvGrpSpPr>
                <p:cNvPr id="24" name="Group 10">
                  <a:extLst>
                    <a:ext uri="{FF2B5EF4-FFF2-40B4-BE49-F238E27FC236}">
                      <a16:creationId xmlns:a16="http://schemas.microsoft.com/office/drawing/2014/main" id="{A383AC14-0569-4A2A-88AC-520A51B8BBB5}"/>
                    </a:ext>
                  </a:extLst>
                </p:cNvPr>
                <p:cNvGrpSpPr/>
                <p:nvPr/>
              </p:nvGrpSpPr>
              <p:grpSpPr>
                <a:xfrm>
                  <a:off x="478740" y="3205678"/>
                  <a:ext cx="2735308" cy="3264057"/>
                  <a:chOff x="226256" y="1398897"/>
                  <a:chExt cx="2735308" cy="2613546"/>
                </a:xfrm>
                <a:solidFill>
                  <a:srgbClr val="CCECFF"/>
                </a:solidFill>
              </p:grpSpPr>
              <p:sp>
                <p:nvSpPr>
                  <p:cNvPr id="29" name="Rectangle 28">
                    <a:extLst>
                      <a:ext uri="{FF2B5EF4-FFF2-40B4-BE49-F238E27FC236}">
                        <a16:creationId xmlns:a16="http://schemas.microsoft.com/office/drawing/2014/main" id="{43332355-A5A9-4113-86EE-9C623431C6DD}"/>
                      </a:ext>
                    </a:extLst>
                  </p:cNvPr>
                  <p:cNvSpPr/>
                  <p:nvPr/>
                </p:nvSpPr>
                <p:spPr>
                  <a:xfrm>
                    <a:off x="226256" y="1398897"/>
                    <a:ext cx="2735308" cy="2613546"/>
                  </a:xfrm>
                  <a:prstGeom prst="rect">
                    <a:avLst/>
                  </a:prstGeom>
                  <a:grpFill/>
                  <a:ln>
                    <a:solidFill>
                      <a:srgbClr val="002060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t"/>
                  <a:lstStyle/>
                  <a:p>
                    <a:r>
                      <a:rPr lang="fr-FR" sz="1050">
                        <a:solidFill>
                          <a:srgbClr val="002060"/>
                        </a:solidFill>
                      </a:rPr>
                      <a:t>Plateforme DevOps</a:t>
                    </a:r>
                  </a:p>
                </p:txBody>
              </p:sp>
              <p:sp>
                <p:nvSpPr>
                  <p:cNvPr id="30" name="Rectangle 29">
                    <a:extLst>
                      <a:ext uri="{FF2B5EF4-FFF2-40B4-BE49-F238E27FC236}">
                        <a16:creationId xmlns:a16="http://schemas.microsoft.com/office/drawing/2014/main" id="{6923B600-EF75-45B3-BD7A-B2502BA6DB02}"/>
                      </a:ext>
                    </a:extLst>
                  </p:cNvPr>
                  <p:cNvSpPr/>
                  <p:nvPr/>
                </p:nvSpPr>
                <p:spPr>
                  <a:xfrm>
                    <a:off x="409433" y="1835641"/>
                    <a:ext cx="2306471" cy="400332"/>
                  </a:xfrm>
                  <a:prstGeom prst="rect">
                    <a:avLst/>
                  </a:prstGeom>
                  <a:solidFill>
                    <a:srgbClr val="66CCFF"/>
                  </a:solidFill>
                  <a:ln>
                    <a:solidFill>
                      <a:srgbClr val="00B0F0"/>
                    </a:solidFill>
                  </a:ln>
                </p:spPr>
                <p:style>
                  <a:lnRef idx="2">
                    <a:schemeClr val="accent2">
                      <a:shade val="50000"/>
                    </a:schemeClr>
                  </a:lnRef>
                  <a:fillRef idx="1">
                    <a:schemeClr val="accent2"/>
                  </a:fillRef>
                  <a:effectRef idx="0">
                    <a:schemeClr val="accent2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r>
                      <a:rPr lang="fr-FR" sz="900">
                        <a:solidFill>
                          <a:srgbClr val="002060"/>
                        </a:solidFill>
                      </a:rPr>
                      <a:t>Git Repository</a:t>
                    </a:r>
                  </a:p>
                </p:txBody>
              </p:sp>
              <p:sp>
                <p:nvSpPr>
                  <p:cNvPr id="31" name="Rectangle 30">
                    <a:extLst>
                      <a:ext uri="{FF2B5EF4-FFF2-40B4-BE49-F238E27FC236}">
                        <a16:creationId xmlns:a16="http://schemas.microsoft.com/office/drawing/2014/main" id="{20C4A87C-D956-4DA0-BEC0-7933EAE77FE5}"/>
                      </a:ext>
                    </a:extLst>
                  </p:cNvPr>
                  <p:cNvSpPr/>
                  <p:nvPr/>
                </p:nvSpPr>
                <p:spPr>
                  <a:xfrm>
                    <a:off x="1433014" y="3294549"/>
                    <a:ext cx="1282890" cy="459142"/>
                  </a:xfrm>
                  <a:prstGeom prst="rect">
                    <a:avLst/>
                  </a:prstGeom>
                  <a:solidFill>
                    <a:srgbClr val="66CCFF"/>
                  </a:solidFill>
                  <a:ln>
                    <a:solidFill>
                      <a:srgbClr val="00B0F0"/>
                    </a:solidFill>
                  </a:ln>
                </p:spPr>
                <p:style>
                  <a:lnRef idx="2">
                    <a:schemeClr val="accent2">
                      <a:shade val="50000"/>
                    </a:schemeClr>
                  </a:lnRef>
                  <a:fillRef idx="1">
                    <a:schemeClr val="accent2"/>
                  </a:fillRef>
                  <a:effectRef idx="0">
                    <a:schemeClr val="accent2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r>
                      <a:rPr lang="fr-FR" sz="900">
                        <a:solidFill>
                          <a:srgbClr val="002060"/>
                        </a:solidFill>
                      </a:rPr>
                      <a:t>UI Test</a:t>
                    </a:r>
                    <a:br>
                      <a:rPr lang="fr-FR" sz="900">
                        <a:solidFill>
                          <a:srgbClr val="002060"/>
                        </a:solidFill>
                      </a:rPr>
                    </a:br>
                    <a:r>
                      <a:rPr lang="fr-FR" sz="900">
                        <a:solidFill>
                          <a:srgbClr val="002060"/>
                        </a:solidFill>
                      </a:rPr>
                      <a:t>Agent Pool</a:t>
                    </a:r>
                  </a:p>
                </p:txBody>
              </p:sp>
              <p:sp>
                <p:nvSpPr>
                  <p:cNvPr id="32" name="Rectangle 31">
                    <a:extLst>
                      <a:ext uri="{FF2B5EF4-FFF2-40B4-BE49-F238E27FC236}">
                        <a16:creationId xmlns:a16="http://schemas.microsoft.com/office/drawing/2014/main" id="{AEFBFE4A-186D-4B05-ABEE-5171FF0792C2}"/>
                      </a:ext>
                    </a:extLst>
                  </p:cNvPr>
                  <p:cNvSpPr/>
                  <p:nvPr/>
                </p:nvSpPr>
                <p:spPr>
                  <a:xfrm>
                    <a:off x="1433014" y="2573739"/>
                    <a:ext cx="1282890" cy="491240"/>
                  </a:xfrm>
                  <a:prstGeom prst="rect">
                    <a:avLst/>
                  </a:prstGeom>
                  <a:solidFill>
                    <a:srgbClr val="66CCFF"/>
                  </a:solidFill>
                  <a:ln>
                    <a:solidFill>
                      <a:srgbClr val="00B0F0"/>
                    </a:solidFill>
                  </a:ln>
                </p:spPr>
                <p:style>
                  <a:lnRef idx="2">
                    <a:schemeClr val="accent2">
                      <a:shade val="50000"/>
                    </a:schemeClr>
                  </a:lnRef>
                  <a:fillRef idx="1">
                    <a:schemeClr val="accent2"/>
                  </a:fillRef>
                  <a:effectRef idx="0">
                    <a:schemeClr val="accent2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r>
                      <a:rPr lang="fr-FR" sz="900">
                        <a:solidFill>
                          <a:srgbClr val="002060"/>
                        </a:solidFill>
                      </a:rPr>
                      <a:t>API Test</a:t>
                    </a:r>
                    <a:br>
                      <a:rPr lang="fr-FR" sz="900">
                        <a:solidFill>
                          <a:srgbClr val="002060"/>
                        </a:solidFill>
                      </a:rPr>
                    </a:br>
                    <a:r>
                      <a:rPr lang="fr-FR" sz="900">
                        <a:solidFill>
                          <a:srgbClr val="002060"/>
                        </a:solidFill>
                      </a:rPr>
                      <a:t>Agent Pool</a:t>
                    </a:r>
                  </a:p>
                </p:txBody>
              </p:sp>
              <p:sp>
                <p:nvSpPr>
                  <p:cNvPr id="33" name="Rectangle 32">
                    <a:extLst>
                      <a:ext uri="{FF2B5EF4-FFF2-40B4-BE49-F238E27FC236}">
                        <a16:creationId xmlns:a16="http://schemas.microsoft.com/office/drawing/2014/main" id="{89A620E8-F9E1-43AE-A324-30D3097B35E4}"/>
                      </a:ext>
                    </a:extLst>
                  </p:cNvPr>
                  <p:cNvSpPr/>
                  <p:nvPr/>
                </p:nvSpPr>
                <p:spPr>
                  <a:xfrm>
                    <a:off x="409433" y="2573739"/>
                    <a:ext cx="893928" cy="1182251"/>
                  </a:xfrm>
                  <a:prstGeom prst="rect">
                    <a:avLst/>
                  </a:prstGeom>
                  <a:solidFill>
                    <a:srgbClr val="66CCFF"/>
                  </a:solidFill>
                  <a:ln>
                    <a:solidFill>
                      <a:srgbClr val="00B0F0"/>
                    </a:solidFill>
                  </a:ln>
                </p:spPr>
                <p:style>
                  <a:lnRef idx="2">
                    <a:schemeClr val="accent2">
                      <a:shade val="50000"/>
                    </a:schemeClr>
                  </a:lnRef>
                  <a:fillRef idx="1">
                    <a:schemeClr val="accent2"/>
                  </a:fillRef>
                  <a:effectRef idx="0">
                    <a:schemeClr val="accent2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r>
                      <a:rPr lang="fr-FR" sz="900">
                        <a:solidFill>
                          <a:srgbClr val="002060"/>
                        </a:solidFill>
                      </a:rPr>
                      <a:t>CI/CD Pipelines</a:t>
                    </a:r>
                  </a:p>
                </p:txBody>
              </p:sp>
            </p:grpSp>
            <p:cxnSp>
              <p:nvCxnSpPr>
                <p:cNvPr id="25" name="Straight Arrow Connector 87">
                  <a:extLst>
                    <a:ext uri="{FF2B5EF4-FFF2-40B4-BE49-F238E27FC236}">
                      <a16:creationId xmlns:a16="http://schemas.microsoft.com/office/drawing/2014/main" id="{12160831-1668-4A32-89DC-0D1ED4574CF7}"/>
                    </a:ext>
                  </a:extLst>
                </p:cNvPr>
                <p:cNvCxnSpPr>
                  <a:cxnSpLocks/>
                  <a:endCxn id="33" idx="0"/>
                </p:cNvCxnSpPr>
                <p:nvPr/>
              </p:nvCxnSpPr>
              <p:spPr>
                <a:xfrm>
                  <a:off x="1108881" y="4251102"/>
                  <a:ext cx="0" cy="421835"/>
                </a:xfrm>
                <a:prstGeom prst="straightConnector1">
                  <a:avLst/>
                </a:prstGeom>
                <a:ln w="28575">
                  <a:tailEnd type="triangle"/>
                </a:ln>
              </p:spPr>
              <p:style>
                <a:lnRef idx="1">
                  <a:schemeClr val="accent4"/>
                </a:lnRef>
                <a:fillRef idx="0">
                  <a:schemeClr val="accent4"/>
                </a:fillRef>
                <a:effectRef idx="0">
                  <a:schemeClr val="accent4"/>
                </a:effectRef>
                <a:fontRef idx="minor">
                  <a:schemeClr val="tx1"/>
                </a:fontRef>
              </p:style>
            </p:cxnSp>
            <p:cxnSp>
              <p:nvCxnSpPr>
                <p:cNvPr id="26" name="Straight Arrow Connector 91">
                  <a:extLst>
                    <a:ext uri="{FF2B5EF4-FFF2-40B4-BE49-F238E27FC236}">
                      <a16:creationId xmlns:a16="http://schemas.microsoft.com/office/drawing/2014/main" id="{47DB13F2-0638-463C-A6F8-DA9A71CD6FA2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1560716" y="5040586"/>
                  <a:ext cx="136712" cy="7175"/>
                </a:xfrm>
                <a:prstGeom prst="straightConnector1">
                  <a:avLst/>
                </a:prstGeom>
                <a:ln w="28575">
                  <a:tailEnd type="triangle"/>
                </a:ln>
              </p:spPr>
              <p:style>
                <a:lnRef idx="1">
                  <a:schemeClr val="accent4"/>
                </a:lnRef>
                <a:fillRef idx="0">
                  <a:schemeClr val="accent4"/>
                </a:fillRef>
                <a:effectRef idx="0">
                  <a:schemeClr val="accent4"/>
                </a:effectRef>
                <a:fontRef idx="minor">
                  <a:schemeClr val="tx1"/>
                </a:fontRef>
              </p:style>
            </p:cxnSp>
            <p:cxnSp>
              <p:nvCxnSpPr>
                <p:cNvPr id="27" name="Straight Arrow Connector 93">
                  <a:extLst>
                    <a:ext uri="{FF2B5EF4-FFF2-40B4-BE49-F238E27FC236}">
                      <a16:creationId xmlns:a16="http://schemas.microsoft.com/office/drawing/2014/main" id="{F4926B79-FB71-4046-9867-2071F2E6F72B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1553220" y="5856508"/>
                  <a:ext cx="136712" cy="7175"/>
                </a:xfrm>
                <a:prstGeom prst="straightConnector1">
                  <a:avLst/>
                </a:prstGeom>
                <a:ln w="28575">
                  <a:tailEnd type="triangle"/>
                </a:ln>
              </p:spPr>
              <p:style>
                <a:lnRef idx="1">
                  <a:schemeClr val="accent4"/>
                </a:lnRef>
                <a:fillRef idx="0">
                  <a:schemeClr val="accent4"/>
                </a:fillRef>
                <a:effectRef idx="0">
                  <a:schemeClr val="accent4"/>
                </a:effectRef>
                <a:fontRef idx="minor">
                  <a:schemeClr val="tx1"/>
                </a:fontRef>
              </p:style>
            </p:cxnSp>
            <p:cxnSp>
              <p:nvCxnSpPr>
                <p:cNvPr id="28" name="Straight Arrow Connector 94">
                  <a:extLst>
                    <a:ext uri="{FF2B5EF4-FFF2-40B4-BE49-F238E27FC236}">
                      <a16:creationId xmlns:a16="http://schemas.microsoft.com/office/drawing/2014/main" id="{35AA72E8-AA1B-420D-9A7F-FF0650936282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1943187" y="3029169"/>
                  <a:ext cx="0" cy="721958"/>
                </a:xfrm>
                <a:prstGeom prst="straightConnector1">
                  <a:avLst/>
                </a:prstGeom>
                <a:ln w="28575">
                  <a:tailEnd type="triangle"/>
                </a:ln>
              </p:spPr>
              <p:style>
                <a:lnRef idx="1">
                  <a:schemeClr val="accent4"/>
                </a:lnRef>
                <a:fillRef idx="0">
                  <a:schemeClr val="accent4"/>
                </a:fillRef>
                <a:effectRef idx="0">
                  <a:schemeClr val="accent4"/>
                </a:effectRef>
                <a:fontRef idx="minor">
                  <a:schemeClr val="tx1"/>
                </a:fontRef>
              </p:style>
            </p:cxnSp>
          </p:grpSp>
          <p:cxnSp>
            <p:nvCxnSpPr>
              <p:cNvPr id="34" name="Connector: Elbow 105">
                <a:extLst>
                  <a:ext uri="{FF2B5EF4-FFF2-40B4-BE49-F238E27FC236}">
                    <a16:creationId xmlns:a16="http://schemas.microsoft.com/office/drawing/2014/main" id="{57A616D7-75F2-4E17-ADDE-1A33682019EC}"/>
                  </a:ext>
                </a:extLst>
              </p:cNvPr>
              <p:cNvCxnSpPr>
                <a:cxnSpLocks/>
                <a:stCxn id="37" idx="3"/>
                <a:endCxn id="17" idx="1"/>
              </p:cNvCxnSpPr>
              <p:nvPr/>
            </p:nvCxnSpPr>
            <p:spPr>
              <a:xfrm flipV="1">
                <a:off x="9368887" y="2607078"/>
                <a:ext cx="681807" cy="1395610"/>
              </a:xfrm>
              <a:prstGeom prst="bentConnector3">
                <a:avLst>
                  <a:gd name="adj1" fmla="val 50000"/>
                </a:avLst>
              </a:prstGeom>
              <a:ln w="28575">
                <a:tailEnd type="triangle"/>
              </a:ln>
            </p:spPr>
            <p:style>
              <a:lnRef idx="1">
                <a:schemeClr val="accent4"/>
              </a:lnRef>
              <a:fillRef idx="0">
                <a:schemeClr val="accent4"/>
              </a:fillRef>
              <a:effectRef idx="0">
                <a:schemeClr val="accent4"/>
              </a:effectRef>
              <a:fontRef idx="minor">
                <a:schemeClr val="tx1"/>
              </a:fontRef>
            </p:style>
          </p:cxnSp>
          <p:grpSp>
            <p:nvGrpSpPr>
              <p:cNvPr id="36" name="Groupe 35">
                <a:extLst>
                  <a:ext uri="{FF2B5EF4-FFF2-40B4-BE49-F238E27FC236}">
                    <a16:creationId xmlns:a16="http://schemas.microsoft.com/office/drawing/2014/main" id="{E66955E4-E69A-4948-8083-B523E56DB74C}"/>
                  </a:ext>
                </a:extLst>
              </p:cNvPr>
              <p:cNvGrpSpPr/>
              <p:nvPr/>
            </p:nvGrpSpPr>
            <p:grpSpPr>
              <a:xfrm>
                <a:off x="3626992" y="3436863"/>
                <a:ext cx="5741895" cy="1131650"/>
                <a:chOff x="3879476" y="3613230"/>
                <a:chExt cx="5741895" cy="1131650"/>
              </a:xfrm>
            </p:grpSpPr>
            <p:sp>
              <p:nvSpPr>
                <p:cNvPr id="37" name="Rectangle 36">
                  <a:extLst>
                    <a:ext uri="{FF2B5EF4-FFF2-40B4-BE49-F238E27FC236}">
                      <a16:creationId xmlns:a16="http://schemas.microsoft.com/office/drawing/2014/main" id="{8D4144AF-BB1C-4F50-B088-3D6E47573A27}"/>
                    </a:ext>
                  </a:extLst>
                </p:cNvPr>
                <p:cNvSpPr/>
                <p:nvPr/>
              </p:nvSpPr>
              <p:spPr>
                <a:xfrm>
                  <a:off x="3879476" y="3613230"/>
                  <a:ext cx="5741895" cy="1131650"/>
                </a:xfrm>
                <a:prstGeom prst="rect">
                  <a:avLst/>
                </a:prstGeom>
                <a:solidFill>
                  <a:srgbClr val="0070C0"/>
                </a:solidFill>
                <a:ln>
                  <a:solidFill>
                    <a:srgbClr val="0070C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fr-FR" sz="1200"/>
                </a:p>
              </p:txBody>
            </p:sp>
            <p:sp>
              <p:nvSpPr>
                <p:cNvPr id="38" name="Lightning Bolt 114">
                  <a:extLst>
                    <a:ext uri="{FF2B5EF4-FFF2-40B4-BE49-F238E27FC236}">
                      <a16:creationId xmlns:a16="http://schemas.microsoft.com/office/drawing/2014/main" id="{0E74270C-6928-47BC-9B21-D0841E204264}"/>
                    </a:ext>
                  </a:extLst>
                </p:cNvPr>
                <p:cNvSpPr/>
                <p:nvPr/>
              </p:nvSpPr>
              <p:spPr>
                <a:xfrm rot="19654483" flipH="1">
                  <a:off x="8025825" y="3888143"/>
                  <a:ext cx="509817" cy="529424"/>
                </a:xfrm>
                <a:prstGeom prst="lightningBolt">
                  <a:avLst/>
                </a:prstGeom>
                <a:solidFill>
                  <a:srgbClr val="FFFF00"/>
                </a:solidFill>
                <a:ln>
                  <a:solidFill>
                    <a:srgbClr val="FFC0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fr-FR" sz="1200"/>
                </a:p>
              </p:txBody>
            </p:sp>
            <p:grpSp>
              <p:nvGrpSpPr>
                <p:cNvPr id="39" name="Group 20">
                  <a:extLst>
                    <a:ext uri="{FF2B5EF4-FFF2-40B4-BE49-F238E27FC236}">
                      <a16:creationId xmlns:a16="http://schemas.microsoft.com/office/drawing/2014/main" id="{BD454907-B780-46A7-BC4B-14EB41F71B09}"/>
                    </a:ext>
                  </a:extLst>
                </p:cNvPr>
                <p:cNvGrpSpPr/>
                <p:nvPr/>
              </p:nvGrpSpPr>
              <p:grpSpPr>
                <a:xfrm>
                  <a:off x="4060924" y="3872671"/>
                  <a:ext cx="962230" cy="855872"/>
                  <a:chOff x="4060924" y="3872671"/>
                  <a:chExt cx="962230" cy="855872"/>
                </a:xfrm>
              </p:grpSpPr>
              <p:grpSp>
                <p:nvGrpSpPr>
                  <p:cNvPr id="69" name="Group 40">
                    <a:extLst>
                      <a:ext uri="{FF2B5EF4-FFF2-40B4-BE49-F238E27FC236}">
                        <a16:creationId xmlns:a16="http://schemas.microsoft.com/office/drawing/2014/main" id="{6BE1EA52-6837-497A-BAB0-2E74A00FE7FF}"/>
                      </a:ext>
                    </a:extLst>
                  </p:cNvPr>
                  <p:cNvGrpSpPr/>
                  <p:nvPr/>
                </p:nvGrpSpPr>
                <p:grpSpPr>
                  <a:xfrm>
                    <a:off x="4060924" y="3872671"/>
                    <a:ext cx="962230" cy="855872"/>
                    <a:chOff x="3879476" y="3853737"/>
                    <a:chExt cx="962230" cy="855872"/>
                  </a:xfrm>
                </p:grpSpPr>
                <p:pic>
                  <p:nvPicPr>
                    <p:cNvPr id="73" name="Picture 15" descr="Icon&#10;&#10;Description automatically generated">
                      <a:extLst>
                        <a:ext uri="{FF2B5EF4-FFF2-40B4-BE49-F238E27FC236}">
                          <a16:creationId xmlns:a16="http://schemas.microsoft.com/office/drawing/2014/main" id="{694185C0-6AF2-416C-AFBB-A15C74FD1E58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9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4039737" y="3853737"/>
                      <a:ext cx="592125" cy="546512"/>
                    </a:xfrm>
                    <a:prstGeom prst="rect">
                      <a:avLst/>
                    </a:prstGeom>
                  </p:spPr>
                </p:pic>
                <p:sp>
                  <p:nvSpPr>
                    <p:cNvPr id="74" name="TextBox 14">
                      <a:extLst>
                        <a:ext uri="{FF2B5EF4-FFF2-40B4-BE49-F238E27FC236}">
                          <a16:creationId xmlns:a16="http://schemas.microsoft.com/office/drawing/2014/main" id="{52BAB6EC-8010-407F-9938-F77C25EB9EDB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3879476" y="4424829"/>
                      <a:ext cx="962230" cy="284780"/>
                    </a:xfrm>
                    <a:prstGeom prst="rect">
                      <a:avLst/>
                    </a:prstGeom>
                    <a:noFill/>
                  </p:spPr>
                  <p:txBody>
                    <a:bodyPr wrap="none" rtlCol="0">
                      <a:spAutoFit/>
                    </a:bodyPr>
                    <a:lstStyle/>
                    <a:p>
                      <a:r>
                        <a:rPr lang="fr-FR" sz="788">
                          <a:solidFill>
                            <a:schemeClr val="bg1"/>
                          </a:solidFill>
                        </a:rPr>
                        <a:t>VM Test IHM</a:t>
                      </a:r>
                    </a:p>
                  </p:txBody>
                </p:sp>
              </p:grpSp>
              <p:grpSp>
                <p:nvGrpSpPr>
                  <p:cNvPr id="70" name="Group 18">
                    <a:extLst>
                      <a:ext uri="{FF2B5EF4-FFF2-40B4-BE49-F238E27FC236}">
                        <a16:creationId xmlns:a16="http://schemas.microsoft.com/office/drawing/2014/main" id="{ED21B8AE-70F6-41AD-A493-FC22F6B63504}"/>
                      </a:ext>
                    </a:extLst>
                  </p:cNvPr>
                  <p:cNvGrpSpPr/>
                  <p:nvPr/>
                </p:nvGrpSpPr>
                <p:grpSpPr>
                  <a:xfrm>
                    <a:off x="4358640" y="3931525"/>
                    <a:ext cx="298183" cy="296064"/>
                    <a:chOff x="4358640" y="3931525"/>
                    <a:chExt cx="298183" cy="296064"/>
                  </a:xfrm>
                </p:grpSpPr>
                <p:sp>
                  <p:nvSpPr>
                    <p:cNvPr id="71" name="Rectangle 70">
                      <a:extLst>
                        <a:ext uri="{FF2B5EF4-FFF2-40B4-BE49-F238E27FC236}">
                          <a16:creationId xmlns:a16="http://schemas.microsoft.com/office/drawing/2014/main" id="{23B83952-8B90-4F0D-A850-D83B964E4C4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4358640" y="3931920"/>
                      <a:ext cx="294386" cy="295275"/>
                    </a:xfrm>
                    <a:prstGeom prst="rect">
                      <a:avLst/>
                    </a:prstGeom>
                    <a:solidFill>
                      <a:srgbClr val="59B4D9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fr-FR" sz="1200"/>
                    </a:p>
                  </p:txBody>
                </p:sp>
                <p:pic>
                  <p:nvPicPr>
                    <p:cNvPr id="72" name="Picture 104" descr="Icon&#10;&#10;Description automatically generated">
                      <a:extLst>
                        <a:ext uri="{FF2B5EF4-FFF2-40B4-BE49-F238E27FC236}">
                          <a16:creationId xmlns:a16="http://schemas.microsoft.com/office/drawing/2014/main" id="{1D6F49CF-5A50-4E1E-9C84-76DBD36254A8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2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4360759" y="3931525"/>
                      <a:ext cx="296064" cy="296064"/>
                    </a:xfrm>
                    <a:prstGeom prst="rect">
                      <a:avLst/>
                    </a:prstGeom>
                  </p:spPr>
                </p:pic>
              </p:grpSp>
            </p:grpSp>
            <p:grpSp>
              <p:nvGrpSpPr>
                <p:cNvPr id="40" name="Group 109">
                  <a:extLst>
                    <a:ext uri="{FF2B5EF4-FFF2-40B4-BE49-F238E27FC236}">
                      <a16:creationId xmlns:a16="http://schemas.microsoft.com/office/drawing/2014/main" id="{CB82EEB6-2444-4CA2-BF59-65DCE542FDA3}"/>
                    </a:ext>
                  </a:extLst>
                </p:cNvPr>
                <p:cNvGrpSpPr/>
                <p:nvPr/>
              </p:nvGrpSpPr>
              <p:grpSpPr>
                <a:xfrm>
                  <a:off x="4977948" y="3872671"/>
                  <a:ext cx="962230" cy="855872"/>
                  <a:chOff x="4060924" y="3872671"/>
                  <a:chExt cx="962230" cy="855872"/>
                </a:xfrm>
              </p:grpSpPr>
              <p:grpSp>
                <p:nvGrpSpPr>
                  <p:cNvPr id="63" name="Group 110">
                    <a:extLst>
                      <a:ext uri="{FF2B5EF4-FFF2-40B4-BE49-F238E27FC236}">
                        <a16:creationId xmlns:a16="http://schemas.microsoft.com/office/drawing/2014/main" id="{0EC0076D-7CD7-48BC-88C7-B6950D5004A7}"/>
                      </a:ext>
                    </a:extLst>
                  </p:cNvPr>
                  <p:cNvGrpSpPr/>
                  <p:nvPr/>
                </p:nvGrpSpPr>
                <p:grpSpPr>
                  <a:xfrm>
                    <a:off x="4060924" y="3872671"/>
                    <a:ext cx="962230" cy="855872"/>
                    <a:chOff x="3879476" y="3853737"/>
                    <a:chExt cx="962230" cy="855872"/>
                  </a:xfrm>
                </p:grpSpPr>
                <p:pic>
                  <p:nvPicPr>
                    <p:cNvPr id="67" name="Picture 115" descr="Icon&#10;&#10;Description automatically generated">
                      <a:extLst>
                        <a:ext uri="{FF2B5EF4-FFF2-40B4-BE49-F238E27FC236}">
                          <a16:creationId xmlns:a16="http://schemas.microsoft.com/office/drawing/2014/main" id="{2DA0CFD9-DAD5-45EB-9D69-C03AC71CE901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9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4039737" y="3853737"/>
                      <a:ext cx="592125" cy="546512"/>
                    </a:xfrm>
                    <a:prstGeom prst="rect">
                      <a:avLst/>
                    </a:prstGeom>
                  </p:spPr>
                </p:pic>
                <p:sp>
                  <p:nvSpPr>
                    <p:cNvPr id="68" name="TextBox 116">
                      <a:extLst>
                        <a:ext uri="{FF2B5EF4-FFF2-40B4-BE49-F238E27FC236}">
                          <a16:creationId xmlns:a16="http://schemas.microsoft.com/office/drawing/2014/main" id="{BA1D400F-1606-4686-8AA5-ACC7C74ABA39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3879476" y="4424829"/>
                      <a:ext cx="962230" cy="284780"/>
                    </a:xfrm>
                    <a:prstGeom prst="rect">
                      <a:avLst/>
                    </a:prstGeom>
                    <a:noFill/>
                  </p:spPr>
                  <p:txBody>
                    <a:bodyPr wrap="none" rtlCol="0">
                      <a:spAutoFit/>
                    </a:bodyPr>
                    <a:lstStyle/>
                    <a:p>
                      <a:r>
                        <a:rPr lang="fr-FR" sz="788">
                          <a:solidFill>
                            <a:schemeClr val="bg1"/>
                          </a:solidFill>
                        </a:rPr>
                        <a:t>VM Test IHM</a:t>
                      </a:r>
                    </a:p>
                  </p:txBody>
                </p:sp>
              </p:grpSp>
              <p:grpSp>
                <p:nvGrpSpPr>
                  <p:cNvPr id="64" name="Group 111">
                    <a:extLst>
                      <a:ext uri="{FF2B5EF4-FFF2-40B4-BE49-F238E27FC236}">
                        <a16:creationId xmlns:a16="http://schemas.microsoft.com/office/drawing/2014/main" id="{8A47244D-6F61-4E1B-B3A0-D7BC1590ED81}"/>
                      </a:ext>
                    </a:extLst>
                  </p:cNvPr>
                  <p:cNvGrpSpPr/>
                  <p:nvPr/>
                </p:nvGrpSpPr>
                <p:grpSpPr>
                  <a:xfrm>
                    <a:off x="4358640" y="3931525"/>
                    <a:ext cx="298183" cy="296064"/>
                    <a:chOff x="4358640" y="3931525"/>
                    <a:chExt cx="298183" cy="296064"/>
                  </a:xfrm>
                </p:grpSpPr>
                <p:sp>
                  <p:nvSpPr>
                    <p:cNvPr id="65" name="Rectangle 64">
                      <a:extLst>
                        <a:ext uri="{FF2B5EF4-FFF2-40B4-BE49-F238E27FC236}">
                          <a16:creationId xmlns:a16="http://schemas.microsoft.com/office/drawing/2014/main" id="{1E999489-AA5B-4F4B-ADE9-D6A54F650C9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4358640" y="3931920"/>
                      <a:ext cx="294386" cy="295275"/>
                    </a:xfrm>
                    <a:prstGeom prst="rect">
                      <a:avLst/>
                    </a:prstGeom>
                    <a:solidFill>
                      <a:srgbClr val="59B4D9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fr-FR" sz="1200"/>
                    </a:p>
                  </p:txBody>
                </p:sp>
                <p:pic>
                  <p:nvPicPr>
                    <p:cNvPr id="66" name="Picture 113" descr="Icon&#10;&#10;Description automatically generated">
                      <a:extLst>
                        <a:ext uri="{FF2B5EF4-FFF2-40B4-BE49-F238E27FC236}">
                          <a16:creationId xmlns:a16="http://schemas.microsoft.com/office/drawing/2014/main" id="{CCB5995D-4979-44D0-BE9C-6CB1526F4573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2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4360759" y="3931525"/>
                      <a:ext cx="296064" cy="296064"/>
                    </a:xfrm>
                    <a:prstGeom prst="rect">
                      <a:avLst/>
                    </a:prstGeom>
                  </p:spPr>
                </p:pic>
              </p:grpSp>
            </p:grpSp>
            <p:grpSp>
              <p:nvGrpSpPr>
                <p:cNvPr id="41" name="Group 117">
                  <a:extLst>
                    <a:ext uri="{FF2B5EF4-FFF2-40B4-BE49-F238E27FC236}">
                      <a16:creationId xmlns:a16="http://schemas.microsoft.com/office/drawing/2014/main" id="{2CBA1F34-C329-49A8-8D2C-1848F7422ADA}"/>
                    </a:ext>
                  </a:extLst>
                </p:cNvPr>
                <p:cNvGrpSpPr/>
                <p:nvPr/>
              </p:nvGrpSpPr>
              <p:grpSpPr>
                <a:xfrm>
                  <a:off x="5894972" y="3871135"/>
                  <a:ext cx="962230" cy="855872"/>
                  <a:chOff x="4060924" y="3872671"/>
                  <a:chExt cx="962230" cy="855872"/>
                </a:xfrm>
              </p:grpSpPr>
              <p:grpSp>
                <p:nvGrpSpPr>
                  <p:cNvPr id="57" name="Group 119">
                    <a:extLst>
                      <a:ext uri="{FF2B5EF4-FFF2-40B4-BE49-F238E27FC236}">
                        <a16:creationId xmlns:a16="http://schemas.microsoft.com/office/drawing/2014/main" id="{85FA91B8-A387-40C6-9EB5-E9CFA8F48D2C}"/>
                      </a:ext>
                    </a:extLst>
                  </p:cNvPr>
                  <p:cNvGrpSpPr/>
                  <p:nvPr/>
                </p:nvGrpSpPr>
                <p:grpSpPr>
                  <a:xfrm>
                    <a:off x="4060924" y="3872671"/>
                    <a:ext cx="962230" cy="855872"/>
                    <a:chOff x="3879476" y="3853737"/>
                    <a:chExt cx="962230" cy="855872"/>
                  </a:xfrm>
                </p:grpSpPr>
                <p:pic>
                  <p:nvPicPr>
                    <p:cNvPr id="61" name="Picture 123" descr="Icon&#10;&#10;Description automatically generated">
                      <a:extLst>
                        <a:ext uri="{FF2B5EF4-FFF2-40B4-BE49-F238E27FC236}">
                          <a16:creationId xmlns:a16="http://schemas.microsoft.com/office/drawing/2014/main" id="{C9523093-15F3-4F7B-88F2-4F0F81653198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9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4039737" y="3853737"/>
                      <a:ext cx="592125" cy="546512"/>
                    </a:xfrm>
                    <a:prstGeom prst="rect">
                      <a:avLst/>
                    </a:prstGeom>
                  </p:spPr>
                </p:pic>
                <p:sp>
                  <p:nvSpPr>
                    <p:cNvPr id="62" name="TextBox 124">
                      <a:extLst>
                        <a:ext uri="{FF2B5EF4-FFF2-40B4-BE49-F238E27FC236}">
                          <a16:creationId xmlns:a16="http://schemas.microsoft.com/office/drawing/2014/main" id="{FF48481E-11D3-4044-8D50-E0E4D27D4012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3879476" y="4424829"/>
                      <a:ext cx="962230" cy="284780"/>
                    </a:xfrm>
                    <a:prstGeom prst="rect">
                      <a:avLst/>
                    </a:prstGeom>
                    <a:noFill/>
                  </p:spPr>
                  <p:txBody>
                    <a:bodyPr wrap="none" rtlCol="0">
                      <a:spAutoFit/>
                    </a:bodyPr>
                    <a:lstStyle/>
                    <a:p>
                      <a:r>
                        <a:rPr lang="fr-FR" sz="788">
                          <a:solidFill>
                            <a:schemeClr val="bg1"/>
                          </a:solidFill>
                        </a:rPr>
                        <a:t>VM Test IHM</a:t>
                      </a:r>
                    </a:p>
                  </p:txBody>
                </p:sp>
              </p:grpSp>
              <p:grpSp>
                <p:nvGrpSpPr>
                  <p:cNvPr id="58" name="Group 120">
                    <a:extLst>
                      <a:ext uri="{FF2B5EF4-FFF2-40B4-BE49-F238E27FC236}">
                        <a16:creationId xmlns:a16="http://schemas.microsoft.com/office/drawing/2014/main" id="{2AA0EC6E-0153-45BA-B721-8F26468691D1}"/>
                      </a:ext>
                    </a:extLst>
                  </p:cNvPr>
                  <p:cNvGrpSpPr/>
                  <p:nvPr/>
                </p:nvGrpSpPr>
                <p:grpSpPr>
                  <a:xfrm>
                    <a:off x="4358640" y="3931525"/>
                    <a:ext cx="298183" cy="296064"/>
                    <a:chOff x="4358640" y="3931525"/>
                    <a:chExt cx="298183" cy="296064"/>
                  </a:xfrm>
                </p:grpSpPr>
                <p:sp>
                  <p:nvSpPr>
                    <p:cNvPr id="59" name="Rectangle 58">
                      <a:extLst>
                        <a:ext uri="{FF2B5EF4-FFF2-40B4-BE49-F238E27FC236}">
                          <a16:creationId xmlns:a16="http://schemas.microsoft.com/office/drawing/2014/main" id="{417D60B8-D43B-4051-8EE5-207331180AA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4358640" y="3931920"/>
                      <a:ext cx="294386" cy="295275"/>
                    </a:xfrm>
                    <a:prstGeom prst="rect">
                      <a:avLst/>
                    </a:prstGeom>
                    <a:solidFill>
                      <a:srgbClr val="59B4D9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fr-FR" sz="1200"/>
                    </a:p>
                  </p:txBody>
                </p:sp>
                <p:pic>
                  <p:nvPicPr>
                    <p:cNvPr id="60" name="Picture 122" descr="Icon&#10;&#10;Description automatically generated">
                      <a:extLst>
                        <a:ext uri="{FF2B5EF4-FFF2-40B4-BE49-F238E27FC236}">
                          <a16:creationId xmlns:a16="http://schemas.microsoft.com/office/drawing/2014/main" id="{FB54C039-A508-4082-8CC7-EF136E555232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2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4360759" y="3931525"/>
                      <a:ext cx="296064" cy="296064"/>
                    </a:xfrm>
                    <a:prstGeom prst="rect">
                      <a:avLst/>
                    </a:prstGeom>
                  </p:spPr>
                </p:pic>
              </p:grpSp>
            </p:grpSp>
            <p:grpSp>
              <p:nvGrpSpPr>
                <p:cNvPr id="42" name="Group 126">
                  <a:extLst>
                    <a:ext uri="{FF2B5EF4-FFF2-40B4-BE49-F238E27FC236}">
                      <a16:creationId xmlns:a16="http://schemas.microsoft.com/office/drawing/2014/main" id="{7A1DC665-0CF6-4A30-AE1C-00D7C922A304}"/>
                    </a:ext>
                  </a:extLst>
                </p:cNvPr>
                <p:cNvGrpSpPr/>
                <p:nvPr/>
              </p:nvGrpSpPr>
              <p:grpSpPr>
                <a:xfrm>
                  <a:off x="8516138" y="3871684"/>
                  <a:ext cx="962230" cy="855872"/>
                  <a:chOff x="4060924" y="3872671"/>
                  <a:chExt cx="962230" cy="855872"/>
                </a:xfrm>
              </p:grpSpPr>
              <p:grpSp>
                <p:nvGrpSpPr>
                  <p:cNvPr id="51" name="Group 127">
                    <a:extLst>
                      <a:ext uri="{FF2B5EF4-FFF2-40B4-BE49-F238E27FC236}">
                        <a16:creationId xmlns:a16="http://schemas.microsoft.com/office/drawing/2014/main" id="{0D1349A1-0F64-435C-8072-34C58D4BFE27}"/>
                      </a:ext>
                    </a:extLst>
                  </p:cNvPr>
                  <p:cNvGrpSpPr/>
                  <p:nvPr/>
                </p:nvGrpSpPr>
                <p:grpSpPr>
                  <a:xfrm>
                    <a:off x="4060924" y="3872671"/>
                    <a:ext cx="962230" cy="855872"/>
                    <a:chOff x="3879476" y="3853737"/>
                    <a:chExt cx="962230" cy="855872"/>
                  </a:xfrm>
                </p:grpSpPr>
                <p:pic>
                  <p:nvPicPr>
                    <p:cNvPr id="55" name="Picture 132" descr="Icon&#10;&#10;Description automatically generated">
                      <a:extLst>
                        <a:ext uri="{FF2B5EF4-FFF2-40B4-BE49-F238E27FC236}">
                          <a16:creationId xmlns:a16="http://schemas.microsoft.com/office/drawing/2014/main" id="{319914AE-82A0-4134-8D72-815F5EA00945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9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4039737" y="3853737"/>
                      <a:ext cx="592125" cy="546512"/>
                    </a:xfrm>
                    <a:prstGeom prst="rect">
                      <a:avLst/>
                    </a:prstGeom>
                  </p:spPr>
                </p:pic>
                <p:sp>
                  <p:nvSpPr>
                    <p:cNvPr id="56" name="TextBox 133">
                      <a:extLst>
                        <a:ext uri="{FF2B5EF4-FFF2-40B4-BE49-F238E27FC236}">
                          <a16:creationId xmlns:a16="http://schemas.microsoft.com/office/drawing/2014/main" id="{9BAAE4F8-47E7-4C3A-84F8-591253867CF0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3879476" y="4424829"/>
                      <a:ext cx="962230" cy="284780"/>
                    </a:xfrm>
                    <a:prstGeom prst="rect">
                      <a:avLst/>
                    </a:prstGeom>
                    <a:noFill/>
                  </p:spPr>
                  <p:txBody>
                    <a:bodyPr wrap="none" rtlCol="0">
                      <a:spAutoFit/>
                    </a:bodyPr>
                    <a:lstStyle/>
                    <a:p>
                      <a:r>
                        <a:rPr lang="fr-FR" sz="788">
                          <a:solidFill>
                            <a:schemeClr val="bg1"/>
                          </a:solidFill>
                        </a:rPr>
                        <a:t>VM Test IHM</a:t>
                      </a:r>
                    </a:p>
                  </p:txBody>
                </p:sp>
              </p:grpSp>
              <p:grpSp>
                <p:nvGrpSpPr>
                  <p:cNvPr id="52" name="Group 128">
                    <a:extLst>
                      <a:ext uri="{FF2B5EF4-FFF2-40B4-BE49-F238E27FC236}">
                        <a16:creationId xmlns:a16="http://schemas.microsoft.com/office/drawing/2014/main" id="{95DC0886-EB82-4C4C-BE71-18A279C96216}"/>
                      </a:ext>
                    </a:extLst>
                  </p:cNvPr>
                  <p:cNvGrpSpPr/>
                  <p:nvPr/>
                </p:nvGrpSpPr>
                <p:grpSpPr>
                  <a:xfrm>
                    <a:off x="4358640" y="3931525"/>
                    <a:ext cx="298183" cy="296064"/>
                    <a:chOff x="4358640" y="3931525"/>
                    <a:chExt cx="298183" cy="296064"/>
                  </a:xfrm>
                </p:grpSpPr>
                <p:sp>
                  <p:nvSpPr>
                    <p:cNvPr id="53" name="Rectangle 52">
                      <a:extLst>
                        <a:ext uri="{FF2B5EF4-FFF2-40B4-BE49-F238E27FC236}">
                          <a16:creationId xmlns:a16="http://schemas.microsoft.com/office/drawing/2014/main" id="{407B2449-C836-4897-A654-86DE0B4C170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4358640" y="3931920"/>
                      <a:ext cx="294386" cy="295275"/>
                    </a:xfrm>
                    <a:prstGeom prst="rect">
                      <a:avLst/>
                    </a:prstGeom>
                    <a:solidFill>
                      <a:srgbClr val="59B4D9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fr-FR" sz="1200"/>
                    </a:p>
                  </p:txBody>
                </p:sp>
                <p:pic>
                  <p:nvPicPr>
                    <p:cNvPr id="54" name="Picture 131" descr="Icon&#10;&#10;Description automatically generated">
                      <a:extLst>
                        <a:ext uri="{FF2B5EF4-FFF2-40B4-BE49-F238E27FC236}">
                          <a16:creationId xmlns:a16="http://schemas.microsoft.com/office/drawing/2014/main" id="{E98B6265-101B-4ADC-B9B2-9F194DB7B557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2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4360759" y="3931525"/>
                      <a:ext cx="296064" cy="296064"/>
                    </a:xfrm>
                    <a:prstGeom prst="rect">
                      <a:avLst/>
                    </a:prstGeom>
                  </p:spPr>
                </p:pic>
              </p:grpSp>
            </p:grpSp>
            <p:grpSp>
              <p:nvGrpSpPr>
                <p:cNvPr id="43" name="Group 134">
                  <a:extLst>
                    <a:ext uri="{FF2B5EF4-FFF2-40B4-BE49-F238E27FC236}">
                      <a16:creationId xmlns:a16="http://schemas.microsoft.com/office/drawing/2014/main" id="{81116B39-D1DA-4D5A-A6B6-D313D73EF7FA}"/>
                    </a:ext>
                  </a:extLst>
                </p:cNvPr>
                <p:cNvGrpSpPr/>
                <p:nvPr/>
              </p:nvGrpSpPr>
              <p:grpSpPr>
                <a:xfrm>
                  <a:off x="6811995" y="3870344"/>
                  <a:ext cx="962230" cy="855872"/>
                  <a:chOff x="4060924" y="3872671"/>
                  <a:chExt cx="962230" cy="855872"/>
                </a:xfrm>
              </p:grpSpPr>
              <p:grpSp>
                <p:nvGrpSpPr>
                  <p:cNvPr id="45" name="Group 135">
                    <a:extLst>
                      <a:ext uri="{FF2B5EF4-FFF2-40B4-BE49-F238E27FC236}">
                        <a16:creationId xmlns:a16="http://schemas.microsoft.com/office/drawing/2014/main" id="{8028D5DD-2494-42C2-BA83-8C6E8680CEAA}"/>
                      </a:ext>
                    </a:extLst>
                  </p:cNvPr>
                  <p:cNvGrpSpPr/>
                  <p:nvPr/>
                </p:nvGrpSpPr>
                <p:grpSpPr>
                  <a:xfrm>
                    <a:off x="4060924" y="3872671"/>
                    <a:ext cx="962230" cy="855872"/>
                    <a:chOff x="3879476" y="3853737"/>
                    <a:chExt cx="962230" cy="855872"/>
                  </a:xfrm>
                </p:grpSpPr>
                <p:pic>
                  <p:nvPicPr>
                    <p:cNvPr id="49" name="Picture 139" descr="Icon&#10;&#10;Description automatically generated">
                      <a:extLst>
                        <a:ext uri="{FF2B5EF4-FFF2-40B4-BE49-F238E27FC236}">
                          <a16:creationId xmlns:a16="http://schemas.microsoft.com/office/drawing/2014/main" id="{B1DE8305-4B91-4701-BE06-2B129EB16154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9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4039737" y="3853737"/>
                      <a:ext cx="592125" cy="546512"/>
                    </a:xfrm>
                    <a:prstGeom prst="rect">
                      <a:avLst/>
                    </a:prstGeom>
                  </p:spPr>
                </p:pic>
                <p:sp>
                  <p:nvSpPr>
                    <p:cNvPr id="50" name="TextBox 140">
                      <a:extLst>
                        <a:ext uri="{FF2B5EF4-FFF2-40B4-BE49-F238E27FC236}">
                          <a16:creationId xmlns:a16="http://schemas.microsoft.com/office/drawing/2014/main" id="{9B4EA88B-23C0-44F1-9577-D56DC86B239C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3879476" y="4424829"/>
                      <a:ext cx="962230" cy="284780"/>
                    </a:xfrm>
                    <a:prstGeom prst="rect">
                      <a:avLst/>
                    </a:prstGeom>
                    <a:noFill/>
                  </p:spPr>
                  <p:txBody>
                    <a:bodyPr wrap="none" rtlCol="0">
                      <a:spAutoFit/>
                    </a:bodyPr>
                    <a:lstStyle/>
                    <a:p>
                      <a:r>
                        <a:rPr lang="fr-FR" sz="788">
                          <a:solidFill>
                            <a:schemeClr val="bg1"/>
                          </a:solidFill>
                        </a:rPr>
                        <a:t>VM Test IHM</a:t>
                      </a:r>
                    </a:p>
                  </p:txBody>
                </p:sp>
              </p:grpSp>
              <p:grpSp>
                <p:nvGrpSpPr>
                  <p:cNvPr id="46" name="Group 136">
                    <a:extLst>
                      <a:ext uri="{FF2B5EF4-FFF2-40B4-BE49-F238E27FC236}">
                        <a16:creationId xmlns:a16="http://schemas.microsoft.com/office/drawing/2014/main" id="{6230A6F8-818A-4F8F-ADCA-D2D0DCCA3B79}"/>
                      </a:ext>
                    </a:extLst>
                  </p:cNvPr>
                  <p:cNvGrpSpPr/>
                  <p:nvPr/>
                </p:nvGrpSpPr>
                <p:grpSpPr>
                  <a:xfrm>
                    <a:off x="4358640" y="3931525"/>
                    <a:ext cx="298183" cy="296064"/>
                    <a:chOff x="4358640" y="3931525"/>
                    <a:chExt cx="298183" cy="296064"/>
                  </a:xfrm>
                </p:grpSpPr>
                <p:sp>
                  <p:nvSpPr>
                    <p:cNvPr id="47" name="Rectangle 46">
                      <a:extLst>
                        <a:ext uri="{FF2B5EF4-FFF2-40B4-BE49-F238E27FC236}">
                          <a16:creationId xmlns:a16="http://schemas.microsoft.com/office/drawing/2014/main" id="{1E8F8DAA-33F2-4D24-BBB5-1E4D514B638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4358640" y="3931920"/>
                      <a:ext cx="294386" cy="295275"/>
                    </a:xfrm>
                    <a:prstGeom prst="rect">
                      <a:avLst/>
                    </a:prstGeom>
                    <a:solidFill>
                      <a:srgbClr val="59B4D9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fr-FR" sz="1200"/>
                    </a:p>
                  </p:txBody>
                </p:sp>
                <p:pic>
                  <p:nvPicPr>
                    <p:cNvPr id="48" name="Picture 138" descr="Icon&#10;&#10;Description automatically generated">
                      <a:extLst>
                        <a:ext uri="{FF2B5EF4-FFF2-40B4-BE49-F238E27FC236}">
                          <a16:creationId xmlns:a16="http://schemas.microsoft.com/office/drawing/2014/main" id="{59F382EA-AD1C-4153-9B42-04872CB394C9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2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4360759" y="3931525"/>
                      <a:ext cx="296064" cy="296064"/>
                    </a:xfrm>
                    <a:prstGeom prst="rect">
                      <a:avLst/>
                    </a:prstGeom>
                  </p:spPr>
                </p:pic>
              </p:grpSp>
            </p:grpSp>
          </p:grpSp>
          <p:grpSp>
            <p:nvGrpSpPr>
              <p:cNvPr id="76" name="Groupe 75">
                <a:extLst>
                  <a:ext uri="{FF2B5EF4-FFF2-40B4-BE49-F238E27FC236}">
                    <a16:creationId xmlns:a16="http://schemas.microsoft.com/office/drawing/2014/main" id="{7C57C924-3F42-4B31-884B-F0D4C02EB783}"/>
                  </a:ext>
                </a:extLst>
              </p:cNvPr>
              <p:cNvGrpSpPr/>
              <p:nvPr/>
            </p:nvGrpSpPr>
            <p:grpSpPr>
              <a:xfrm>
                <a:off x="3645467" y="4895376"/>
                <a:ext cx="2589123" cy="1270688"/>
                <a:chOff x="3283039" y="5177107"/>
                <a:chExt cx="2875428" cy="1366701"/>
              </a:xfrm>
            </p:grpSpPr>
            <p:sp>
              <p:nvSpPr>
                <p:cNvPr id="88" name="Rectangle 87">
                  <a:extLst>
                    <a:ext uri="{FF2B5EF4-FFF2-40B4-BE49-F238E27FC236}">
                      <a16:creationId xmlns:a16="http://schemas.microsoft.com/office/drawing/2014/main" id="{0AAB6F70-D251-4B4A-9C6F-5BFFE7FB255E}"/>
                    </a:ext>
                  </a:extLst>
                </p:cNvPr>
                <p:cNvSpPr/>
                <p:nvPr/>
              </p:nvSpPr>
              <p:spPr>
                <a:xfrm>
                  <a:off x="3283039" y="5177107"/>
                  <a:ext cx="2875428" cy="1366701"/>
                </a:xfrm>
                <a:prstGeom prst="rect">
                  <a:avLst/>
                </a:prstGeom>
                <a:solidFill>
                  <a:srgbClr val="CCECFF"/>
                </a:solidFill>
                <a:ln>
                  <a:solidFill>
                    <a:srgbClr val="0070C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t"/>
                <a:lstStyle/>
                <a:p>
                  <a:r>
                    <a:rPr lang="fr-FR" sz="1050">
                      <a:solidFill>
                        <a:sysClr val="windowText" lastClr="000000"/>
                      </a:solidFill>
                    </a:rPr>
                    <a:t>BrowserStack (</a:t>
                  </a:r>
                  <a:r>
                    <a:rPr lang="fr-FR" sz="1050" err="1">
                      <a:solidFill>
                        <a:sysClr val="windowText" lastClr="000000"/>
                      </a:solidFill>
                    </a:rPr>
                    <a:t>Paas</a:t>
                  </a:r>
                  <a:r>
                    <a:rPr lang="fr-FR" sz="1050">
                      <a:solidFill>
                        <a:sysClr val="windowText" lastClr="000000"/>
                      </a:solidFill>
                    </a:rPr>
                    <a:t>)</a:t>
                  </a:r>
                </a:p>
              </p:txBody>
            </p:sp>
            <p:pic>
              <p:nvPicPr>
                <p:cNvPr id="89" name="Picture 2" descr="Afficher l’image source">
                  <a:extLst>
                    <a:ext uri="{FF2B5EF4-FFF2-40B4-BE49-F238E27FC236}">
                      <a16:creationId xmlns:a16="http://schemas.microsoft.com/office/drawing/2014/main" id="{270FBC2D-408D-4159-A955-2C3ED734EE30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10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3927134" y="5524043"/>
                  <a:ext cx="1602608" cy="909497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</p:grpSp>
          <p:cxnSp>
            <p:nvCxnSpPr>
              <p:cNvPr id="90" name="Connecteur : en angle 89">
                <a:extLst>
                  <a:ext uri="{FF2B5EF4-FFF2-40B4-BE49-F238E27FC236}">
                    <a16:creationId xmlns:a16="http://schemas.microsoft.com/office/drawing/2014/main" id="{5DD27249-F4A8-4DCF-9F07-5BB8E06308CA}"/>
                  </a:ext>
                </a:extLst>
              </p:cNvPr>
              <p:cNvCxnSpPr>
                <a:cxnSpLocks/>
                <a:stCxn id="130" idx="2"/>
                <a:endCxn id="20" idx="1"/>
              </p:cNvCxnSpPr>
              <p:nvPr/>
            </p:nvCxnSpPr>
            <p:spPr>
              <a:xfrm rot="16200000" flipH="1">
                <a:off x="8636516" y="3857208"/>
                <a:ext cx="2503900" cy="332330"/>
              </a:xfrm>
              <a:prstGeom prst="bentConnector2">
                <a:avLst/>
              </a:prstGeom>
              <a:ln w="28575">
                <a:headEnd type="none" w="med" len="med"/>
                <a:tailEnd type="triangle" w="med" len="med"/>
              </a:ln>
            </p:spPr>
            <p:style>
              <a:lnRef idx="1">
                <a:schemeClr val="accent4"/>
              </a:lnRef>
              <a:fillRef idx="0">
                <a:schemeClr val="accent4"/>
              </a:fillRef>
              <a:effectRef idx="0">
                <a:schemeClr val="accent4"/>
              </a:effectRef>
              <a:fontRef idx="minor">
                <a:schemeClr val="tx1"/>
              </a:fontRef>
            </p:style>
          </p:cxnSp>
          <p:cxnSp>
            <p:nvCxnSpPr>
              <p:cNvPr id="91" name="Connector: Elbow 79">
                <a:extLst>
                  <a:ext uri="{FF2B5EF4-FFF2-40B4-BE49-F238E27FC236}">
                    <a16:creationId xmlns:a16="http://schemas.microsoft.com/office/drawing/2014/main" id="{2F727C79-7C94-4C68-A8E6-5D2462064032}"/>
                  </a:ext>
                </a:extLst>
              </p:cNvPr>
              <p:cNvCxnSpPr>
                <a:cxnSpLocks/>
                <a:stCxn id="32" idx="3"/>
                <a:endCxn id="114" idx="1"/>
              </p:cNvCxnSpPr>
              <p:nvPr/>
            </p:nvCxnSpPr>
            <p:spPr>
              <a:xfrm flipV="1">
                <a:off x="2715904" y="2293609"/>
                <a:ext cx="884882" cy="2628076"/>
              </a:xfrm>
              <a:prstGeom prst="bentConnector3">
                <a:avLst>
                  <a:gd name="adj1" fmla="val 50000"/>
                </a:avLst>
              </a:prstGeom>
              <a:ln w="28575">
                <a:tailEnd type="triangle"/>
              </a:ln>
            </p:spPr>
            <p:style>
              <a:lnRef idx="1">
                <a:schemeClr val="accent4"/>
              </a:lnRef>
              <a:fillRef idx="0">
                <a:schemeClr val="accent4"/>
              </a:fillRef>
              <a:effectRef idx="0">
                <a:schemeClr val="accent4"/>
              </a:effectRef>
              <a:fontRef idx="minor">
                <a:schemeClr val="tx1"/>
              </a:fontRef>
            </p:style>
          </p:cxnSp>
          <p:cxnSp>
            <p:nvCxnSpPr>
              <p:cNvPr id="92" name="Connector: Elbow 82">
                <a:extLst>
                  <a:ext uri="{FF2B5EF4-FFF2-40B4-BE49-F238E27FC236}">
                    <a16:creationId xmlns:a16="http://schemas.microsoft.com/office/drawing/2014/main" id="{2A460D32-9AAE-426D-A3D5-66C09D97D7BE}"/>
                  </a:ext>
                </a:extLst>
              </p:cNvPr>
              <p:cNvCxnSpPr>
                <a:cxnSpLocks/>
                <a:stCxn id="31" idx="3"/>
                <a:endCxn id="37" idx="1"/>
              </p:cNvCxnSpPr>
              <p:nvPr/>
            </p:nvCxnSpPr>
            <p:spPr>
              <a:xfrm flipV="1">
                <a:off x="2715904" y="4002688"/>
                <a:ext cx="911088" cy="1852584"/>
              </a:xfrm>
              <a:prstGeom prst="bentConnector3">
                <a:avLst>
                  <a:gd name="adj1" fmla="val 50000"/>
                </a:avLst>
              </a:prstGeom>
              <a:ln w="28575">
                <a:tailEnd type="triangle"/>
              </a:ln>
            </p:spPr>
            <p:style>
              <a:lnRef idx="1">
                <a:schemeClr val="accent4"/>
              </a:lnRef>
              <a:fillRef idx="0">
                <a:schemeClr val="accent4"/>
              </a:fillRef>
              <a:effectRef idx="0">
                <a:schemeClr val="accent4"/>
              </a:effectRef>
              <a:fontRef idx="minor">
                <a:schemeClr val="tx1"/>
              </a:fontRef>
            </p:style>
          </p:cxnSp>
          <p:pic>
            <p:nvPicPr>
              <p:cNvPr id="99" name="Picture 2" descr="Afficher l’image source">
                <a:extLst>
                  <a:ext uri="{FF2B5EF4-FFF2-40B4-BE49-F238E27FC236}">
                    <a16:creationId xmlns:a16="http://schemas.microsoft.com/office/drawing/2014/main" id="{3B48651C-49DD-4194-B5FC-1E222083D6E7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1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653764" y="2042373"/>
                <a:ext cx="314208" cy="315259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100" name="TextBox 152">
                <a:extLst>
                  <a:ext uri="{FF2B5EF4-FFF2-40B4-BE49-F238E27FC236}">
                    <a16:creationId xmlns:a16="http://schemas.microsoft.com/office/drawing/2014/main" id="{CCF8B81A-2096-48BB-92D9-3DFCFCB8095D}"/>
                  </a:ext>
                </a:extLst>
              </p:cNvPr>
              <p:cNvSpPr txBox="1"/>
              <p:nvPr/>
            </p:nvSpPr>
            <p:spPr>
              <a:xfrm>
                <a:off x="1927300" y="2094632"/>
                <a:ext cx="697200" cy="29238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fr-FR" sz="825" err="1">
                    <a:solidFill>
                      <a:srgbClr val="002060"/>
                    </a:solidFill>
                  </a:rPr>
                  <a:t>Appium</a:t>
                </a:r>
                <a:endParaRPr lang="fr-FR" sz="825">
                  <a:solidFill>
                    <a:srgbClr val="002060"/>
                  </a:solidFill>
                </a:endParaRPr>
              </a:p>
            </p:txBody>
          </p:sp>
          <p:pic>
            <p:nvPicPr>
              <p:cNvPr id="101" name="Picture 4" descr="Afficher l’image source">
                <a:extLst>
                  <a:ext uri="{FF2B5EF4-FFF2-40B4-BE49-F238E27FC236}">
                    <a16:creationId xmlns:a16="http://schemas.microsoft.com/office/drawing/2014/main" id="{94E01CA1-0F26-45BA-8EC3-C69807FF0B57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82416" y="2077725"/>
                <a:ext cx="290259" cy="30311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102" name="TextBox 153">
                <a:extLst>
                  <a:ext uri="{FF2B5EF4-FFF2-40B4-BE49-F238E27FC236}">
                    <a16:creationId xmlns:a16="http://schemas.microsoft.com/office/drawing/2014/main" id="{39573FB4-739B-47B6-952C-B1322FF01E8C}"/>
                  </a:ext>
                </a:extLst>
              </p:cNvPr>
              <p:cNvSpPr txBox="1"/>
              <p:nvPr/>
            </p:nvSpPr>
            <p:spPr>
              <a:xfrm>
                <a:off x="661491" y="2089633"/>
                <a:ext cx="778419" cy="29238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fr-FR" sz="825" err="1">
                    <a:solidFill>
                      <a:srgbClr val="002060"/>
                    </a:solidFill>
                  </a:rPr>
                  <a:t>Selenium</a:t>
                </a:r>
                <a:endParaRPr lang="fr-FR" sz="825">
                  <a:solidFill>
                    <a:srgbClr val="002060"/>
                  </a:solidFill>
                </a:endParaRPr>
              </a:p>
            </p:txBody>
          </p:sp>
          <p:grpSp>
            <p:nvGrpSpPr>
              <p:cNvPr id="108" name="Group 34">
                <a:extLst>
                  <a:ext uri="{FF2B5EF4-FFF2-40B4-BE49-F238E27FC236}">
                    <a16:creationId xmlns:a16="http://schemas.microsoft.com/office/drawing/2014/main" id="{620716C0-DF3C-4346-8508-CD6E511C7AF6}"/>
                  </a:ext>
                </a:extLst>
              </p:cNvPr>
              <p:cNvGrpSpPr/>
              <p:nvPr/>
            </p:nvGrpSpPr>
            <p:grpSpPr>
              <a:xfrm>
                <a:off x="3600786" y="1518530"/>
                <a:ext cx="5768101" cy="1340904"/>
                <a:chOff x="3859791" y="1301322"/>
                <a:chExt cx="5768101" cy="1340904"/>
              </a:xfrm>
            </p:grpSpPr>
            <p:grpSp>
              <p:nvGrpSpPr>
                <p:cNvPr id="109" name="Groupe 108">
                  <a:extLst>
                    <a:ext uri="{FF2B5EF4-FFF2-40B4-BE49-F238E27FC236}">
                      <a16:creationId xmlns:a16="http://schemas.microsoft.com/office/drawing/2014/main" id="{2D96D183-9E79-432E-B9EC-DC8D21A9B577}"/>
                    </a:ext>
                  </a:extLst>
                </p:cNvPr>
                <p:cNvGrpSpPr/>
                <p:nvPr/>
              </p:nvGrpSpPr>
              <p:grpSpPr>
                <a:xfrm>
                  <a:off x="3859791" y="1301322"/>
                  <a:ext cx="5768101" cy="1340904"/>
                  <a:chOff x="3859791" y="1499787"/>
                  <a:chExt cx="5768101" cy="1340904"/>
                </a:xfrm>
              </p:grpSpPr>
              <p:sp>
                <p:nvSpPr>
                  <p:cNvPr id="114" name="Rectangle 113">
                    <a:extLst>
                      <a:ext uri="{FF2B5EF4-FFF2-40B4-BE49-F238E27FC236}">
                        <a16:creationId xmlns:a16="http://schemas.microsoft.com/office/drawing/2014/main" id="{BE353E46-3598-43B7-AA24-2A2EA806004B}"/>
                      </a:ext>
                    </a:extLst>
                  </p:cNvPr>
                  <p:cNvSpPr/>
                  <p:nvPr/>
                </p:nvSpPr>
                <p:spPr>
                  <a:xfrm>
                    <a:off x="3859791" y="1709041"/>
                    <a:ext cx="5761580" cy="1131650"/>
                  </a:xfrm>
                  <a:prstGeom prst="rect">
                    <a:avLst/>
                  </a:prstGeom>
                  <a:solidFill>
                    <a:srgbClr val="CCECFF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fr-FR" sz="1200"/>
                  </a:p>
                </p:txBody>
              </p:sp>
              <p:sp>
                <p:nvSpPr>
                  <p:cNvPr id="115" name="Rectangle 114">
                    <a:extLst>
                      <a:ext uri="{FF2B5EF4-FFF2-40B4-BE49-F238E27FC236}">
                        <a16:creationId xmlns:a16="http://schemas.microsoft.com/office/drawing/2014/main" id="{668103C9-1B79-45DF-97E9-7BC62361E6D0}"/>
                      </a:ext>
                    </a:extLst>
                  </p:cNvPr>
                  <p:cNvSpPr/>
                  <p:nvPr/>
                </p:nvSpPr>
                <p:spPr>
                  <a:xfrm>
                    <a:off x="3866311" y="1499787"/>
                    <a:ext cx="5761581" cy="1336877"/>
                  </a:xfrm>
                  <a:prstGeom prst="rect">
                    <a:avLst/>
                  </a:prstGeom>
                  <a:solidFill>
                    <a:srgbClr val="FFFFCC"/>
                  </a:solidFill>
                  <a:ln>
                    <a:solidFill>
                      <a:srgbClr val="0070C0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t"/>
                  <a:lstStyle/>
                  <a:p>
                    <a:endParaRPr lang="fr-FR" sz="1050">
                      <a:solidFill>
                        <a:srgbClr val="002060"/>
                      </a:solidFill>
                    </a:endParaRPr>
                  </a:p>
                </p:txBody>
              </p:sp>
              <p:grpSp>
                <p:nvGrpSpPr>
                  <p:cNvPr id="126" name="Group 56">
                    <a:extLst>
                      <a:ext uri="{FF2B5EF4-FFF2-40B4-BE49-F238E27FC236}">
                        <a16:creationId xmlns:a16="http://schemas.microsoft.com/office/drawing/2014/main" id="{7E9DB490-8F7A-4E2B-B4CB-33047F489747}"/>
                      </a:ext>
                    </a:extLst>
                  </p:cNvPr>
                  <p:cNvGrpSpPr/>
                  <p:nvPr/>
                </p:nvGrpSpPr>
                <p:grpSpPr>
                  <a:xfrm>
                    <a:off x="3969370" y="1808214"/>
                    <a:ext cx="1077647" cy="942592"/>
                    <a:chOff x="3979167" y="1787744"/>
                    <a:chExt cx="1077647" cy="942592"/>
                  </a:xfrm>
                </p:grpSpPr>
                <p:pic>
                  <p:nvPicPr>
                    <p:cNvPr id="128" name="Graphic 54">
                      <a:extLst>
                        <a:ext uri="{FF2B5EF4-FFF2-40B4-BE49-F238E27FC236}">
                          <a16:creationId xmlns:a16="http://schemas.microsoft.com/office/drawing/2014/main" id="{68A874F0-A50F-4E29-81B3-744A5ADCBD1A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13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  <a:ext uri="{96DAC541-7B7A-43D3-8B79-37D633B846F1}">
                          <asvg:svgBlip xmlns:asvg="http://schemas.microsoft.com/office/drawing/2016/SVG/main" r:embed="rId14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4170656" y="1787744"/>
                      <a:ext cx="609600" cy="609600"/>
                    </a:xfrm>
                    <a:prstGeom prst="rect">
                      <a:avLst/>
                    </a:prstGeom>
                  </p:spPr>
                </p:pic>
                <p:sp>
                  <p:nvSpPr>
                    <p:cNvPr id="129" name="TextBox 55">
                      <a:extLst>
                        <a:ext uri="{FF2B5EF4-FFF2-40B4-BE49-F238E27FC236}">
                          <a16:creationId xmlns:a16="http://schemas.microsoft.com/office/drawing/2014/main" id="{E426EB7F-8EED-44C5-8CAA-1AD03807F02A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3979167" y="2445556"/>
                      <a:ext cx="1077647" cy="284780"/>
                    </a:xfrm>
                    <a:prstGeom prst="rect">
                      <a:avLst/>
                    </a:prstGeom>
                    <a:noFill/>
                  </p:spPr>
                  <p:txBody>
                    <a:bodyPr wrap="none" rtlCol="0">
                      <a:spAutoFit/>
                    </a:bodyPr>
                    <a:lstStyle/>
                    <a:p>
                      <a:r>
                        <a:rPr lang="fr-FR" sz="788">
                          <a:solidFill>
                            <a:srgbClr val="002060"/>
                          </a:solidFill>
                        </a:rPr>
                        <a:t>VM de Test API</a:t>
                      </a:r>
                    </a:p>
                  </p:txBody>
                </p:sp>
              </p:grpSp>
              <p:pic>
                <p:nvPicPr>
                  <p:cNvPr id="124" name="Graphic 86">
                    <a:extLst>
                      <a:ext uri="{FF2B5EF4-FFF2-40B4-BE49-F238E27FC236}">
                        <a16:creationId xmlns:a16="http://schemas.microsoft.com/office/drawing/2014/main" id="{3FB9F3A5-7C12-4FD8-B5A7-731B2888AE87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13">
                    <a:extLst>
                      <a:ext uri="{28A0092B-C50C-407E-A947-70E740481C1C}">
                        <a14:useLocalDpi xmlns:a14="http://schemas.microsoft.com/office/drawing/2010/main" val="0"/>
                      </a:ext>
                      <a:ext uri="{96DAC541-7B7A-43D3-8B79-37D633B846F1}">
                        <asvg:svgBlip xmlns:asvg="http://schemas.microsoft.com/office/drawing/2016/SVG/main" r:embed="rId14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166356" y="1811635"/>
                    <a:ext cx="609600" cy="609600"/>
                  </a:xfrm>
                  <a:prstGeom prst="rect">
                    <a:avLst/>
                  </a:prstGeom>
                </p:spPr>
              </p:pic>
              <p:pic>
                <p:nvPicPr>
                  <p:cNvPr id="122" name="Graphic 95">
                    <a:extLst>
                      <a:ext uri="{FF2B5EF4-FFF2-40B4-BE49-F238E27FC236}">
                        <a16:creationId xmlns:a16="http://schemas.microsoft.com/office/drawing/2014/main" id="{B115DB0A-4A34-44F5-B238-D4620D56EB79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13">
                    <a:extLst>
                      <a:ext uri="{28A0092B-C50C-407E-A947-70E740481C1C}">
                        <a14:useLocalDpi xmlns:a14="http://schemas.microsoft.com/office/drawing/2010/main" val="0"/>
                      </a:ext>
                      <a:ext uri="{96DAC541-7B7A-43D3-8B79-37D633B846F1}">
                        <asvg:svgBlip xmlns:asvg="http://schemas.microsoft.com/office/drawing/2016/SVG/main" r:embed="rId14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6167676" y="1808214"/>
                    <a:ext cx="609600" cy="609600"/>
                  </a:xfrm>
                  <a:prstGeom prst="rect">
                    <a:avLst/>
                  </a:prstGeom>
                </p:spPr>
              </p:pic>
              <p:pic>
                <p:nvPicPr>
                  <p:cNvPr id="120" name="Graphic 102">
                    <a:extLst>
                      <a:ext uri="{FF2B5EF4-FFF2-40B4-BE49-F238E27FC236}">
                        <a16:creationId xmlns:a16="http://schemas.microsoft.com/office/drawing/2014/main" id="{9695DFFC-0AD0-48D1-B226-2D8271510AD7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13">
                    <a:extLst>
                      <a:ext uri="{28A0092B-C50C-407E-A947-70E740481C1C}">
                        <a14:useLocalDpi xmlns:a14="http://schemas.microsoft.com/office/drawing/2010/main" val="0"/>
                      </a:ext>
                      <a:ext uri="{96DAC541-7B7A-43D3-8B79-37D633B846F1}">
                        <asvg:svgBlip xmlns:asvg="http://schemas.microsoft.com/office/drawing/2016/SVG/main" r:embed="rId14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7151209" y="1803184"/>
                    <a:ext cx="609600" cy="609600"/>
                  </a:xfrm>
                  <a:prstGeom prst="rect">
                    <a:avLst/>
                  </a:prstGeom>
                </p:spPr>
              </p:pic>
            </p:grpSp>
            <p:grpSp>
              <p:nvGrpSpPr>
                <p:cNvPr id="110" name="Group 33">
                  <a:extLst>
                    <a:ext uri="{FF2B5EF4-FFF2-40B4-BE49-F238E27FC236}">
                      <a16:creationId xmlns:a16="http://schemas.microsoft.com/office/drawing/2014/main" id="{8D188655-2FFD-4892-A70A-766A3CBB6C53}"/>
                    </a:ext>
                  </a:extLst>
                </p:cNvPr>
                <p:cNvGrpSpPr/>
                <p:nvPr/>
              </p:nvGrpSpPr>
              <p:grpSpPr>
                <a:xfrm>
                  <a:off x="4974600" y="2257003"/>
                  <a:ext cx="3095928" cy="290308"/>
                  <a:chOff x="4974600" y="2257003"/>
                  <a:chExt cx="3095928" cy="290308"/>
                </a:xfrm>
              </p:grpSpPr>
              <p:sp>
                <p:nvSpPr>
                  <p:cNvPr id="111" name="TextBox 162">
                    <a:extLst>
                      <a:ext uri="{FF2B5EF4-FFF2-40B4-BE49-F238E27FC236}">
                        <a16:creationId xmlns:a16="http://schemas.microsoft.com/office/drawing/2014/main" id="{32AFAF59-0F5E-41EE-BE82-BDFA7AC66B87}"/>
                      </a:ext>
                    </a:extLst>
                  </p:cNvPr>
                  <p:cNvSpPr txBox="1"/>
                  <p:nvPr/>
                </p:nvSpPr>
                <p:spPr>
                  <a:xfrm>
                    <a:off x="4974600" y="2262531"/>
                    <a:ext cx="1077647" cy="284780"/>
                  </a:xfrm>
                  <a:prstGeom prst="rect">
                    <a:avLst/>
                  </a:prstGeom>
                  <a:noFill/>
                </p:spPr>
                <p:txBody>
                  <a:bodyPr wrap="none" rtlCol="0">
                    <a:spAutoFit/>
                  </a:bodyPr>
                  <a:lstStyle/>
                  <a:p>
                    <a:r>
                      <a:rPr lang="fr-FR" sz="788">
                        <a:solidFill>
                          <a:srgbClr val="002060"/>
                        </a:solidFill>
                      </a:rPr>
                      <a:t>VM de Test API</a:t>
                    </a:r>
                  </a:p>
                </p:txBody>
              </p:sp>
              <p:sp>
                <p:nvSpPr>
                  <p:cNvPr id="112" name="TextBox 163">
                    <a:extLst>
                      <a:ext uri="{FF2B5EF4-FFF2-40B4-BE49-F238E27FC236}">
                        <a16:creationId xmlns:a16="http://schemas.microsoft.com/office/drawing/2014/main" id="{959FCC99-2A86-43D6-AD10-2EDBC7CD44C9}"/>
                      </a:ext>
                    </a:extLst>
                  </p:cNvPr>
                  <p:cNvSpPr txBox="1"/>
                  <p:nvPr/>
                </p:nvSpPr>
                <p:spPr>
                  <a:xfrm>
                    <a:off x="5975193" y="2257003"/>
                    <a:ext cx="1077647" cy="284780"/>
                  </a:xfrm>
                  <a:prstGeom prst="rect">
                    <a:avLst/>
                  </a:prstGeom>
                  <a:noFill/>
                </p:spPr>
                <p:txBody>
                  <a:bodyPr wrap="none" rtlCol="0">
                    <a:spAutoFit/>
                  </a:bodyPr>
                  <a:lstStyle/>
                  <a:p>
                    <a:r>
                      <a:rPr lang="fr-FR" sz="788">
                        <a:solidFill>
                          <a:srgbClr val="002060"/>
                        </a:solidFill>
                      </a:rPr>
                      <a:t>VM de Test API</a:t>
                    </a:r>
                  </a:p>
                </p:txBody>
              </p:sp>
              <p:sp>
                <p:nvSpPr>
                  <p:cNvPr id="113" name="TextBox 164">
                    <a:extLst>
                      <a:ext uri="{FF2B5EF4-FFF2-40B4-BE49-F238E27FC236}">
                        <a16:creationId xmlns:a16="http://schemas.microsoft.com/office/drawing/2014/main" id="{E6D2E9BC-314F-42C3-B7CC-12CB64218DB2}"/>
                      </a:ext>
                    </a:extLst>
                  </p:cNvPr>
                  <p:cNvSpPr txBox="1"/>
                  <p:nvPr/>
                </p:nvSpPr>
                <p:spPr>
                  <a:xfrm>
                    <a:off x="6992881" y="2257003"/>
                    <a:ext cx="1077647" cy="284780"/>
                  </a:xfrm>
                  <a:prstGeom prst="rect">
                    <a:avLst/>
                  </a:prstGeom>
                  <a:noFill/>
                </p:spPr>
                <p:txBody>
                  <a:bodyPr wrap="none" rtlCol="0">
                    <a:spAutoFit/>
                  </a:bodyPr>
                  <a:lstStyle/>
                  <a:p>
                    <a:r>
                      <a:rPr lang="fr-FR" sz="788">
                        <a:solidFill>
                          <a:srgbClr val="002060"/>
                        </a:solidFill>
                      </a:rPr>
                      <a:t>VM de Test API</a:t>
                    </a:r>
                  </a:p>
                </p:txBody>
              </p:sp>
            </p:grpSp>
          </p:grpSp>
          <p:pic>
            <p:nvPicPr>
              <p:cNvPr id="130" name="Graphic 118">
                <a:extLst>
                  <a:ext uri="{FF2B5EF4-FFF2-40B4-BE49-F238E27FC236}">
                    <a16:creationId xmlns:a16="http://schemas.microsoft.com/office/drawing/2014/main" id="{3F55E924-4210-4681-8C26-022AF04037E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5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6"/>
                  </a:ext>
                </a:extLst>
              </a:blip>
              <a:stretch>
                <a:fillRect/>
              </a:stretch>
            </p:blipFill>
            <p:spPr>
              <a:xfrm>
                <a:off x="9553428" y="2433677"/>
                <a:ext cx="337746" cy="337746"/>
              </a:xfrm>
              <a:prstGeom prst="rect">
                <a:avLst/>
              </a:prstGeom>
            </p:spPr>
          </p:pic>
          <p:cxnSp>
            <p:nvCxnSpPr>
              <p:cNvPr id="131" name="Connector: Elbow 101">
                <a:extLst>
                  <a:ext uri="{FF2B5EF4-FFF2-40B4-BE49-F238E27FC236}">
                    <a16:creationId xmlns:a16="http://schemas.microsoft.com/office/drawing/2014/main" id="{0F59751B-3E83-4BF0-A49E-AE2C1179CF04}"/>
                  </a:ext>
                </a:extLst>
              </p:cNvPr>
              <p:cNvCxnSpPr>
                <a:cxnSpLocks/>
                <a:stCxn id="115" idx="3"/>
                <a:endCxn id="130" idx="0"/>
              </p:cNvCxnSpPr>
              <p:nvPr/>
            </p:nvCxnSpPr>
            <p:spPr>
              <a:xfrm>
                <a:off x="9368887" y="2186969"/>
                <a:ext cx="353414" cy="246708"/>
              </a:xfrm>
              <a:prstGeom prst="bentConnector2">
                <a:avLst/>
              </a:prstGeom>
              <a:ln w="28575">
                <a:tailEnd type="triangle"/>
              </a:ln>
            </p:spPr>
            <p:style>
              <a:lnRef idx="1">
                <a:schemeClr val="accent4"/>
              </a:lnRef>
              <a:fillRef idx="0">
                <a:schemeClr val="accent4"/>
              </a:fillRef>
              <a:effectRef idx="0">
                <a:schemeClr val="accent4"/>
              </a:effectRef>
              <a:fontRef idx="minor">
                <a:schemeClr val="tx1"/>
              </a:fontRef>
            </p:style>
          </p:cxnSp>
          <p:grpSp>
            <p:nvGrpSpPr>
              <p:cNvPr id="132" name="Groupe 131">
                <a:extLst>
                  <a:ext uri="{FF2B5EF4-FFF2-40B4-BE49-F238E27FC236}">
                    <a16:creationId xmlns:a16="http://schemas.microsoft.com/office/drawing/2014/main" id="{60B74550-FF4C-4995-B4D5-AF99697E6EF7}"/>
                  </a:ext>
                </a:extLst>
              </p:cNvPr>
              <p:cNvGrpSpPr/>
              <p:nvPr/>
            </p:nvGrpSpPr>
            <p:grpSpPr>
              <a:xfrm>
                <a:off x="6773243" y="4891738"/>
                <a:ext cx="2589123" cy="1270688"/>
                <a:chOff x="3283039" y="5177107"/>
                <a:chExt cx="2875428" cy="1366701"/>
              </a:xfrm>
            </p:grpSpPr>
            <p:sp>
              <p:nvSpPr>
                <p:cNvPr id="133" name="Rectangle 132">
                  <a:extLst>
                    <a:ext uri="{FF2B5EF4-FFF2-40B4-BE49-F238E27FC236}">
                      <a16:creationId xmlns:a16="http://schemas.microsoft.com/office/drawing/2014/main" id="{30148100-8DC4-41BA-8F6A-8815C6D83D6E}"/>
                    </a:ext>
                  </a:extLst>
                </p:cNvPr>
                <p:cNvSpPr/>
                <p:nvPr/>
              </p:nvSpPr>
              <p:spPr>
                <a:xfrm>
                  <a:off x="3283039" y="5177107"/>
                  <a:ext cx="2875428" cy="1366701"/>
                </a:xfrm>
                <a:prstGeom prst="rect">
                  <a:avLst/>
                </a:prstGeom>
                <a:solidFill>
                  <a:srgbClr val="FFFFCC"/>
                </a:solidFill>
                <a:ln>
                  <a:solidFill>
                    <a:srgbClr val="0070C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t"/>
                <a:lstStyle/>
                <a:p>
                  <a:r>
                    <a:rPr lang="fr-FR" sz="1050">
                      <a:solidFill>
                        <a:sysClr val="windowText" lastClr="000000"/>
                      </a:solidFill>
                    </a:rPr>
                    <a:t>Mobile Lab (Interne)</a:t>
                  </a:r>
                </a:p>
              </p:txBody>
            </p:sp>
            <p:pic>
              <p:nvPicPr>
                <p:cNvPr id="134" name="Picture 2" descr="Afficher l’image source">
                  <a:extLst>
                    <a:ext uri="{FF2B5EF4-FFF2-40B4-BE49-F238E27FC236}">
                      <a16:creationId xmlns:a16="http://schemas.microsoft.com/office/drawing/2014/main" id="{D943AA02-6A5E-4269-B08C-EFBC8137FA4C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10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3927134" y="5524043"/>
                  <a:ext cx="1602608" cy="909497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</p:grpSp>
          <p:cxnSp>
            <p:nvCxnSpPr>
              <p:cNvPr id="135" name="Connector: Elbow 82">
                <a:extLst>
                  <a:ext uri="{FF2B5EF4-FFF2-40B4-BE49-F238E27FC236}">
                    <a16:creationId xmlns:a16="http://schemas.microsoft.com/office/drawing/2014/main" id="{8684E1E2-266A-4021-B30C-F94392201430}"/>
                  </a:ext>
                </a:extLst>
              </p:cNvPr>
              <p:cNvCxnSpPr>
                <a:cxnSpLocks/>
                <a:stCxn id="37" idx="2"/>
                <a:endCxn id="88" idx="0"/>
              </p:cNvCxnSpPr>
              <p:nvPr/>
            </p:nvCxnSpPr>
            <p:spPr>
              <a:xfrm rot="5400000">
                <a:off x="5555554" y="3952989"/>
                <a:ext cx="326863" cy="1557911"/>
              </a:xfrm>
              <a:prstGeom prst="bentConnector3">
                <a:avLst>
                  <a:gd name="adj1" fmla="val 50000"/>
                </a:avLst>
              </a:prstGeom>
              <a:ln w="28575">
                <a:tailEnd type="triangle"/>
              </a:ln>
            </p:spPr>
            <p:style>
              <a:lnRef idx="1">
                <a:schemeClr val="accent4"/>
              </a:lnRef>
              <a:fillRef idx="0">
                <a:schemeClr val="accent4"/>
              </a:fillRef>
              <a:effectRef idx="0">
                <a:schemeClr val="accent4"/>
              </a:effectRef>
              <a:fontRef idx="minor">
                <a:schemeClr val="tx1"/>
              </a:fontRef>
            </p:style>
          </p:cxnSp>
          <p:cxnSp>
            <p:nvCxnSpPr>
              <p:cNvPr id="138" name="Connector: Elbow 82">
                <a:extLst>
                  <a:ext uri="{FF2B5EF4-FFF2-40B4-BE49-F238E27FC236}">
                    <a16:creationId xmlns:a16="http://schemas.microsoft.com/office/drawing/2014/main" id="{EDD64BD4-AD5C-4CB8-8C78-E642F03393B7}"/>
                  </a:ext>
                </a:extLst>
              </p:cNvPr>
              <p:cNvCxnSpPr>
                <a:cxnSpLocks/>
                <a:stCxn id="37" idx="2"/>
                <a:endCxn id="133" idx="0"/>
              </p:cNvCxnSpPr>
              <p:nvPr/>
            </p:nvCxnSpPr>
            <p:spPr>
              <a:xfrm rot="16200000" flipH="1">
                <a:off x="7121260" y="3945192"/>
                <a:ext cx="323225" cy="1569865"/>
              </a:xfrm>
              <a:prstGeom prst="bentConnector3">
                <a:avLst>
                  <a:gd name="adj1" fmla="val 50000"/>
                </a:avLst>
              </a:prstGeom>
              <a:ln w="28575">
                <a:tailEnd type="triangle"/>
              </a:ln>
            </p:spPr>
            <p:style>
              <a:lnRef idx="1">
                <a:schemeClr val="accent4"/>
              </a:lnRef>
              <a:fillRef idx="0">
                <a:schemeClr val="accent4"/>
              </a:fillRef>
              <a:effectRef idx="0">
                <a:schemeClr val="accent4"/>
              </a:effectRef>
              <a:fontRef idx="minor">
                <a:schemeClr val="tx1"/>
              </a:fontRef>
            </p:style>
          </p:cxnSp>
          <p:cxnSp>
            <p:nvCxnSpPr>
              <p:cNvPr id="143" name="Connector: Elbow 82">
                <a:extLst>
                  <a:ext uri="{FF2B5EF4-FFF2-40B4-BE49-F238E27FC236}">
                    <a16:creationId xmlns:a16="http://schemas.microsoft.com/office/drawing/2014/main" id="{0CB21FD0-FB6E-4DBF-A525-41CF09032ED3}"/>
                  </a:ext>
                </a:extLst>
              </p:cNvPr>
              <p:cNvCxnSpPr>
                <a:cxnSpLocks/>
                <a:stCxn id="88" idx="2"/>
                <a:endCxn id="130" idx="2"/>
              </p:cNvCxnSpPr>
              <p:nvPr/>
            </p:nvCxnSpPr>
            <p:spPr>
              <a:xfrm rot="5400000" flipH="1" flipV="1">
                <a:off x="5633844" y="2077608"/>
                <a:ext cx="3394641" cy="4782272"/>
              </a:xfrm>
              <a:prstGeom prst="bentConnector3">
                <a:avLst>
                  <a:gd name="adj1" fmla="val -6734"/>
                </a:avLst>
              </a:prstGeom>
              <a:ln w="28575">
                <a:tailEnd type="triangle"/>
              </a:ln>
            </p:spPr>
            <p:style>
              <a:lnRef idx="1">
                <a:schemeClr val="accent4"/>
              </a:lnRef>
              <a:fillRef idx="0">
                <a:schemeClr val="accent4"/>
              </a:fillRef>
              <a:effectRef idx="0">
                <a:schemeClr val="accent4"/>
              </a:effectRef>
              <a:fontRef idx="minor">
                <a:schemeClr val="tx1"/>
              </a:fontRef>
            </p:style>
          </p:cxnSp>
          <p:cxnSp>
            <p:nvCxnSpPr>
              <p:cNvPr id="146" name="Connector: Elbow 82">
                <a:extLst>
                  <a:ext uri="{FF2B5EF4-FFF2-40B4-BE49-F238E27FC236}">
                    <a16:creationId xmlns:a16="http://schemas.microsoft.com/office/drawing/2014/main" id="{063B7632-6358-4CF0-B1D0-3E1413D18540}"/>
                  </a:ext>
                </a:extLst>
              </p:cNvPr>
              <p:cNvCxnSpPr>
                <a:cxnSpLocks/>
                <a:stCxn id="133" idx="2"/>
                <a:endCxn id="130" idx="2"/>
              </p:cNvCxnSpPr>
              <p:nvPr/>
            </p:nvCxnSpPr>
            <p:spPr>
              <a:xfrm rot="5400000" flipH="1" flipV="1">
                <a:off x="7199551" y="3639677"/>
                <a:ext cx="3391003" cy="1654496"/>
              </a:xfrm>
              <a:prstGeom prst="bentConnector3">
                <a:avLst>
                  <a:gd name="adj1" fmla="val -6741"/>
                </a:avLst>
              </a:prstGeom>
              <a:ln w="28575">
                <a:tailEnd type="triangle"/>
              </a:ln>
            </p:spPr>
            <p:style>
              <a:lnRef idx="1">
                <a:schemeClr val="accent4"/>
              </a:lnRef>
              <a:fillRef idx="0">
                <a:schemeClr val="accent4"/>
              </a:fillRef>
              <a:effectRef idx="0">
                <a:schemeClr val="accent4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80193345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Rectangle 49">
            <a:extLst>
              <a:ext uri="{FF2B5EF4-FFF2-40B4-BE49-F238E27FC236}">
                <a16:creationId xmlns:a16="http://schemas.microsoft.com/office/drawing/2014/main" id="{60CFE466-4D36-4057-87F1-0EDC8CED754C}"/>
              </a:ext>
            </a:extLst>
          </p:cNvPr>
          <p:cNvSpPr/>
          <p:nvPr/>
        </p:nvSpPr>
        <p:spPr>
          <a:xfrm>
            <a:off x="6940209" y="1921568"/>
            <a:ext cx="1475822" cy="2873501"/>
          </a:xfrm>
          <a:prstGeom prst="rect">
            <a:avLst/>
          </a:prstGeom>
          <a:solidFill>
            <a:srgbClr val="FFC000">
              <a:lumMod val="20000"/>
              <a:lumOff val="8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b"/>
          <a:lstStyle/>
          <a:p>
            <a:pPr algn="ctr"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100" kern="0">
                <a:solidFill>
                  <a:srgbClr val="0070C0"/>
                </a:solidFill>
              </a:rPr>
              <a:t>REPORTING</a:t>
            </a:r>
            <a:endParaRPr lang="fr-FR" sz="2100" kern="0">
              <a:solidFill>
                <a:srgbClr val="0070C0"/>
              </a:solidFill>
            </a:endParaRP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DBF4978A-4937-4C9C-A5B2-0E1C6527039D}"/>
              </a:ext>
            </a:extLst>
          </p:cNvPr>
          <p:cNvSpPr/>
          <p:nvPr/>
        </p:nvSpPr>
        <p:spPr>
          <a:xfrm>
            <a:off x="4096235" y="1921569"/>
            <a:ext cx="2843974" cy="2873501"/>
          </a:xfrm>
          <a:prstGeom prst="rect">
            <a:avLst/>
          </a:prstGeom>
          <a:solidFill>
            <a:srgbClr val="70AD47">
              <a:lumMod val="20000"/>
              <a:lumOff val="8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b"/>
          <a:lstStyle/>
          <a:p>
            <a:pPr algn="ctr"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100" kern="0">
                <a:solidFill>
                  <a:srgbClr val="0070C0"/>
                </a:solidFill>
              </a:rPr>
              <a:t>TEST</a:t>
            </a:r>
            <a:endParaRPr lang="fr-FR" sz="2100" kern="0">
              <a:solidFill>
                <a:srgbClr val="0070C0"/>
              </a:solidFill>
            </a:endParaRP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F9E07814-9D72-492E-A5DE-1F032A2C5FEB}"/>
              </a:ext>
            </a:extLst>
          </p:cNvPr>
          <p:cNvSpPr/>
          <p:nvPr/>
        </p:nvSpPr>
        <p:spPr>
          <a:xfrm>
            <a:off x="2237897" y="1921568"/>
            <a:ext cx="1858337" cy="2873501"/>
          </a:xfrm>
          <a:prstGeom prst="rect">
            <a:avLst/>
          </a:prstGeom>
          <a:solidFill>
            <a:srgbClr val="44546A">
              <a:lumMod val="20000"/>
              <a:lumOff val="8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b"/>
          <a:lstStyle/>
          <a:p>
            <a:pPr algn="ctr"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100" kern="0">
                <a:solidFill>
                  <a:srgbClr val="0070C0"/>
                </a:solidFill>
              </a:rPr>
              <a:t>BUILD</a:t>
            </a:r>
            <a:endParaRPr lang="fr-FR" sz="2100" kern="0">
              <a:solidFill>
                <a:srgbClr val="0070C0"/>
              </a:solidFill>
            </a:endParaRP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F3713D54-CB08-4224-B02C-EE1AAFFF4BB6}"/>
              </a:ext>
            </a:extLst>
          </p:cNvPr>
          <p:cNvSpPr/>
          <p:nvPr/>
        </p:nvSpPr>
        <p:spPr>
          <a:xfrm>
            <a:off x="623732" y="1921570"/>
            <a:ext cx="1618488" cy="2873501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b"/>
          <a:lstStyle/>
          <a:p>
            <a:pPr algn="ctr"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100" kern="0">
                <a:solidFill>
                  <a:srgbClr val="0070C0"/>
                </a:solidFill>
              </a:rPr>
              <a:t>DEV</a:t>
            </a:r>
            <a:endParaRPr lang="fr-FR" sz="2100" kern="0">
              <a:solidFill>
                <a:srgbClr val="0070C0"/>
              </a:solidFill>
            </a:endParaRP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C062B8AA-180A-4FB7-A7B6-0A470BCE3451}"/>
              </a:ext>
            </a:extLst>
          </p:cNvPr>
          <p:cNvSpPr txBox="1"/>
          <p:nvPr/>
        </p:nvSpPr>
        <p:spPr>
          <a:xfrm>
            <a:off x="1462986" y="2727142"/>
            <a:ext cx="760735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350" kern="0">
                <a:solidFill>
                  <a:prstClr val="black"/>
                </a:solidFill>
              </a:rPr>
              <a:t>CODE</a:t>
            </a:r>
          </a:p>
          <a:p>
            <a:pPr algn="ctr"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350" kern="0">
                <a:solidFill>
                  <a:prstClr val="black"/>
                </a:solidFill>
              </a:rPr>
              <a:t>PROJET</a:t>
            </a:r>
            <a:endParaRPr lang="fr-FR" sz="1350" kern="0">
              <a:solidFill>
                <a:prstClr val="black"/>
              </a:solidFill>
            </a:endParaRPr>
          </a:p>
        </p:txBody>
      </p:sp>
      <p:pic>
        <p:nvPicPr>
          <p:cNvPr id="55" name="Picture 4" descr="Afficher l’image source">
            <a:extLst>
              <a:ext uri="{FF2B5EF4-FFF2-40B4-BE49-F238E27FC236}">
                <a16:creationId xmlns:a16="http://schemas.microsoft.com/office/drawing/2014/main" id="{92A0B3FA-044D-487E-95DA-CE5B2ABCF68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71196" y="2106313"/>
            <a:ext cx="674867" cy="6748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6" name="TextBox 55">
            <a:extLst>
              <a:ext uri="{FF2B5EF4-FFF2-40B4-BE49-F238E27FC236}">
                <a16:creationId xmlns:a16="http://schemas.microsoft.com/office/drawing/2014/main" id="{455CEAA1-AC39-4046-A7A4-276C76B3D73C}"/>
              </a:ext>
            </a:extLst>
          </p:cNvPr>
          <p:cNvSpPr txBox="1"/>
          <p:nvPr/>
        </p:nvSpPr>
        <p:spPr>
          <a:xfrm>
            <a:off x="3040645" y="2781178"/>
            <a:ext cx="962035" cy="276999"/>
          </a:xfrm>
          <a:prstGeom prst="rect">
            <a:avLst/>
          </a:prstGeom>
          <a:noFill/>
        </p:spPr>
        <p:txBody>
          <a:bodyPr wrap="square" lIns="68580" tIns="34290" rIns="68580" bIns="34290" rtlCol="0" anchor="t">
            <a:spAutoFit/>
          </a:bodyPr>
          <a:lstStyle/>
          <a:p>
            <a:pPr algn="ctr"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350" kern="0">
                <a:solidFill>
                  <a:prstClr val="black"/>
                </a:solidFill>
              </a:rPr>
              <a:t>DEPLOY</a:t>
            </a:r>
            <a:endParaRPr lang="fr-FR" sz="1350" kern="0">
              <a:solidFill>
                <a:srgbClr val="00727A"/>
              </a:solidFill>
              <a:latin typeface="Source Sans Pro"/>
            </a:endParaRP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D5801B43-148C-47E5-857E-026EF2832651}"/>
              </a:ext>
            </a:extLst>
          </p:cNvPr>
          <p:cNvSpPr txBox="1"/>
          <p:nvPr/>
        </p:nvSpPr>
        <p:spPr>
          <a:xfrm>
            <a:off x="1494425" y="3957221"/>
            <a:ext cx="683993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350" kern="0">
                <a:solidFill>
                  <a:prstClr val="black"/>
                </a:solidFill>
              </a:rPr>
              <a:t>CODE</a:t>
            </a:r>
          </a:p>
          <a:p>
            <a:pPr algn="ctr"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350" kern="0">
                <a:solidFill>
                  <a:prstClr val="black"/>
                </a:solidFill>
              </a:rPr>
              <a:t>TEST</a:t>
            </a:r>
            <a:endParaRPr lang="fr-FR" sz="1350" kern="0">
              <a:solidFill>
                <a:prstClr val="black"/>
              </a:solidFill>
            </a:endParaRPr>
          </a:p>
        </p:txBody>
      </p:sp>
      <p:sp>
        <p:nvSpPr>
          <p:cNvPr id="58" name="Right Brace 57">
            <a:extLst>
              <a:ext uri="{FF2B5EF4-FFF2-40B4-BE49-F238E27FC236}">
                <a16:creationId xmlns:a16="http://schemas.microsoft.com/office/drawing/2014/main" id="{CB2EE632-7400-4443-B853-276B7D8F5247}"/>
              </a:ext>
            </a:extLst>
          </p:cNvPr>
          <p:cNvSpPr/>
          <p:nvPr/>
        </p:nvSpPr>
        <p:spPr>
          <a:xfrm>
            <a:off x="4148744" y="2470208"/>
            <a:ext cx="356616" cy="1309878"/>
          </a:xfrm>
          <a:prstGeom prst="rightBrace">
            <a:avLst/>
          </a:prstGeom>
          <a:noFill/>
          <a:ln w="19050" cap="flat" cmpd="sng" algn="ctr">
            <a:solidFill>
              <a:srgbClr val="5B9BD5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fr-FR" sz="1350" kern="0">
              <a:solidFill>
                <a:prstClr val="black"/>
              </a:solidFill>
            </a:endParaRPr>
          </a:p>
        </p:txBody>
      </p:sp>
      <p:pic>
        <p:nvPicPr>
          <p:cNvPr id="59" name="Picture 8">
            <a:extLst>
              <a:ext uri="{FF2B5EF4-FFF2-40B4-BE49-F238E27FC236}">
                <a16:creationId xmlns:a16="http://schemas.microsoft.com/office/drawing/2014/main" id="{20F1B69C-B597-485C-AEAE-C4ABB8D2B45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70082" y="2727383"/>
            <a:ext cx="781811" cy="7818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0" name="TextBox 59">
            <a:extLst>
              <a:ext uri="{FF2B5EF4-FFF2-40B4-BE49-F238E27FC236}">
                <a16:creationId xmlns:a16="http://schemas.microsoft.com/office/drawing/2014/main" id="{0B48FB97-55BD-4F76-89F7-CFCD897C7408}"/>
              </a:ext>
            </a:extLst>
          </p:cNvPr>
          <p:cNvSpPr txBox="1"/>
          <p:nvPr/>
        </p:nvSpPr>
        <p:spPr>
          <a:xfrm>
            <a:off x="4572118" y="3593586"/>
            <a:ext cx="1003801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350" kern="0">
                <a:solidFill>
                  <a:prstClr val="black"/>
                </a:solidFill>
              </a:rPr>
              <a:t>EXECUTION</a:t>
            </a:r>
          </a:p>
        </p:txBody>
      </p:sp>
      <p:cxnSp>
        <p:nvCxnSpPr>
          <p:cNvPr id="61" name="Straight Arrow Connector 60">
            <a:extLst>
              <a:ext uri="{FF2B5EF4-FFF2-40B4-BE49-F238E27FC236}">
                <a16:creationId xmlns:a16="http://schemas.microsoft.com/office/drawing/2014/main" id="{755FC267-700B-40D0-8FB6-9C75847AD07E}"/>
              </a:ext>
            </a:extLst>
          </p:cNvPr>
          <p:cNvCxnSpPr/>
          <p:nvPr/>
        </p:nvCxnSpPr>
        <p:spPr>
          <a:xfrm>
            <a:off x="2242220" y="2470208"/>
            <a:ext cx="870966" cy="0"/>
          </a:xfrm>
          <a:prstGeom prst="straightConnector1">
            <a:avLst/>
          </a:prstGeom>
          <a:noFill/>
          <a:ln w="6350" cap="flat" cmpd="sng" algn="ctr">
            <a:solidFill>
              <a:srgbClr val="4472C4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62" name="Straight Arrow Connector 61">
            <a:extLst>
              <a:ext uri="{FF2B5EF4-FFF2-40B4-BE49-F238E27FC236}">
                <a16:creationId xmlns:a16="http://schemas.microsoft.com/office/drawing/2014/main" id="{A627E75E-3788-4EFC-B7BD-D6EA297CC894}"/>
              </a:ext>
            </a:extLst>
          </p:cNvPr>
          <p:cNvCxnSpPr>
            <a:cxnSpLocks/>
          </p:cNvCxnSpPr>
          <p:nvPr/>
        </p:nvCxnSpPr>
        <p:spPr>
          <a:xfrm>
            <a:off x="783239" y="2470208"/>
            <a:ext cx="672084" cy="0"/>
          </a:xfrm>
          <a:prstGeom prst="straightConnector1">
            <a:avLst/>
          </a:prstGeom>
          <a:noFill/>
          <a:ln w="6350" cap="flat" cmpd="sng" algn="ctr">
            <a:solidFill>
              <a:srgbClr val="4472C4"/>
            </a:solidFill>
            <a:prstDash val="solid"/>
            <a:miter lim="800000"/>
            <a:tailEnd type="triangle"/>
          </a:ln>
          <a:effectLst/>
        </p:spPr>
      </p:cxnSp>
      <p:sp>
        <p:nvSpPr>
          <p:cNvPr id="63" name="Left Brace 62">
            <a:extLst>
              <a:ext uri="{FF2B5EF4-FFF2-40B4-BE49-F238E27FC236}">
                <a16:creationId xmlns:a16="http://schemas.microsoft.com/office/drawing/2014/main" id="{C460633F-C88C-40F4-A1BD-164D3F1A6A51}"/>
              </a:ext>
            </a:extLst>
          </p:cNvPr>
          <p:cNvSpPr/>
          <p:nvPr/>
        </p:nvSpPr>
        <p:spPr>
          <a:xfrm>
            <a:off x="5786968" y="2470208"/>
            <a:ext cx="212598" cy="1410912"/>
          </a:xfrm>
          <a:prstGeom prst="leftBrace">
            <a:avLst/>
          </a:prstGeom>
          <a:noFill/>
          <a:ln w="6350" cap="flat" cmpd="sng" algn="ctr">
            <a:solidFill>
              <a:srgbClr val="4472C4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fr-FR" sz="1350" kern="0">
              <a:solidFill>
                <a:prstClr val="black"/>
              </a:solidFill>
            </a:endParaRP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8D9FD89B-F06D-488B-BC7D-583924F8D602}"/>
              </a:ext>
            </a:extLst>
          </p:cNvPr>
          <p:cNvSpPr txBox="1"/>
          <p:nvPr/>
        </p:nvSpPr>
        <p:spPr>
          <a:xfrm>
            <a:off x="5936289" y="2723308"/>
            <a:ext cx="902812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350" kern="0">
                <a:solidFill>
                  <a:prstClr val="black"/>
                </a:solidFill>
              </a:rPr>
              <a:t>BROWSER</a:t>
            </a:r>
            <a:endParaRPr lang="fr-FR" sz="1350" kern="0">
              <a:solidFill>
                <a:prstClr val="black"/>
              </a:solidFill>
            </a:endParaRPr>
          </a:p>
        </p:txBody>
      </p:sp>
      <p:pic>
        <p:nvPicPr>
          <p:cNvPr id="66" name="Graphic 65">
            <a:extLst>
              <a:ext uri="{FF2B5EF4-FFF2-40B4-BE49-F238E27FC236}">
                <a16:creationId xmlns:a16="http://schemas.microsoft.com/office/drawing/2014/main" id="{7AFEE0CA-5302-421D-9865-F9929AF6191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112131" y="3520231"/>
            <a:ext cx="662940" cy="662940"/>
          </a:xfrm>
          <a:prstGeom prst="rect">
            <a:avLst/>
          </a:prstGeom>
        </p:spPr>
      </p:pic>
      <p:sp>
        <p:nvSpPr>
          <p:cNvPr id="67" name="TextBox 66">
            <a:extLst>
              <a:ext uri="{FF2B5EF4-FFF2-40B4-BE49-F238E27FC236}">
                <a16:creationId xmlns:a16="http://schemas.microsoft.com/office/drawing/2014/main" id="{C4DC5AE3-825A-4769-8ACD-E240C80CD9D4}"/>
              </a:ext>
            </a:extLst>
          </p:cNvPr>
          <p:cNvSpPr txBox="1"/>
          <p:nvPr/>
        </p:nvSpPr>
        <p:spPr>
          <a:xfrm>
            <a:off x="5977565" y="4199595"/>
            <a:ext cx="845103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350" kern="0">
                <a:solidFill>
                  <a:prstClr val="black"/>
                </a:solidFill>
              </a:rPr>
              <a:t>DEVICE N</a:t>
            </a:r>
            <a:endParaRPr lang="fr-FR" sz="1350" kern="0">
              <a:solidFill>
                <a:prstClr val="black"/>
              </a:solidFill>
            </a:endParaRPr>
          </a:p>
        </p:txBody>
      </p:sp>
      <p:pic>
        <p:nvPicPr>
          <p:cNvPr id="68" name="Picture 16">
            <a:extLst>
              <a:ext uri="{FF2B5EF4-FFF2-40B4-BE49-F238E27FC236}">
                <a16:creationId xmlns:a16="http://schemas.microsoft.com/office/drawing/2014/main" id="{720F2B20-099C-41BF-8BFC-29A80C2B6E3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16822" y="2948239"/>
            <a:ext cx="473501" cy="4735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9" name="Left Brace 68">
            <a:extLst>
              <a:ext uri="{FF2B5EF4-FFF2-40B4-BE49-F238E27FC236}">
                <a16:creationId xmlns:a16="http://schemas.microsoft.com/office/drawing/2014/main" id="{677DA302-9968-49DB-A9B0-B138EF4CD5A5}"/>
              </a:ext>
            </a:extLst>
          </p:cNvPr>
          <p:cNvSpPr/>
          <p:nvPr/>
        </p:nvSpPr>
        <p:spPr>
          <a:xfrm flipH="1">
            <a:off x="6955388" y="2470207"/>
            <a:ext cx="212598" cy="1410913"/>
          </a:xfrm>
          <a:prstGeom prst="leftBrace">
            <a:avLst>
              <a:gd name="adj1" fmla="val 8333"/>
              <a:gd name="adj2" fmla="val 51229"/>
            </a:avLst>
          </a:prstGeom>
          <a:noFill/>
          <a:ln w="6350" cap="flat" cmpd="sng" algn="ctr">
            <a:solidFill>
              <a:srgbClr val="4472C4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fr-FR" sz="1350" kern="0">
              <a:solidFill>
                <a:prstClr val="black"/>
              </a:solidFill>
            </a:endParaRPr>
          </a:p>
        </p:txBody>
      </p:sp>
      <p:pic>
        <p:nvPicPr>
          <p:cNvPr id="70" name="Picture 18">
            <a:extLst>
              <a:ext uri="{FF2B5EF4-FFF2-40B4-BE49-F238E27FC236}">
                <a16:creationId xmlns:a16="http://schemas.microsoft.com/office/drawing/2014/main" id="{759033E2-9EB8-4D2A-8662-F56255E827B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5302" y="2156989"/>
            <a:ext cx="626438" cy="6264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" name="Picture 18">
            <a:extLst>
              <a:ext uri="{FF2B5EF4-FFF2-40B4-BE49-F238E27FC236}">
                <a16:creationId xmlns:a16="http://schemas.microsoft.com/office/drawing/2014/main" id="{4DC69D34-DEA4-4716-B28C-926B3B80F6B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5302" y="3407617"/>
            <a:ext cx="636104" cy="6361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72" name="Straight Arrow Connector 71">
            <a:extLst>
              <a:ext uri="{FF2B5EF4-FFF2-40B4-BE49-F238E27FC236}">
                <a16:creationId xmlns:a16="http://schemas.microsoft.com/office/drawing/2014/main" id="{C1CF1D56-8C52-422C-A80F-89BE9823BAF4}"/>
              </a:ext>
            </a:extLst>
          </p:cNvPr>
          <p:cNvCxnSpPr/>
          <p:nvPr/>
        </p:nvCxnSpPr>
        <p:spPr>
          <a:xfrm>
            <a:off x="2242220" y="3780086"/>
            <a:ext cx="870966" cy="0"/>
          </a:xfrm>
          <a:prstGeom prst="straightConnector1">
            <a:avLst/>
          </a:prstGeom>
          <a:noFill/>
          <a:ln w="6350" cap="flat" cmpd="sng" algn="ctr">
            <a:solidFill>
              <a:srgbClr val="4472C4"/>
            </a:solidFill>
            <a:prstDash val="solid"/>
            <a:miter lim="800000"/>
            <a:tailEnd type="triangle"/>
          </a:ln>
          <a:effectLst/>
        </p:spPr>
      </p:cxnSp>
      <p:pic>
        <p:nvPicPr>
          <p:cNvPr id="73" name="Picture 2" descr="Automation - Free business icons">
            <a:extLst>
              <a:ext uri="{FF2B5EF4-FFF2-40B4-BE49-F238E27FC236}">
                <a16:creationId xmlns:a16="http://schemas.microsoft.com/office/drawing/2014/main" id="{47CA93FC-3577-4E42-B949-2659BB76A22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12244" y="3473850"/>
            <a:ext cx="612471" cy="6124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4" name="TextBox 73">
            <a:extLst>
              <a:ext uri="{FF2B5EF4-FFF2-40B4-BE49-F238E27FC236}">
                <a16:creationId xmlns:a16="http://schemas.microsoft.com/office/drawing/2014/main" id="{FB0DEDA6-765F-4DB0-9AC6-07616E1A992E}"/>
              </a:ext>
            </a:extLst>
          </p:cNvPr>
          <p:cNvSpPr txBox="1"/>
          <p:nvPr/>
        </p:nvSpPr>
        <p:spPr>
          <a:xfrm>
            <a:off x="2895405" y="4086321"/>
            <a:ext cx="1203036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350" kern="0">
                <a:solidFill>
                  <a:prstClr val="black"/>
                </a:solidFill>
              </a:rPr>
              <a:t>AUTOMATE</a:t>
            </a:r>
          </a:p>
        </p:txBody>
      </p:sp>
      <p:cxnSp>
        <p:nvCxnSpPr>
          <p:cNvPr id="75" name="Straight Arrow Connector 74">
            <a:extLst>
              <a:ext uri="{FF2B5EF4-FFF2-40B4-BE49-F238E27FC236}">
                <a16:creationId xmlns:a16="http://schemas.microsoft.com/office/drawing/2014/main" id="{167636A5-5438-41A8-88F2-56B07A56CD6E}"/>
              </a:ext>
            </a:extLst>
          </p:cNvPr>
          <p:cNvCxnSpPr>
            <a:cxnSpLocks/>
          </p:cNvCxnSpPr>
          <p:nvPr/>
        </p:nvCxnSpPr>
        <p:spPr>
          <a:xfrm>
            <a:off x="783239" y="3780086"/>
            <a:ext cx="672084" cy="0"/>
          </a:xfrm>
          <a:prstGeom prst="straightConnector1">
            <a:avLst/>
          </a:prstGeom>
          <a:noFill/>
          <a:ln w="6350" cap="flat" cmpd="sng" algn="ctr">
            <a:solidFill>
              <a:srgbClr val="4472C4"/>
            </a:solidFill>
            <a:prstDash val="solid"/>
            <a:miter lim="800000"/>
            <a:tailEnd type="triangle"/>
          </a:ln>
          <a:effectLst/>
        </p:spPr>
      </p:cxnSp>
      <p:sp>
        <p:nvSpPr>
          <p:cNvPr id="76" name="TextBox 75">
            <a:extLst>
              <a:ext uri="{FF2B5EF4-FFF2-40B4-BE49-F238E27FC236}">
                <a16:creationId xmlns:a16="http://schemas.microsoft.com/office/drawing/2014/main" id="{07D417D5-08CC-48FF-B029-9C702F94AAAE}"/>
              </a:ext>
            </a:extLst>
          </p:cNvPr>
          <p:cNvSpPr txBox="1"/>
          <p:nvPr/>
        </p:nvSpPr>
        <p:spPr>
          <a:xfrm>
            <a:off x="781089" y="2199139"/>
            <a:ext cx="732893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50">
                <a:solidFill>
                  <a:srgbClr val="00727A"/>
                </a:solidFill>
                <a:latin typeface="Source Sans Pro"/>
              </a:rPr>
              <a:t>PR/Merge</a:t>
            </a:r>
            <a:endParaRPr lang="fr-FR" sz="1050">
              <a:solidFill>
                <a:srgbClr val="00727A"/>
              </a:solidFill>
              <a:latin typeface="Source Sans Pro"/>
            </a:endParaRPr>
          </a:p>
        </p:txBody>
      </p:sp>
      <p:pic>
        <p:nvPicPr>
          <p:cNvPr id="77" name="Picture 4" descr="Event PNG Image">
            <a:extLst>
              <a:ext uri="{FF2B5EF4-FFF2-40B4-BE49-F238E27FC236}">
                <a16:creationId xmlns:a16="http://schemas.microsoft.com/office/drawing/2014/main" id="{609784B8-D864-4746-B866-7459631FEBC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56132" y="2955396"/>
            <a:ext cx="303829" cy="3038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0" name="Picture 6">
            <a:extLst>
              <a:ext uri="{FF2B5EF4-FFF2-40B4-BE49-F238E27FC236}">
                <a16:creationId xmlns:a16="http://schemas.microsoft.com/office/drawing/2014/main" id="{41FDD109-AC7F-49DD-A4B4-F4620E884FE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40027" y="2860786"/>
            <a:ext cx="648408" cy="6484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itle 4">
            <a:extLst>
              <a:ext uri="{FF2B5EF4-FFF2-40B4-BE49-F238E27FC236}">
                <a16:creationId xmlns:a16="http://schemas.microsoft.com/office/drawing/2014/main" id="{A8202F02-255E-43C5-912F-1D3EC6DDCE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yen de Test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DA17E71-94E5-4AAF-AE1B-0C5811DF5E8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fr-FR"/>
              <a:t>Approche DevOps et Intégration Continue</a:t>
            </a:r>
          </a:p>
          <a:p>
            <a:endParaRPr lang="fr-FR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17BE8D9-FBB0-497B-8E6A-2E7B471CB760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228696" y="1133913"/>
            <a:ext cx="8556096" cy="754258"/>
          </a:xfrm>
        </p:spPr>
        <p:txBody>
          <a:bodyPr/>
          <a:lstStyle/>
          <a:p>
            <a:r>
              <a:rPr lang="fr-FR" sz="1400"/>
              <a:t>Objectif : Intégrer les tests automatisés dans le processus DevOps : déclencher les tests à chaque release, exécuter les tests les plus critiques sur les terminaux sélectionnés et remonter les résultats de tests et les anomalies de régression automatiquement.</a:t>
            </a:r>
          </a:p>
          <a:p>
            <a:endParaRPr lang="fr-FR" sz="1400"/>
          </a:p>
        </p:txBody>
      </p:sp>
      <p:pic>
        <p:nvPicPr>
          <p:cNvPr id="1026" name="Picture 2" descr="See the source image">
            <a:extLst>
              <a:ext uri="{FF2B5EF4-FFF2-40B4-BE49-F238E27FC236}">
                <a16:creationId xmlns:a16="http://schemas.microsoft.com/office/drawing/2014/main" id="{E3CAC0BA-E21C-44BF-BF86-6128732A4D4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03591" y="2103592"/>
            <a:ext cx="636104" cy="6361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4625916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new_presentation_proposal_axa_30-05">
  <a:themeElements>
    <a:clrScheme name="AXA Color">
      <a:dk1>
        <a:srgbClr val="103184"/>
      </a:dk1>
      <a:lt1>
        <a:sysClr val="window" lastClr="FFFFFF"/>
      </a:lt1>
      <a:dk2>
        <a:srgbClr val="1F497D"/>
      </a:dk2>
      <a:lt2>
        <a:srgbClr val="EEECE1"/>
      </a:lt2>
      <a:accent1>
        <a:srgbClr val="027180"/>
      </a:accent1>
      <a:accent2>
        <a:srgbClr val="914146"/>
      </a:accent2>
      <a:accent3>
        <a:srgbClr val="00ADC6"/>
      </a:accent3>
      <a:accent4>
        <a:srgbClr val="668980"/>
      </a:accent4>
      <a:accent5>
        <a:srgbClr val="BC9D45"/>
      </a:accent5>
      <a:accent6>
        <a:srgbClr val="E196AA"/>
      </a:accent6>
      <a:hlink>
        <a:srgbClr val="0000FF"/>
      </a:hlink>
      <a:folHlink>
        <a:srgbClr val="800080"/>
      </a:folHlink>
    </a:clrScheme>
    <a:fontScheme name="charte PPT Axa">
      <a:majorFont>
        <a:latin typeface="Source Sans Pro"/>
        <a:ea typeface=""/>
        <a:cs typeface=""/>
      </a:majorFont>
      <a:minorFont>
        <a:latin typeface="Source Sans Pr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 bwMode="auto">
        <a:noFill/>
        <a:ln>
          <a:noFill/>
        </a:ln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91240B29-F687-4F45-9708-019B960494DF}">
            <a14:hiddenLine xmlns:a14="http://schemas.microsoft.com/office/drawing/2010/main" w="9525">
              <a:solidFill>
                <a:srgbClr val="000000"/>
              </a:solidFill>
              <a:miter lim="800000"/>
              <a:headEnd/>
              <a:tailEnd/>
            </a14:hiddenLine>
          </a:ext>
        </a:extLst>
      </a:spPr>
      <a:bodyPr lIns="0" tIns="0" rIns="0" bIns="0" anchor="b">
        <a:spAutoFit/>
      </a:bodyPr>
      <a:lstStyle>
        <a:defPPr algn="ctr" eaLnBrk="1" hangingPunct="1">
          <a:defRPr sz="800" dirty="0" err="1" smtClean="0">
            <a:solidFill>
              <a:srgbClr val="FF1721"/>
            </a:solidFill>
            <a:latin typeface="Source Sans Pro" pitchFamily="34" charset="0"/>
          </a:defRPr>
        </a:defPPr>
      </a:lstStyle>
    </a:txDef>
  </a:objectDefaults>
  <a:extraClrSchemeLst/>
</a:theme>
</file>

<file path=ppt/theme/theme10.xml><?xml version="1.0" encoding="utf-8"?>
<a:theme xmlns:a="http://schemas.openxmlformats.org/drawingml/2006/main" name="new_presentation_proposal_axa_30-05">
  <a:themeElements>
    <a:clrScheme name="AXA Color">
      <a:dk1>
        <a:srgbClr val="103184"/>
      </a:dk1>
      <a:lt1>
        <a:sysClr val="window" lastClr="FFFFFF"/>
      </a:lt1>
      <a:dk2>
        <a:srgbClr val="1F497D"/>
      </a:dk2>
      <a:lt2>
        <a:srgbClr val="EEECE1"/>
      </a:lt2>
      <a:accent1>
        <a:srgbClr val="027180"/>
      </a:accent1>
      <a:accent2>
        <a:srgbClr val="914146"/>
      </a:accent2>
      <a:accent3>
        <a:srgbClr val="00ADC6"/>
      </a:accent3>
      <a:accent4>
        <a:srgbClr val="668980"/>
      </a:accent4>
      <a:accent5>
        <a:srgbClr val="BC9D45"/>
      </a:accent5>
      <a:accent6>
        <a:srgbClr val="E196AA"/>
      </a:accent6>
      <a:hlink>
        <a:srgbClr val="0000FF"/>
      </a:hlink>
      <a:folHlink>
        <a:srgbClr val="800080"/>
      </a:folHlink>
    </a:clrScheme>
    <a:fontScheme name="charte PPT Axa">
      <a:majorFont>
        <a:latin typeface="Source Sans Pro"/>
        <a:ea typeface=""/>
        <a:cs typeface=""/>
      </a:majorFont>
      <a:minorFont>
        <a:latin typeface="Source Sans Pr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 bwMode="auto">
        <a:noFill/>
        <a:ln>
          <a:noFill/>
        </a:ln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91240B29-F687-4F45-9708-019B960494DF}">
            <a14:hiddenLine xmlns:a14="http://schemas.microsoft.com/office/drawing/2010/main" w="9525">
              <a:solidFill>
                <a:srgbClr val="000000"/>
              </a:solidFill>
              <a:miter lim="800000"/>
              <a:headEnd/>
              <a:tailEnd/>
            </a14:hiddenLine>
          </a:ext>
        </a:extLst>
      </a:spPr>
      <a:bodyPr lIns="0" tIns="0" rIns="0" bIns="0" anchor="b">
        <a:spAutoFit/>
      </a:bodyPr>
      <a:lstStyle>
        <a:defPPr algn="ctr" eaLnBrk="1" hangingPunct="1">
          <a:defRPr sz="800" dirty="0" err="1" smtClean="0">
            <a:solidFill>
              <a:srgbClr val="FF1721"/>
            </a:solidFill>
            <a:latin typeface="Source Sans Pro" pitchFamily="34" charset="0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_Thème Office">
  <a:themeElements>
    <a:clrScheme name="thème guilde test">
      <a:dk1>
        <a:srgbClr val="00727A"/>
      </a:dk1>
      <a:lt1>
        <a:srgbClr val="FFFFFF"/>
      </a:lt1>
      <a:dk2>
        <a:srgbClr val="F57A30"/>
      </a:dk2>
      <a:lt2>
        <a:srgbClr val="D6ECE9"/>
      </a:lt2>
      <a:accent1>
        <a:srgbClr val="00727A"/>
      </a:accent1>
      <a:accent2>
        <a:srgbClr val="D6ECE9"/>
      </a:accent2>
      <a:accent3>
        <a:srgbClr val="FFC8AF"/>
      </a:accent3>
      <a:accent4>
        <a:srgbClr val="F57A30"/>
      </a:accent4>
      <a:accent5>
        <a:srgbClr val="7F7F7F"/>
      </a:accent5>
      <a:accent6>
        <a:srgbClr val="A5A5A5"/>
      </a:accent6>
      <a:hlink>
        <a:srgbClr val="4472C4"/>
      </a:hlink>
      <a:folHlink>
        <a:srgbClr val="954F72"/>
      </a:folHlink>
    </a:clrScheme>
    <a:fontScheme name="Personnalisé 3">
      <a:majorFont>
        <a:latin typeface="Source Sans Pro Black"/>
        <a:ea typeface=""/>
        <a:cs typeface=""/>
      </a:majorFont>
      <a:minorFont>
        <a:latin typeface="Source Sans Pr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0.xml><?xml version="1.0" encoding="utf-8"?>
<a:theme xmlns:a="http://schemas.openxmlformats.org/drawingml/2006/main" name="1_Thème Office">
  <a:themeElements>
    <a:clrScheme name="thème guilde test">
      <a:dk1>
        <a:srgbClr val="00727A"/>
      </a:dk1>
      <a:lt1>
        <a:srgbClr val="FFFFFF"/>
      </a:lt1>
      <a:dk2>
        <a:srgbClr val="F57A30"/>
      </a:dk2>
      <a:lt2>
        <a:srgbClr val="D6ECE9"/>
      </a:lt2>
      <a:accent1>
        <a:srgbClr val="00727A"/>
      </a:accent1>
      <a:accent2>
        <a:srgbClr val="D6ECE9"/>
      </a:accent2>
      <a:accent3>
        <a:srgbClr val="FFC8AF"/>
      </a:accent3>
      <a:accent4>
        <a:srgbClr val="F57A30"/>
      </a:accent4>
      <a:accent5>
        <a:srgbClr val="7F7F7F"/>
      </a:accent5>
      <a:accent6>
        <a:srgbClr val="A5A5A5"/>
      </a:accent6>
      <a:hlink>
        <a:srgbClr val="4472C4"/>
      </a:hlink>
      <a:folHlink>
        <a:srgbClr val="954F72"/>
      </a:folHlink>
    </a:clrScheme>
    <a:fontScheme name="Personnalisé 3">
      <a:majorFont>
        <a:latin typeface="Source Sans Pro Black"/>
        <a:ea typeface=""/>
        <a:cs typeface=""/>
      </a:majorFont>
      <a:minorFont>
        <a:latin typeface="Source Sans Pr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0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0eb2cc26-14f6-4b7c-bd92-85e6a326a365" xsi:nil="true"/>
    <lcf76f155ced4ddcb4097134ff3c332f xmlns="2f06cf73-853e-475b-a810-9080e211cdbb">
      <Terms xmlns="http://schemas.microsoft.com/office/infopath/2007/PartnerControls"/>
    </lcf76f155ced4ddcb4097134ff3c332f>
    <SharedWithUsers xmlns="0eb2cc26-14f6-4b7c-bd92-85e6a326a365">
      <UserInfo>
        <DisplayName>ROCHOIS Philippe</DisplayName>
        <AccountId>316</AccountId>
        <AccountType/>
      </UserInfo>
      <UserInfo>
        <DisplayName>DUFOUR Etienne</DisplayName>
        <AccountId>13</AccountId>
        <AccountType/>
      </UserInfo>
      <UserInfo>
        <DisplayName>DOTOU-SEGLA Jean-Prince</DisplayName>
        <AccountId>28</AccountId>
        <AccountType/>
      </UserInfo>
      <UserInfo>
        <DisplayName>KERMARREC Mikael</DisplayName>
        <AccountId>14</AccountId>
        <AccountType/>
      </UserInfo>
      <UserInfo>
        <DisplayName>ARUL Joseph</DisplayName>
        <AccountId>409</AccountId>
        <AccountType/>
      </UserInfo>
      <UserInfo>
        <DisplayName>LUCIANI Louis</DisplayName>
        <AccountId>23</AccountId>
        <AccountType/>
      </UserInfo>
      <UserInfo>
        <DisplayName>YUAN Huaxing</DisplayName>
        <AccountId>33</AccountId>
        <AccountType/>
      </UserInfo>
      <UserInfo>
        <DisplayName>CHIBANE Yanis</DisplayName>
        <AccountId>407</AccountId>
        <AccountType/>
      </UserInfo>
    </SharedWithUsers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D89638A262EB248A2BD87D0919A0907" ma:contentTypeVersion="16" ma:contentTypeDescription="Crée un document." ma:contentTypeScope="" ma:versionID="63ef91537f0f96f40dfd8beea27dae35">
  <xsd:schema xmlns:xsd="http://www.w3.org/2001/XMLSchema" xmlns:xs="http://www.w3.org/2001/XMLSchema" xmlns:p="http://schemas.microsoft.com/office/2006/metadata/properties" xmlns:ns2="2f06cf73-853e-475b-a810-9080e211cdbb" xmlns:ns3="0eb2cc26-14f6-4b7c-bd92-85e6a326a365" targetNamespace="http://schemas.microsoft.com/office/2006/metadata/properties" ma:root="true" ma:fieldsID="904388f501b2e82e03ef6689487f7454" ns2:_="" ns3:_="">
    <xsd:import namespace="2f06cf73-853e-475b-a810-9080e211cdbb"/>
    <xsd:import namespace="0eb2cc26-14f6-4b7c-bd92-85e6a326a365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3:SharedWithUsers" minOccurs="0"/>
                <xsd:element ref="ns3:SharedWithDetail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Location" minOccurs="0"/>
                <xsd:element ref="ns2:MediaServiceAutoKeyPoints" minOccurs="0"/>
                <xsd:element ref="ns2:MediaServiceKeyPoints" minOccurs="0"/>
                <xsd:element ref="ns2:MediaLengthInSeconds" minOccurs="0"/>
                <xsd:element ref="ns2:lcf76f155ced4ddcb4097134ff3c332f" minOccurs="0"/>
                <xsd:element ref="ns3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06cf73-853e-475b-a810-9080e211cdb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Balises d’images" ma:readOnly="false" ma:fieldId="{5cf76f15-5ced-4ddc-b409-7134ff3c332f}" ma:taxonomyMulti="true" ma:sspId="bc7cd8e4-056a-4b9a-a096-56d591af496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eb2cc26-14f6-4b7c-bd92-85e6a326a365" elementFormDefault="qualified">
    <xsd:import namespace="http://schemas.microsoft.com/office/2006/documentManagement/types"/>
    <xsd:import namespace="http://schemas.microsoft.com/office/infopath/2007/PartnerControls"/>
    <xsd:element name="SharedWithUsers" ma:index="11" nillable="true" ma:displayName="Partagé avec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2" nillable="true" ma:displayName="Partagé avec dé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a3b50f09-52a8-4a37-a2aa-fc4071bdecfc}" ma:internalName="TaxCatchAll" ma:showField="CatchAllData" ma:web="0eb2cc26-14f6-4b7c-bd92-85e6a326a365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e de contenu"/>
        <xsd:element ref="dc:title" minOccurs="0" maxOccurs="1" ma:index="4" ma:displayName="Titr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89C3DE23-C99F-4D71-BA41-D1BCD35DA03D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9DCCE1B7-6F3B-49C5-8E78-623729C4CE3E}">
  <ds:schemaRefs>
    <ds:schemaRef ds:uri="0eb2cc26-14f6-4b7c-bd92-85e6a326a365"/>
    <ds:schemaRef ds:uri="2f06cf73-853e-475b-a810-9080e211cdbb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3144C0E3-A6AB-4506-B30D-829EFC6A4547}">
  <ds:schemaRefs>
    <ds:schemaRef ds:uri="0eb2cc26-14f6-4b7c-bd92-85e6a326a365"/>
    <ds:schemaRef ds:uri="2f06cf73-853e-475b-a810-9080e211cdbb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3104</Words>
  <Application>Microsoft Office PowerPoint</Application>
  <PresentationFormat>On-screen Show (16:9)</PresentationFormat>
  <Paragraphs>809</Paragraphs>
  <Slides>31</Slides>
  <Notes>7</Notes>
  <HiddenSlides>0</HiddenSlides>
  <MMClips>0</MMClips>
  <ScaleCrop>false</ScaleCrop>
  <HeadingPairs>
    <vt:vector size="8" baseType="variant">
      <vt:variant>
        <vt:lpstr>Fonts Used</vt:lpstr>
      </vt:variant>
      <vt:variant>
        <vt:i4>16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1</vt:i4>
      </vt:variant>
    </vt:vector>
  </HeadingPairs>
  <TitlesOfParts>
    <vt:vector size="51" baseType="lpstr">
      <vt:lpstr>Lucida Grande</vt:lpstr>
      <vt:lpstr>Segoe UI Symbol</vt:lpstr>
      <vt:lpstr>Segoe MDL2 Assets</vt:lpstr>
      <vt:lpstr>Calibri Light</vt:lpstr>
      <vt:lpstr>Calibri</vt:lpstr>
      <vt:lpstr>Wingdings</vt:lpstr>
      <vt:lpstr>Arial</vt:lpstr>
      <vt:lpstr>Aileron Regular Bold</vt:lpstr>
      <vt:lpstr>Raleway</vt:lpstr>
      <vt:lpstr>FontAwesome</vt:lpstr>
      <vt:lpstr>Source Sans Pro</vt:lpstr>
      <vt:lpstr>fleche_rond</vt:lpstr>
      <vt:lpstr>Century Gothic</vt:lpstr>
      <vt:lpstr>Segoe UI Light</vt:lpstr>
      <vt:lpstr>Segoe UI</vt:lpstr>
      <vt:lpstr>Source Sans Pro Black</vt:lpstr>
      <vt:lpstr>new_presentation_proposal_axa_30-05</vt:lpstr>
      <vt:lpstr>Office Theme</vt:lpstr>
      <vt:lpstr>1_Thème Office</vt:lpstr>
      <vt:lpstr>think-cell Slide</vt:lpstr>
      <vt:lpstr>Stratégie et Approches d’Automatisation de test </vt:lpstr>
      <vt:lpstr>Objectif de ce document</vt:lpstr>
      <vt:lpstr>Les objectifs de l’automatisation de test</vt:lpstr>
      <vt:lpstr>PowerPoint Presentation</vt:lpstr>
      <vt:lpstr>Stratégie Globale d’automatisation de test</vt:lpstr>
      <vt:lpstr>Moyen de Test</vt:lpstr>
      <vt:lpstr>Activités d’automatisation de Test</vt:lpstr>
      <vt:lpstr>Moyen de Test</vt:lpstr>
      <vt:lpstr>Moyen de Test</vt:lpstr>
      <vt:lpstr>Planning &amp; Gouvernance</vt:lpstr>
      <vt:lpstr>Reporting</vt:lpstr>
      <vt:lpstr>Questions &amp; Reponses ?</vt:lpstr>
      <vt:lpstr>Annexes:  Les Approches d’Automatisation</vt:lpstr>
      <vt:lpstr>Approche de test API</vt:lpstr>
      <vt:lpstr>Approche de test API</vt:lpstr>
      <vt:lpstr>Approche de test API</vt:lpstr>
      <vt:lpstr>Approche de test API</vt:lpstr>
      <vt:lpstr>Approche de test API</vt:lpstr>
      <vt:lpstr>Approche de test Scenarios d’Acceptation</vt:lpstr>
      <vt:lpstr>Approche de test Parcours clés</vt:lpstr>
      <vt:lpstr>Approche de test Parcours clés</vt:lpstr>
      <vt:lpstr>Approche de test Parcours clés</vt:lpstr>
      <vt:lpstr>Approche de test Parcours clés</vt:lpstr>
      <vt:lpstr>Approche de test Parcours clés</vt:lpstr>
      <vt:lpstr>Couverture de test</vt:lpstr>
      <vt:lpstr>PowerPoint Presentation</vt:lpstr>
      <vt:lpstr>PowerPoint Presentation</vt:lpstr>
      <vt:lpstr>PowerPoint Presentation</vt:lpstr>
      <vt:lpstr>Organisation de l’équipe et les rôles </vt:lpstr>
      <vt:lpstr>Tableaux de responsabilité RACI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YUAN Huaxing</dc:creator>
  <cp:lastModifiedBy>YUAN Huaxing</cp:lastModifiedBy>
  <cp:revision>1</cp:revision>
  <dcterms:created xsi:type="dcterms:W3CDTF">2020-06-26T12:10:23Z</dcterms:created>
  <dcterms:modified xsi:type="dcterms:W3CDTF">2023-03-20T10:23:0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bbfbbd0f-0666-461a-9212-afe773a25324_Enabled">
    <vt:lpwstr>True</vt:lpwstr>
  </property>
  <property fmtid="{D5CDD505-2E9C-101B-9397-08002B2CF9AE}" pid="3" name="MSIP_Label_bbfbbd0f-0666-461a-9212-afe773a25324_SiteId">
    <vt:lpwstr>396b38cc-aa65-492b-bb0e-3d94ed25a97b</vt:lpwstr>
  </property>
  <property fmtid="{D5CDD505-2E9C-101B-9397-08002B2CF9AE}" pid="4" name="MSIP_Label_bbfbbd0f-0666-461a-9212-afe773a25324_Owner">
    <vt:lpwstr>huaxing.yuan@axa.fr</vt:lpwstr>
  </property>
  <property fmtid="{D5CDD505-2E9C-101B-9397-08002B2CF9AE}" pid="5" name="MSIP_Label_bbfbbd0f-0666-461a-9212-afe773a25324_SetDate">
    <vt:lpwstr>2020-06-26T12:15:29.7575859Z</vt:lpwstr>
  </property>
  <property fmtid="{D5CDD505-2E9C-101B-9397-08002B2CF9AE}" pid="6" name="MSIP_Label_bbfbbd0f-0666-461a-9212-afe773a25324_Name">
    <vt:lpwstr>AXA FR Confidential</vt:lpwstr>
  </property>
  <property fmtid="{D5CDD505-2E9C-101B-9397-08002B2CF9AE}" pid="7" name="MSIP_Label_bbfbbd0f-0666-461a-9212-afe773a25324_Application">
    <vt:lpwstr>Microsoft Azure Information Protection</vt:lpwstr>
  </property>
  <property fmtid="{D5CDD505-2E9C-101B-9397-08002B2CF9AE}" pid="8" name="MSIP_Label_bbfbbd0f-0666-461a-9212-afe773a25324_Extended_MSFT_Method">
    <vt:lpwstr>Automatic</vt:lpwstr>
  </property>
  <property fmtid="{D5CDD505-2E9C-101B-9397-08002B2CF9AE}" pid="9" name="Sensitivity">
    <vt:lpwstr>AXA FR Confidential</vt:lpwstr>
  </property>
  <property fmtid="{D5CDD505-2E9C-101B-9397-08002B2CF9AE}" pid="10" name="ContentTypeId">
    <vt:lpwstr>0x0101003D89638A262EB248A2BD87D0919A0907</vt:lpwstr>
  </property>
  <property fmtid="{D5CDD505-2E9C-101B-9397-08002B2CF9AE}" pid="11" name="MediaServiceImageTags">
    <vt:lpwstr/>
  </property>
</Properties>
</file>